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3.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5" r:id="rId5"/>
    <p:sldMasterId id="2147483765" r:id="rId6"/>
  </p:sldMasterIdLst>
  <p:notesMasterIdLst>
    <p:notesMasterId r:id="rId39"/>
  </p:notesMasterIdLst>
  <p:sldIdLst>
    <p:sldId id="468" r:id="rId7"/>
    <p:sldId id="467" r:id="rId8"/>
    <p:sldId id="504" r:id="rId9"/>
    <p:sldId id="510" r:id="rId10"/>
    <p:sldId id="470" r:id="rId11"/>
    <p:sldId id="471" r:id="rId12"/>
    <p:sldId id="481" r:id="rId13"/>
    <p:sldId id="482" r:id="rId14"/>
    <p:sldId id="483" r:id="rId15"/>
    <p:sldId id="506" r:id="rId16"/>
    <p:sldId id="485" r:id="rId17"/>
    <p:sldId id="513" r:id="rId18"/>
    <p:sldId id="486" r:id="rId19"/>
    <p:sldId id="487" r:id="rId20"/>
    <p:sldId id="488" r:id="rId21"/>
    <p:sldId id="489" r:id="rId22"/>
    <p:sldId id="507" r:id="rId23"/>
    <p:sldId id="491" r:id="rId24"/>
    <p:sldId id="492" r:id="rId25"/>
    <p:sldId id="505" r:id="rId26"/>
    <p:sldId id="494" r:id="rId27"/>
    <p:sldId id="495" r:id="rId28"/>
    <p:sldId id="497" r:id="rId29"/>
    <p:sldId id="498" r:id="rId30"/>
    <p:sldId id="500" r:id="rId31"/>
    <p:sldId id="508" r:id="rId32"/>
    <p:sldId id="511" r:id="rId33"/>
    <p:sldId id="512" r:id="rId34"/>
    <p:sldId id="519" r:id="rId35"/>
    <p:sldId id="518" r:id="rId36"/>
    <p:sldId id="520" r:id="rId37"/>
    <p:sldId id="517" r:id="rId38"/>
  </p:sldIdLst>
  <p:sldSz cx="12192000" cy="6858000"/>
  <p:notesSz cx="6858000" cy="9144000"/>
  <p:defaultTex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reno Gabaldón, Santiago" initials="MGS" lastIdx="5" clrIdx="0">
    <p:extLst>
      <p:ext uri="{19B8F6BF-5375-455C-9EA6-DF929625EA0E}">
        <p15:presenceInfo xmlns:p15="http://schemas.microsoft.com/office/powerpoint/2012/main" userId="S-1-5-21-1506503333-1133455874-5522801-625718" providerId="AD"/>
      </p:ext>
    </p:extLst>
  </p:cmAuthor>
  <p:cmAuthor id="2" name="Nezamoleslami, Elias" initials="NE" lastIdx="0" clrIdx="1">
    <p:extLst>
      <p:ext uri="{19B8F6BF-5375-455C-9EA6-DF929625EA0E}">
        <p15:presenceInfo xmlns:p15="http://schemas.microsoft.com/office/powerpoint/2012/main" userId="Nezamoleslami, Elia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3B47"/>
    <a:srgbClr val="FDE3D3"/>
    <a:srgbClr val="FFFBE6"/>
    <a:srgbClr val="A1F1C1"/>
    <a:srgbClr val="E0ECF5"/>
    <a:srgbClr val="E6E6E6"/>
    <a:srgbClr val="BFBFBF"/>
    <a:srgbClr val="E7E6E6"/>
    <a:srgbClr val="B9C800"/>
    <a:srgbClr val="F5E4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B60EBA-8EBE-4184-92D6-099EB31F5EBB}" v="128" dt="2021-06-28T14:36:30.752"/>
    <p1510:client id="{06429A4C-328D-4B59-9DA5-DBEF19BD3593}" v="691" dt="2021-06-30T22:03:29.651"/>
    <p1510:client id="{08DB1DA8-8AC3-4352-B95D-C33DF1B2729A}" v="1345" dt="2021-06-21T11:37:13.030"/>
    <p1510:client id="{1301544C-079E-419F-AC71-0C2890C0C3B7}" v="2" dt="2021-01-21T18:06:58.103"/>
    <p1510:client id="{1675CD47-7DA1-4EFF-8445-849F3C3663D8}" v="437" dt="2021-06-21T10:50:54.797"/>
    <p1510:client id="{191DF725-8E2A-4C65-9D59-DAA26F576D1C}" v="6" dt="2021-09-14T14:33:43.875"/>
    <p1510:client id="{19BAB0C6-96B7-487B-B5ED-E0365987D835}" v="3152" dt="2021-06-29T13:51:52.117"/>
    <p1510:client id="{19C73990-E484-4F47-A5BD-7D91620D4F1E}" v="60" dt="2021-06-28T14:46:00.864"/>
    <p1510:client id="{19EF1C64-B48B-47F7-A2C2-824DA917D453}" v="1798" dt="2021-06-21T14:00:03.401"/>
    <p1510:client id="{25033DEC-E68B-4196-98CB-66B6BD8B0C77}" v="266" dt="2021-09-14T08:42:44.683"/>
    <p1510:client id="{3400C9E6-AE39-43B1-8B56-45BAECAF529D}" v="563" dt="2021-07-01T15:20:38.874"/>
    <p1510:client id="{34454A30-09AA-482B-8A72-69DC076D0F90}" v="27" dt="2021-07-02T10:45:02.205"/>
    <p1510:client id="{4305CF03-3981-4485-BD55-837DE4D8C401}" v="12" dt="2021-06-28T14:36:28.455"/>
    <p1510:client id="{458B0673-03F1-9B47-9C94-7BB6A94A8C53}" v="858" dt="2021-07-14T08:20:11.286"/>
    <p1510:client id="{458F0956-BA9C-4938-8B9A-92A2D5167E64}" v="464" dt="2021-06-21T08:55:22.171"/>
    <p1510:client id="{4A9C50D7-EB9F-47BF-8B9A-07AF9DFB1F33}" v="371" dt="2021-07-01T08:24:29.863"/>
    <p1510:client id="{4AABF681-88D9-4699-9B44-244B05215A20}" v="114" dt="2021-07-01T10:09:24.332"/>
    <p1510:client id="{4D300315-4FB4-4B5A-82B9-47817CBCE72B}" v="19" dt="2021-08-31T14:36:43.686"/>
    <p1510:client id="{56BC6436-78F8-44EE-BED3-7E903D09A831}" v="1101" dt="2021-06-29T10:07:55.054"/>
    <p1510:client id="{5A16C896-4092-44B7-9994-C01ED8984792}" v="44" dt="2021-06-30T13:50:58.137"/>
    <p1510:client id="{5C9AA7C2-1F79-4C40-BC57-1E0881FBFB9E}" v="1654" dt="2021-07-01T16:17:14.450"/>
    <p1510:client id="{64793E3C-0A38-9E15-7FA9-07A37E936C60}" v="2133" dt="2021-08-31T14:34:43.895"/>
    <p1510:client id="{6653BD5D-3CA8-4229-AFA1-F055672C33F2}" v="1" dt="2021-01-22T10:19:51.211"/>
    <p1510:client id="{6AAC3FD2-0097-4B6D-AB10-4897C19A03DC}" v="1461" dt="2021-07-02T07:55:07.750"/>
    <p1510:client id="{6BC75746-BB14-41E6-A171-22139EC6C33A}" v="257" dt="2021-07-01T15:24:03.125"/>
    <p1510:client id="{6EECC6C2-D322-4A9E-992B-7118880EF015}" v="7" dt="2021-06-23T10:47:12.628"/>
    <p1510:client id="{70086748-DB5A-434B-A97B-32CB7E5B1BFB}" v="12" dt="2021-01-22T10:06:29.713"/>
    <p1510:client id="{7046773A-9583-41F9-BDFE-8881B5C9228D}" v="707" dt="2021-01-26T10:29:55.647"/>
    <p1510:client id="{76C3B1A0-ADDC-4F09-BC68-2E59CF6EF17D}" v="97" dt="2021-07-02T07:24:41.009"/>
    <p1510:client id="{7AD3EFBC-6554-4791-AA74-CBF847968417}" v="1195" dt="2021-07-01T15:12:50.998"/>
    <p1510:client id="{7AF0E70B-6C38-4E72-8BF6-9B723F072A68}" v="200" dt="2021-06-23T13:44:01.731"/>
    <p1510:client id="{8C4FF641-ABE2-4697-A8D5-FE8E3FC18979}" v="1726" dt="2021-06-24T07:58:44.598"/>
    <p1510:client id="{8C96A1E3-6C33-40B5-8D6C-0F46B7711980}" v="370" dt="2021-06-28T11:53:47.305"/>
    <p1510:client id="{8D9DAB2F-0FB2-4736-A1BC-42EC129B2464}" v="43" dt="2021-06-23T11:16:33.432"/>
    <p1510:client id="{90F672CB-D395-4950-BF76-896C4B83B8F8}" v="31" dt="2021-07-01T14:42:01.224"/>
    <p1510:client id="{94984430-7C3E-45E8-B83B-EB74F67D76E7}" v="123" dt="2021-06-25T07:42:15.046"/>
    <p1510:client id="{A57F2F88-0EDB-43CD-889F-67B180F413B8}" v="62" dt="2021-06-28T11:46:48.665"/>
    <p1510:client id="{A7534C99-A9C4-4D1E-A3C0-12DE44354B1C}" v="24" dt="2021-01-22T13:56:02.890"/>
    <p1510:client id="{AB1D1C5B-4199-4A9B-ACD3-EBFCB1D428A8}" v="387" dt="2021-07-01T15:45:56.052"/>
    <p1510:client id="{AD398D35-61A2-47FB-A42D-0682E07386BE}" v="146" dt="2021-06-21T08:41:50.379"/>
    <p1510:client id="{CA1B9EB7-0CC5-4DDC-A2C5-FA2670FE4CC4}" v="17" dt="2021-06-30T13:45:50.964"/>
    <p1510:client id="{CDB60777-8219-4A04-8E5B-3C78665B04C5}" v="5" dt="2021-06-23T06:16:04.141"/>
    <p1510:client id="{CE21257B-2A05-4823-A349-CC9EE6182A94}" v="34" dt="2021-06-28T11:46:44.381"/>
    <p1510:client id="{CEBBB440-DA0A-1161-CA5E-D9CBB00D01E4}" v="308" dt="2021-06-21T14:58:52.599"/>
    <p1510:client id="{D8FCAC7E-5F4D-4191-8AF5-D85AF9CB0C57}" v="331" dt="2021-01-22T10:18:16.140"/>
    <p1510:client id="{D946BD42-3ED9-4D0A-ABA7-B74CC89F0FB7}" v="37" dt="2021-06-28T14:57:18.157"/>
    <p1510:client id="{E143E721-8E63-4076-ABC0-45221E1DBD85}" v="8" dt="2021-07-02T06:55:56.897"/>
    <p1510:client id="{E2A0CADC-774B-4B08-877E-F47B471DE6A7}" v="2185" dt="2021-06-28T22:28:05.844"/>
    <p1510:client id="{E31AF4EF-5626-4A6E-81E6-D2572A810CE2}" v="1" dt="2021-06-28T12:28:41.817"/>
    <p1510:client id="{ED6AEA62-E05C-4398-8929-F0639F6AD830}" v="8" dt="2021-01-26T10:54:00.522"/>
    <p1510:client id="{F094662B-E0DA-4F13-B82D-E709FFCE50DD}" v="674" dt="2021-07-01T14:56:28.867"/>
    <p1510:client id="{F0BF791B-44E7-4E81-AF10-A30124006926}" v="24" dt="2021-06-21T10:48:59.200"/>
    <p1510:client id="{F163FA07-369E-4A45-8A46-CDC110446A02}" v="1706" dt="2021-01-28T17:19:16.520"/>
    <p1510:client id="{F6C9C65A-F549-4619-A146-5605FCD9F02A}" v="22" dt="2021-06-28T14:31:28.321"/>
    <p1510:client id="{FD53DF57-81C2-4F05-BE1B-4844B8EF791F}" v="510" dt="2021-07-02T10:43:48.998"/>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Estilo medio 4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9" d="100"/>
          <a:sy n="109" d="100"/>
        </p:scale>
        <p:origin x="63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eciado Rojas, Fiorella Cristina" userId="S::fcpreciado@minsait.com::66c07681-a2a8-4c10-88da-785c62b6db85" providerId="AD" clId="Web-{ED6AEA62-E05C-4398-8929-F0639F6AD830}"/>
    <pc:docChg chg="addSld delSld modSld">
      <pc:chgData name="Preciado Rojas, Fiorella Cristina" userId="S::fcpreciado@minsait.com::66c07681-a2a8-4c10-88da-785c62b6db85" providerId="AD" clId="Web-{ED6AEA62-E05C-4398-8929-F0639F6AD830}" dt="2021-01-26T10:54:00.522" v="5"/>
      <pc:docMkLst>
        <pc:docMk/>
      </pc:docMkLst>
      <pc:sldChg chg="addSp delSp modSp">
        <pc:chgData name="Preciado Rojas, Fiorella Cristina" userId="S::fcpreciado@minsait.com::66c07681-a2a8-4c10-88da-785c62b6db85" providerId="AD" clId="Web-{ED6AEA62-E05C-4398-8929-F0639F6AD830}" dt="2021-01-26T10:54:00.522" v="5"/>
        <pc:sldMkLst>
          <pc:docMk/>
          <pc:sldMk cId="1258150657" sldId="471"/>
        </pc:sldMkLst>
        <pc:picChg chg="add del mod">
          <ac:chgData name="Preciado Rojas, Fiorella Cristina" userId="S::fcpreciado@minsait.com::66c07681-a2a8-4c10-88da-785c62b6db85" providerId="AD" clId="Web-{ED6AEA62-E05C-4398-8929-F0639F6AD830}" dt="2021-01-26T10:53:55.647" v="3"/>
          <ac:picMkLst>
            <pc:docMk/>
            <pc:sldMk cId="1258150657" sldId="471"/>
            <ac:picMk id="2" creationId="{E2F8C7CD-E173-4350-9AE6-BE96C08868CF}"/>
          </ac:picMkLst>
        </pc:picChg>
        <pc:picChg chg="add del mod">
          <ac:chgData name="Preciado Rojas, Fiorella Cristina" userId="S::fcpreciado@minsait.com::66c07681-a2a8-4c10-88da-785c62b6db85" providerId="AD" clId="Web-{ED6AEA62-E05C-4398-8929-F0639F6AD830}" dt="2021-01-26T10:54:00.522" v="5"/>
          <ac:picMkLst>
            <pc:docMk/>
            <pc:sldMk cId="1258150657" sldId="471"/>
            <ac:picMk id="3" creationId="{122CB61C-B770-40B7-806F-F71F8CBFCB17}"/>
          </ac:picMkLst>
        </pc:picChg>
      </pc:sldChg>
      <pc:sldChg chg="add del replId">
        <pc:chgData name="Preciado Rojas, Fiorella Cristina" userId="S::fcpreciado@minsait.com::66c07681-a2a8-4c10-88da-785c62b6db85" providerId="AD" clId="Web-{ED6AEA62-E05C-4398-8929-F0639F6AD830}" dt="2021-01-26T10:53:44.662" v="1"/>
        <pc:sldMkLst>
          <pc:docMk/>
          <pc:sldMk cId="4065502128" sldId="472"/>
        </pc:sldMkLst>
      </pc:sldChg>
    </pc:docChg>
  </pc:docChgLst>
  <pc:docChgLst>
    <pc:chgData name="Garralda Barrio, Mariano" userId="S::mgarralda@minsait.com::03140a19-4145-4e27-a44b-827c938547ef" providerId="AD" clId="Web-{19BAB0C6-96B7-487B-B5ED-E0365987D835}"/>
    <pc:docChg chg="modSld">
      <pc:chgData name="Garralda Barrio, Mariano" userId="S::mgarralda@minsait.com::03140a19-4145-4e27-a44b-827c938547ef" providerId="AD" clId="Web-{19BAB0C6-96B7-487B-B5ED-E0365987D835}" dt="2021-06-29T13:51:52.117" v="1561" actId="1076"/>
      <pc:docMkLst>
        <pc:docMk/>
      </pc:docMkLst>
      <pc:sldChg chg="addSp delSp modSp">
        <pc:chgData name="Garralda Barrio, Mariano" userId="S::mgarralda@minsait.com::03140a19-4145-4e27-a44b-827c938547ef" providerId="AD" clId="Web-{19BAB0C6-96B7-487B-B5ED-E0365987D835}" dt="2021-06-29T13:51:52.117" v="1561" actId="1076"/>
        <pc:sldMkLst>
          <pc:docMk/>
          <pc:sldMk cId="2017518982" sldId="492"/>
        </pc:sldMkLst>
        <pc:spChg chg="mod">
          <ac:chgData name="Garralda Barrio, Mariano" userId="S::mgarralda@minsait.com::03140a19-4145-4e27-a44b-827c938547ef" providerId="AD" clId="Web-{19BAB0C6-96B7-487B-B5ED-E0365987D835}" dt="2021-06-29T13:51:13.006" v="1555" actId="1076"/>
          <ac:spMkLst>
            <pc:docMk/>
            <pc:sldMk cId="2017518982" sldId="492"/>
            <ac:spMk id="26" creationId="{2E626D57-4A73-4401-8655-F9DE8EFEABBA}"/>
          </ac:spMkLst>
        </pc:spChg>
        <pc:spChg chg="mod">
          <ac:chgData name="Garralda Barrio, Mariano" userId="S::mgarralda@minsait.com::03140a19-4145-4e27-a44b-827c938547ef" providerId="AD" clId="Web-{19BAB0C6-96B7-487B-B5ED-E0365987D835}" dt="2021-06-29T13:48:20.042" v="1551" actId="20577"/>
          <ac:spMkLst>
            <pc:docMk/>
            <pc:sldMk cId="2017518982" sldId="492"/>
            <ac:spMk id="27" creationId="{00000000-0000-0000-0000-000000000000}"/>
          </ac:spMkLst>
        </pc:spChg>
        <pc:spChg chg="mod">
          <ac:chgData name="Garralda Barrio, Mariano" userId="S::mgarralda@minsait.com::03140a19-4145-4e27-a44b-827c938547ef" providerId="AD" clId="Web-{19BAB0C6-96B7-487B-B5ED-E0365987D835}" dt="2021-06-29T13:30:36.727" v="698" actId="1076"/>
          <ac:spMkLst>
            <pc:docMk/>
            <pc:sldMk cId="2017518982" sldId="492"/>
            <ac:spMk id="28" creationId="{00000000-0000-0000-0000-000000000000}"/>
          </ac:spMkLst>
        </pc:spChg>
        <pc:spChg chg="mod">
          <ac:chgData name="Garralda Barrio, Mariano" userId="S::mgarralda@minsait.com::03140a19-4145-4e27-a44b-827c938547ef" providerId="AD" clId="Web-{19BAB0C6-96B7-487B-B5ED-E0365987D835}" dt="2021-06-29T13:30:32.321" v="697" actId="1076"/>
          <ac:spMkLst>
            <pc:docMk/>
            <pc:sldMk cId="2017518982" sldId="492"/>
            <ac:spMk id="29" creationId="{00000000-0000-0000-0000-000000000000}"/>
          </ac:spMkLst>
        </pc:spChg>
        <pc:spChg chg="mod">
          <ac:chgData name="Garralda Barrio, Mariano" userId="S::mgarralda@minsait.com::03140a19-4145-4e27-a44b-827c938547ef" providerId="AD" clId="Web-{19BAB0C6-96B7-487B-B5ED-E0365987D835}" dt="2021-06-29T13:51:12.912" v="1554" actId="1076"/>
          <ac:spMkLst>
            <pc:docMk/>
            <pc:sldMk cId="2017518982" sldId="492"/>
            <ac:spMk id="30" creationId="{2427939C-DBF8-48F1-91EE-B809ED2B8647}"/>
          </ac:spMkLst>
        </pc:spChg>
        <pc:spChg chg="add mod">
          <ac:chgData name="Garralda Barrio, Mariano" userId="S::mgarralda@minsait.com::03140a19-4145-4e27-a44b-827c938547ef" providerId="AD" clId="Web-{19BAB0C6-96B7-487B-B5ED-E0365987D835}" dt="2021-06-29T13:32:25.124" v="852" actId="20577"/>
          <ac:spMkLst>
            <pc:docMk/>
            <pc:sldMk cId="2017518982" sldId="492"/>
            <ac:spMk id="31" creationId="{B768F485-42A8-4783-9935-EC0FA62FC1D1}"/>
          </ac:spMkLst>
        </pc:spChg>
        <pc:spChg chg="mod">
          <ac:chgData name="Garralda Barrio, Mariano" userId="S::mgarralda@minsait.com::03140a19-4145-4e27-a44b-827c938547ef" providerId="AD" clId="Web-{19BAB0C6-96B7-487B-B5ED-E0365987D835}" dt="2021-06-29T13:42:30.161" v="1455" actId="1076"/>
          <ac:spMkLst>
            <pc:docMk/>
            <pc:sldMk cId="2017518982" sldId="492"/>
            <ac:spMk id="32" creationId="{00000000-0000-0000-0000-000000000000}"/>
          </ac:spMkLst>
        </pc:spChg>
        <pc:spChg chg="mod">
          <ac:chgData name="Garralda Barrio, Mariano" userId="S::mgarralda@minsait.com::03140a19-4145-4e27-a44b-827c938547ef" providerId="AD" clId="Web-{19BAB0C6-96B7-487B-B5ED-E0365987D835}" dt="2021-06-29T13:51:42.445" v="1559" actId="1076"/>
          <ac:spMkLst>
            <pc:docMk/>
            <pc:sldMk cId="2017518982" sldId="492"/>
            <ac:spMk id="33" creationId="{59E7FDF5-8848-4483-B599-B0F490623CFB}"/>
          </ac:spMkLst>
        </pc:spChg>
        <pc:spChg chg="mod">
          <ac:chgData name="Garralda Barrio, Mariano" userId="S::mgarralda@minsait.com::03140a19-4145-4e27-a44b-827c938547ef" providerId="AD" clId="Web-{19BAB0C6-96B7-487B-B5ED-E0365987D835}" dt="2021-06-29T13:51:52.117" v="1561" actId="1076"/>
          <ac:spMkLst>
            <pc:docMk/>
            <pc:sldMk cId="2017518982" sldId="492"/>
            <ac:spMk id="34" creationId="{494DBDE4-FAF0-488B-AC67-6C7848DE3F81}"/>
          </ac:spMkLst>
        </pc:spChg>
        <pc:spChg chg="add mod">
          <ac:chgData name="Garralda Barrio, Mariano" userId="S::mgarralda@minsait.com::03140a19-4145-4e27-a44b-827c938547ef" providerId="AD" clId="Web-{19BAB0C6-96B7-487B-B5ED-E0365987D835}" dt="2021-06-29T13:30:56.666" v="706" actId="20577"/>
          <ac:spMkLst>
            <pc:docMk/>
            <pc:sldMk cId="2017518982" sldId="492"/>
            <ac:spMk id="35" creationId="{DF5C2B75-7A73-481E-8C86-5AB48C96C569}"/>
          </ac:spMkLst>
        </pc:spChg>
        <pc:spChg chg="add mod">
          <ac:chgData name="Garralda Barrio, Mariano" userId="S::mgarralda@minsait.com::03140a19-4145-4e27-a44b-827c938547ef" providerId="AD" clId="Web-{19BAB0C6-96B7-487B-B5ED-E0365987D835}" dt="2021-06-29T13:51:32.398" v="1557" actId="1076"/>
          <ac:spMkLst>
            <pc:docMk/>
            <pc:sldMk cId="2017518982" sldId="492"/>
            <ac:spMk id="36" creationId="{CB42E825-B6DA-48F4-9F03-B4798EAA5653}"/>
          </ac:spMkLst>
        </pc:spChg>
        <pc:spChg chg="mod">
          <ac:chgData name="Garralda Barrio, Mariano" userId="S::mgarralda@minsait.com::03140a19-4145-4e27-a44b-827c938547ef" providerId="AD" clId="Web-{19BAB0C6-96B7-487B-B5ED-E0365987D835}" dt="2021-06-29T13:42:10.848" v="1452" actId="1076"/>
          <ac:spMkLst>
            <pc:docMk/>
            <pc:sldMk cId="2017518982" sldId="492"/>
            <ac:spMk id="38" creationId="{00000000-0000-0000-0000-000000000000}"/>
          </ac:spMkLst>
        </pc:spChg>
        <pc:spChg chg="mod">
          <ac:chgData name="Garralda Barrio, Mariano" userId="S::mgarralda@minsait.com::03140a19-4145-4e27-a44b-827c938547ef" providerId="AD" clId="Web-{19BAB0C6-96B7-487B-B5ED-E0365987D835}" dt="2021-06-29T13:42:13.535" v="1453" actId="1076"/>
          <ac:spMkLst>
            <pc:docMk/>
            <pc:sldMk cId="2017518982" sldId="492"/>
            <ac:spMk id="39" creationId="{00000000-0000-0000-0000-000000000000}"/>
          </ac:spMkLst>
        </pc:spChg>
        <pc:spChg chg="mod">
          <ac:chgData name="Garralda Barrio, Mariano" userId="S::mgarralda@minsait.com::03140a19-4145-4e27-a44b-827c938547ef" providerId="AD" clId="Web-{19BAB0C6-96B7-487B-B5ED-E0365987D835}" dt="2021-06-29T13:47:17.038" v="1530" actId="20577"/>
          <ac:spMkLst>
            <pc:docMk/>
            <pc:sldMk cId="2017518982" sldId="492"/>
            <ac:spMk id="42" creationId="{00000000-0000-0000-0000-000000000000}"/>
          </ac:spMkLst>
        </pc:spChg>
        <pc:spChg chg="mod">
          <ac:chgData name="Garralda Barrio, Mariano" userId="S::mgarralda@minsait.com::03140a19-4145-4e27-a44b-827c938547ef" providerId="AD" clId="Web-{19BAB0C6-96B7-487B-B5ED-E0365987D835}" dt="2021-06-29T13:27:31.982" v="503"/>
          <ac:spMkLst>
            <pc:docMk/>
            <pc:sldMk cId="2017518982" sldId="492"/>
            <ac:spMk id="43" creationId="{00000000-0000-0000-0000-000000000000}"/>
          </ac:spMkLst>
        </pc:spChg>
        <pc:spChg chg="mod">
          <ac:chgData name="Garralda Barrio, Mariano" userId="S::mgarralda@minsait.com::03140a19-4145-4e27-a44b-827c938547ef" providerId="AD" clId="Web-{19BAB0C6-96B7-487B-B5ED-E0365987D835}" dt="2021-06-29T13:47:39.336" v="1537" actId="1076"/>
          <ac:spMkLst>
            <pc:docMk/>
            <pc:sldMk cId="2017518982" sldId="492"/>
            <ac:spMk id="105" creationId="{00000000-0000-0000-0000-000000000000}"/>
          </ac:spMkLst>
        </pc:spChg>
        <pc:spChg chg="mod">
          <ac:chgData name="Garralda Barrio, Mariano" userId="S::mgarralda@minsait.com::03140a19-4145-4e27-a44b-827c938547ef" providerId="AD" clId="Web-{19BAB0C6-96B7-487B-B5ED-E0365987D835}" dt="2021-06-29T13:51:42.367" v="1558" actId="1076"/>
          <ac:spMkLst>
            <pc:docMk/>
            <pc:sldMk cId="2017518982" sldId="492"/>
            <ac:spMk id="109" creationId="{00000000-0000-0000-0000-000000000000}"/>
          </ac:spMkLst>
        </pc:spChg>
        <pc:spChg chg="mod">
          <ac:chgData name="Garralda Barrio, Mariano" userId="S::mgarralda@minsait.com::03140a19-4145-4e27-a44b-827c938547ef" providerId="AD" clId="Web-{19BAB0C6-96B7-487B-B5ED-E0365987D835}" dt="2021-06-29T13:51:52.024" v="1560" actId="1076"/>
          <ac:spMkLst>
            <pc:docMk/>
            <pc:sldMk cId="2017518982" sldId="492"/>
            <ac:spMk id="110" creationId="{00000000-0000-0000-0000-000000000000}"/>
          </ac:spMkLst>
        </pc:spChg>
        <pc:spChg chg="del">
          <ac:chgData name="Garralda Barrio, Mariano" userId="S::mgarralda@minsait.com::03140a19-4145-4e27-a44b-827c938547ef" providerId="AD" clId="Web-{19BAB0C6-96B7-487B-B5ED-E0365987D835}" dt="2021-06-29T13:45:41.157" v="1515"/>
          <ac:spMkLst>
            <pc:docMk/>
            <pc:sldMk cId="2017518982" sldId="492"/>
            <ac:spMk id="111" creationId="{00000000-0000-0000-0000-000000000000}"/>
          </ac:spMkLst>
        </pc:spChg>
        <pc:spChg chg="mod">
          <ac:chgData name="Garralda Barrio, Mariano" userId="S::mgarralda@minsait.com::03140a19-4145-4e27-a44b-827c938547ef" providerId="AD" clId="Web-{19BAB0C6-96B7-487B-B5ED-E0365987D835}" dt="2021-06-29T13:51:12.740" v="1552" actId="1076"/>
          <ac:spMkLst>
            <pc:docMk/>
            <pc:sldMk cId="2017518982" sldId="492"/>
            <ac:spMk id="113" creationId="{00000000-0000-0000-0000-000000000000}"/>
          </ac:spMkLst>
        </pc:spChg>
        <pc:spChg chg="mod">
          <ac:chgData name="Garralda Barrio, Mariano" userId="S::mgarralda@minsait.com::03140a19-4145-4e27-a44b-827c938547ef" providerId="AD" clId="Web-{19BAB0C6-96B7-487B-B5ED-E0365987D835}" dt="2021-06-29T13:51:12.834" v="1553" actId="1076"/>
          <ac:spMkLst>
            <pc:docMk/>
            <pc:sldMk cId="2017518982" sldId="492"/>
            <ac:spMk id="114" creationId="{00000000-0000-0000-0000-000000000000}"/>
          </ac:spMkLst>
        </pc:spChg>
        <pc:spChg chg="mod">
          <ac:chgData name="Garralda Barrio, Mariano" userId="S::mgarralda@minsait.com::03140a19-4145-4e27-a44b-827c938547ef" providerId="AD" clId="Web-{19BAB0C6-96B7-487B-B5ED-E0365987D835}" dt="2021-06-29T13:51:32.288" v="1556" actId="1076"/>
          <ac:spMkLst>
            <pc:docMk/>
            <pc:sldMk cId="2017518982" sldId="492"/>
            <ac:spMk id="117" creationId="{00000000-0000-0000-0000-000000000000}"/>
          </ac:spMkLst>
        </pc:spChg>
      </pc:sldChg>
    </pc:docChg>
  </pc:docChgLst>
  <pc:docChgLst>
    <pc:chgData name="Garralda Barrio, Mariano" userId="S::mgarralda@minsait.com::03140a19-4145-4e27-a44b-827c938547ef" providerId="AD" clId="Web-{8C4FF641-ABE2-4697-A8D5-FE8E3FC18979}"/>
    <pc:docChg chg="modSld">
      <pc:chgData name="Garralda Barrio, Mariano" userId="S::mgarralda@minsait.com::03140a19-4145-4e27-a44b-827c938547ef" providerId="AD" clId="Web-{8C4FF641-ABE2-4697-A8D5-FE8E3FC18979}" dt="2021-06-24T07:58:44.598" v="709" actId="1076"/>
      <pc:docMkLst>
        <pc:docMk/>
      </pc:docMkLst>
      <pc:sldChg chg="addSp delSp modSp">
        <pc:chgData name="Garralda Barrio, Mariano" userId="S::mgarralda@minsait.com::03140a19-4145-4e27-a44b-827c938547ef" providerId="AD" clId="Web-{8C4FF641-ABE2-4697-A8D5-FE8E3FC18979}" dt="2021-06-24T07:58:44.598" v="709" actId="1076"/>
        <pc:sldMkLst>
          <pc:docMk/>
          <pc:sldMk cId="2017518982" sldId="492"/>
        </pc:sldMkLst>
        <pc:spChg chg="del">
          <ac:chgData name="Garralda Barrio, Mariano" userId="S::mgarralda@minsait.com::03140a19-4145-4e27-a44b-827c938547ef" providerId="AD" clId="Web-{8C4FF641-ABE2-4697-A8D5-FE8E3FC18979}" dt="2021-06-24T07:34:48.847" v="60"/>
          <ac:spMkLst>
            <pc:docMk/>
            <pc:sldMk cId="2017518982" sldId="492"/>
            <ac:spMk id="26" creationId="{00000000-0000-0000-0000-000000000000}"/>
          </ac:spMkLst>
        </pc:spChg>
        <pc:spChg chg="add mod">
          <ac:chgData name="Garralda Barrio, Mariano" userId="S::mgarralda@minsait.com::03140a19-4145-4e27-a44b-827c938547ef" providerId="AD" clId="Web-{8C4FF641-ABE2-4697-A8D5-FE8E3FC18979}" dt="2021-06-24T07:57:45.299" v="701" actId="1076"/>
          <ac:spMkLst>
            <pc:docMk/>
            <pc:sldMk cId="2017518982" sldId="492"/>
            <ac:spMk id="30" creationId="{2427939C-DBF8-48F1-91EE-B809ED2B8647}"/>
          </ac:spMkLst>
        </pc:spChg>
        <pc:spChg chg="add del mod">
          <ac:chgData name="Garralda Barrio, Mariano" userId="S::mgarralda@minsait.com::03140a19-4145-4e27-a44b-827c938547ef" providerId="AD" clId="Web-{8C4FF641-ABE2-4697-A8D5-FE8E3FC18979}" dt="2021-06-24T07:49:54.492" v="570"/>
          <ac:spMkLst>
            <pc:docMk/>
            <pc:sldMk cId="2017518982" sldId="492"/>
            <ac:spMk id="31" creationId="{7D19A0FF-6EB3-4B5B-8630-3E941D0BBDB3}"/>
          </ac:spMkLst>
        </pc:spChg>
        <pc:spChg chg="add del mod">
          <ac:chgData name="Garralda Barrio, Mariano" userId="S::mgarralda@minsait.com::03140a19-4145-4e27-a44b-827c938547ef" providerId="AD" clId="Web-{8C4FF641-ABE2-4697-A8D5-FE8E3FC18979}" dt="2021-06-24T07:53:00.074" v="624"/>
          <ac:spMkLst>
            <pc:docMk/>
            <pc:sldMk cId="2017518982" sldId="492"/>
            <ac:spMk id="33" creationId="{F31AD4C1-70FE-4A99-95CF-344334AEB6D0}"/>
          </ac:spMkLst>
        </pc:spChg>
        <pc:spChg chg="mod">
          <ac:chgData name="Garralda Barrio, Mariano" userId="S::mgarralda@minsait.com::03140a19-4145-4e27-a44b-827c938547ef" providerId="AD" clId="Web-{8C4FF641-ABE2-4697-A8D5-FE8E3FC18979}" dt="2021-06-24T07:58:35.816" v="707" actId="1076"/>
          <ac:spMkLst>
            <pc:docMk/>
            <pc:sldMk cId="2017518982" sldId="492"/>
            <ac:spMk id="37" creationId="{00000000-0000-0000-0000-000000000000}"/>
          </ac:spMkLst>
        </pc:spChg>
        <pc:spChg chg="mod">
          <ac:chgData name="Garralda Barrio, Mariano" userId="S::mgarralda@minsait.com::03140a19-4145-4e27-a44b-827c938547ef" providerId="AD" clId="Web-{8C4FF641-ABE2-4697-A8D5-FE8E3FC18979}" dt="2021-06-24T07:56:42.954" v="691" actId="1076"/>
          <ac:spMkLst>
            <pc:docMk/>
            <pc:sldMk cId="2017518982" sldId="492"/>
            <ac:spMk id="102" creationId="{00000000-0000-0000-0000-000000000000}"/>
          </ac:spMkLst>
        </pc:spChg>
        <pc:spChg chg="mod">
          <ac:chgData name="Garralda Barrio, Mariano" userId="S::mgarralda@minsait.com::03140a19-4145-4e27-a44b-827c938547ef" providerId="AD" clId="Web-{8C4FF641-ABE2-4697-A8D5-FE8E3FC18979}" dt="2021-06-24T07:57:36.237" v="700" actId="20577"/>
          <ac:spMkLst>
            <pc:docMk/>
            <pc:sldMk cId="2017518982" sldId="492"/>
            <ac:spMk id="103" creationId="{00000000-0000-0000-0000-000000000000}"/>
          </ac:spMkLst>
        </pc:spChg>
        <pc:spChg chg="mod">
          <ac:chgData name="Garralda Barrio, Mariano" userId="S::mgarralda@minsait.com::03140a19-4145-4e27-a44b-827c938547ef" providerId="AD" clId="Web-{8C4FF641-ABE2-4697-A8D5-FE8E3FC18979}" dt="2021-06-24T07:58:44.598" v="709" actId="1076"/>
          <ac:spMkLst>
            <pc:docMk/>
            <pc:sldMk cId="2017518982" sldId="492"/>
            <ac:spMk id="105" creationId="{00000000-0000-0000-0000-000000000000}"/>
          </ac:spMkLst>
        </pc:spChg>
        <pc:spChg chg="mod">
          <ac:chgData name="Garralda Barrio, Mariano" userId="S::mgarralda@minsait.com::03140a19-4145-4e27-a44b-827c938547ef" providerId="AD" clId="Web-{8C4FF641-ABE2-4697-A8D5-FE8E3FC18979}" dt="2021-06-24T07:58:39.879" v="708" actId="1076"/>
          <ac:spMkLst>
            <pc:docMk/>
            <pc:sldMk cId="2017518982" sldId="492"/>
            <ac:spMk id="106" creationId="{00000000-0000-0000-0000-000000000000}"/>
          </ac:spMkLst>
        </pc:spChg>
        <pc:spChg chg="mod">
          <ac:chgData name="Garralda Barrio, Mariano" userId="S::mgarralda@minsait.com::03140a19-4145-4e27-a44b-827c938547ef" providerId="AD" clId="Web-{8C4FF641-ABE2-4697-A8D5-FE8E3FC18979}" dt="2021-06-24T07:48:28.068" v="560" actId="1076"/>
          <ac:spMkLst>
            <pc:docMk/>
            <pc:sldMk cId="2017518982" sldId="492"/>
            <ac:spMk id="110" creationId="{00000000-0000-0000-0000-000000000000}"/>
          </ac:spMkLst>
        </pc:spChg>
        <pc:spChg chg="mod">
          <ac:chgData name="Garralda Barrio, Mariano" userId="S::mgarralda@minsait.com::03140a19-4145-4e27-a44b-827c938547ef" providerId="AD" clId="Web-{8C4FF641-ABE2-4697-A8D5-FE8E3FC18979}" dt="2021-06-24T07:48:32.912" v="561" actId="1076"/>
          <ac:spMkLst>
            <pc:docMk/>
            <pc:sldMk cId="2017518982" sldId="492"/>
            <ac:spMk id="111" creationId="{00000000-0000-0000-0000-000000000000}"/>
          </ac:spMkLst>
        </pc:spChg>
        <pc:spChg chg="mod">
          <ac:chgData name="Garralda Barrio, Mariano" userId="S::mgarralda@minsait.com::03140a19-4145-4e27-a44b-827c938547ef" providerId="AD" clId="Web-{8C4FF641-ABE2-4697-A8D5-FE8E3FC18979}" dt="2021-06-24T07:56:38.970" v="690" actId="1076"/>
          <ac:spMkLst>
            <pc:docMk/>
            <pc:sldMk cId="2017518982" sldId="492"/>
            <ac:spMk id="112" creationId="{00000000-0000-0000-0000-000000000000}"/>
          </ac:spMkLst>
        </pc:spChg>
        <pc:spChg chg="mod">
          <ac:chgData name="Garralda Barrio, Mariano" userId="S::mgarralda@minsait.com::03140a19-4145-4e27-a44b-827c938547ef" providerId="AD" clId="Web-{8C4FF641-ABE2-4697-A8D5-FE8E3FC18979}" dt="2021-06-24T07:54:36.655" v="682" actId="20577"/>
          <ac:spMkLst>
            <pc:docMk/>
            <pc:sldMk cId="2017518982" sldId="492"/>
            <ac:spMk id="113" creationId="{00000000-0000-0000-0000-000000000000}"/>
          </ac:spMkLst>
        </pc:spChg>
        <pc:spChg chg="mod">
          <ac:chgData name="Garralda Barrio, Mariano" userId="S::mgarralda@minsait.com::03140a19-4145-4e27-a44b-827c938547ef" providerId="AD" clId="Web-{8C4FF641-ABE2-4697-A8D5-FE8E3FC18979}" dt="2021-06-24T07:57:51.143" v="702" actId="1076"/>
          <ac:spMkLst>
            <pc:docMk/>
            <pc:sldMk cId="2017518982" sldId="492"/>
            <ac:spMk id="114" creationId="{00000000-0000-0000-0000-000000000000}"/>
          </ac:spMkLst>
        </pc:spChg>
        <pc:spChg chg="mod">
          <ac:chgData name="Garralda Barrio, Mariano" userId="S::mgarralda@minsait.com::03140a19-4145-4e27-a44b-827c938547ef" providerId="AD" clId="Web-{8C4FF641-ABE2-4697-A8D5-FE8E3FC18979}" dt="2021-06-24T07:48:36.131" v="562" actId="1076"/>
          <ac:spMkLst>
            <pc:docMk/>
            <pc:sldMk cId="2017518982" sldId="492"/>
            <ac:spMk id="117" creationId="{00000000-0000-0000-0000-000000000000}"/>
          </ac:spMkLst>
        </pc:spChg>
        <pc:picChg chg="add del mod">
          <ac:chgData name="Garralda Barrio, Mariano" userId="S::mgarralda@minsait.com::03140a19-4145-4e27-a44b-827c938547ef" providerId="AD" clId="Web-{8C4FF641-ABE2-4697-A8D5-FE8E3FC18979}" dt="2021-06-24T07:32:54.985" v="4"/>
          <ac:picMkLst>
            <pc:docMk/>
            <pc:sldMk cId="2017518982" sldId="492"/>
            <ac:picMk id="2" creationId="{FB84A788-DE9C-4595-AE09-A4986022F1D4}"/>
          </ac:picMkLst>
        </pc:picChg>
      </pc:sldChg>
    </pc:docChg>
  </pc:docChgLst>
  <pc:docChgLst>
    <pc:chgData name="Marín Daniel, Marcos" userId="S::mmarind@eservicios.indra.es::865c3132-1d6f-4385-b8a6-6bc46c5da955" providerId="AD" clId="Web-{6BC75746-BB14-41E6-A171-22139EC6C33A}"/>
    <pc:docChg chg="modSld">
      <pc:chgData name="Marín Daniel, Marcos" userId="S::mmarind@eservicios.indra.es::865c3132-1d6f-4385-b8a6-6bc46c5da955" providerId="AD" clId="Web-{6BC75746-BB14-41E6-A171-22139EC6C33A}" dt="2021-07-01T15:24:02.375" v="127" actId="20577"/>
      <pc:docMkLst>
        <pc:docMk/>
      </pc:docMkLst>
      <pc:sldChg chg="modSp">
        <pc:chgData name="Marín Daniel, Marcos" userId="S::mmarind@eservicios.indra.es::865c3132-1d6f-4385-b8a6-6bc46c5da955" providerId="AD" clId="Web-{6BC75746-BB14-41E6-A171-22139EC6C33A}" dt="2021-07-01T15:24:02.375" v="127" actId="20577"/>
        <pc:sldMkLst>
          <pc:docMk/>
          <pc:sldMk cId="3746400210" sldId="495"/>
        </pc:sldMkLst>
        <pc:spChg chg="mod">
          <ac:chgData name="Marín Daniel, Marcos" userId="S::mmarind@eservicios.indra.es::865c3132-1d6f-4385-b8a6-6bc46c5da955" providerId="AD" clId="Web-{6BC75746-BB14-41E6-A171-22139EC6C33A}" dt="2021-07-01T15:23:58.625" v="126" actId="20577"/>
          <ac:spMkLst>
            <pc:docMk/>
            <pc:sldMk cId="3746400210" sldId="495"/>
            <ac:spMk id="27" creationId="{00000000-0000-0000-0000-000000000000}"/>
          </ac:spMkLst>
        </pc:spChg>
        <pc:spChg chg="mod">
          <ac:chgData name="Marín Daniel, Marcos" userId="S::mmarind@eservicios.indra.es::865c3132-1d6f-4385-b8a6-6bc46c5da955" providerId="AD" clId="Web-{6BC75746-BB14-41E6-A171-22139EC6C33A}" dt="2021-07-01T15:24:02.375" v="127" actId="20577"/>
          <ac:spMkLst>
            <pc:docMk/>
            <pc:sldMk cId="3746400210" sldId="495"/>
            <ac:spMk id="32" creationId="{00000000-0000-0000-0000-000000000000}"/>
          </ac:spMkLst>
        </pc:spChg>
      </pc:sldChg>
    </pc:docChg>
  </pc:docChgLst>
  <pc:docChgLst>
    <pc:chgData name="Oliva Morales, Marcos" userId="S::moliva@minsait.com::d33b55de-3591-42c6-80e2-618a885f9dea" providerId="AD" clId="Web-{4D300315-4FB4-4B5A-82B9-47817CBCE72B}"/>
    <pc:docChg chg="modSld">
      <pc:chgData name="Oliva Morales, Marcos" userId="S::moliva@minsait.com::d33b55de-3591-42c6-80e2-618a885f9dea" providerId="AD" clId="Web-{4D300315-4FB4-4B5A-82B9-47817CBCE72B}" dt="2021-08-31T14:36:42.436" v="8" actId="20577"/>
      <pc:docMkLst>
        <pc:docMk/>
      </pc:docMkLst>
      <pc:sldChg chg="modSp">
        <pc:chgData name="Oliva Morales, Marcos" userId="S::moliva@minsait.com::d33b55de-3591-42c6-80e2-618a885f9dea" providerId="AD" clId="Web-{4D300315-4FB4-4B5A-82B9-47817CBCE72B}" dt="2021-08-31T14:36:42.436" v="8" actId="20577"/>
        <pc:sldMkLst>
          <pc:docMk/>
          <pc:sldMk cId="873209776" sldId="512"/>
        </pc:sldMkLst>
        <pc:spChg chg="mod">
          <ac:chgData name="Oliva Morales, Marcos" userId="S::moliva@minsait.com::d33b55de-3591-42c6-80e2-618a885f9dea" providerId="AD" clId="Web-{4D300315-4FB4-4B5A-82B9-47817CBCE72B}" dt="2021-08-31T14:36:42.436" v="8" actId="20577"/>
          <ac:spMkLst>
            <pc:docMk/>
            <pc:sldMk cId="873209776" sldId="512"/>
            <ac:spMk id="38" creationId="{00000000-0000-0000-0000-000000000000}"/>
          </ac:spMkLst>
        </pc:spChg>
      </pc:sldChg>
    </pc:docChg>
  </pc:docChgLst>
  <pc:docChgLst>
    <pc:chgData name="Oliva Morales, Marcos" userId="S::moliva@minsait.com::d33b55de-3591-42c6-80e2-618a885f9dea" providerId="AD" clId="Web-{64793E3C-0A38-9E15-7FA9-07A37E936C60}"/>
    <pc:docChg chg="modSld">
      <pc:chgData name="Oliva Morales, Marcos" userId="S::moliva@minsait.com::d33b55de-3591-42c6-80e2-618a885f9dea" providerId="AD" clId="Web-{64793E3C-0A38-9E15-7FA9-07A37E936C60}" dt="2021-08-31T14:34:43.895" v="1104" actId="1076"/>
      <pc:docMkLst>
        <pc:docMk/>
      </pc:docMkLst>
      <pc:sldChg chg="addSp delSp modSp">
        <pc:chgData name="Oliva Morales, Marcos" userId="S::moliva@minsait.com::d33b55de-3591-42c6-80e2-618a885f9dea" providerId="AD" clId="Web-{64793E3C-0A38-9E15-7FA9-07A37E936C60}" dt="2021-08-31T14:34:43.895" v="1104" actId="1076"/>
        <pc:sldMkLst>
          <pc:docMk/>
          <pc:sldMk cId="873209776" sldId="512"/>
        </pc:sldMkLst>
        <pc:spChg chg="add del mod">
          <ac:chgData name="Oliva Morales, Marcos" userId="S::moliva@minsait.com::d33b55de-3591-42c6-80e2-618a885f9dea" providerId="AD" clId="Web-{64793E3C-0A38-9E15-7FA9-07A37E936C60}" dt="2021-08-31T13:50:49.799" v="710"/>
          <ac:spMkLst>
            <pc:docMk/>
            <pc:sldMk cId="873209776" sldId="512"/>
            <ac:spMk id="2" creationId="{287F2809-818A-473B-B89E-39ED06A8069B}"/>
          </ac:spMkLst>
        </pc:spChg>
        <pc:spChg chg="add del">
          <ac:chgData name="Oliva Morales, Marcos" userId="S::moliva@minsait.com::d33b55de-3591-42c6-80e2-618a885f9dea" providerId="AD" clId="Web-{64793E3C-0A38-9E15-7FA9-07A37E936C60}" dt="2021-08-31T13:51:37.472" v="728"/>
          <ac:spMkLst>
            <pc:docMk/>
            <pc:sldMk cId="873209776" sldId="512"/>
            <ac:spMk id="3" creationId="{A535D6C7-2AD5-4523-9BB9-E03066ED1037}"/>
          </ac:spMkLst>
        </pc:spChg>
        <pc:spChg chg="mod">
          <ac:chgData name="Oliva Morales, Marcos" userId="S::moliva@minsait.com::d33b55de-3591-42c6-80e2-618a885f9dea" providerId="AD" clId="Web-{64793E3C-0A38-9E15-7FA9-07A37E936C60}" dt="2021-08-31T14:34:06.628" v="1100" actId="20577"/>
          <ac:spMkLst>
            <pc:docMk/>
            <pc:sldMk cId="873209776" sldId="512"/>
            <ac:spMk id="27" creationId="{00000000-0000-0000-0000-000000000000}"/>
          </ac:spMkLst>
        </pc:spChg>
        <pc:spChg chg="del mod">
          <ac:chgData name="Oliva Morales, Marcos" userId="S::moliva@minsait.com::d33b55de-3591-42c6-80e2-618a885f9dea" providerId="AD" clId="Web-{64793E3C-0A38-9E15-7FA9-07A37E936C60}" dt="2021-08-31T13:49:19.843" v="703"/>
          <ac:spMkLst>
            <pc:docMk/>
            <pc:sldMk cId="873209776" sldId="512"/>
            <ac:spMk id="28" creationId="{00000000-0000-0000-0000-000000000000}"/>
          </ac:spMkLst>
        </pc:spChg>
        <pc:spChg chg="del mod">
          <ac:chgData name="Oliva Morales, Marcos" userId="S::moliva@minsait.com::d33b55de-3591-42c6-80e2-618a885f9dea" providerId="AD" clId="Web-{64793E3C-0A38-9E15-7FA9-07A37E936C60}" dt="2021-08-31T13:49:24.562" v="706"/>
          <ac:spMkLst>
            <pc:docMk/>
            <pc:sldMk cId="873209776" sldId="512"/>
            <ac:spMk id="29" creationId="{00000000-0000-0000-0000-000000000000}"/>
          </ac:spMkLst>
        </pc:spChg>
        <pc:spChg chg="mod">
          <ac:chgData name="Oliva Morales, Marcos" userId="S::moliva@minsait.com::d33b55de-3591-42c6-80e2-618a885f9dea" providerId="AD" clId="Web-{64793E3C-0A38-9E15-7FA9-07A37E936C60}" dt="2021-08-31T14:33:38.596" v="1087" actId="1076"/>
          <ac:spMkLst>
            <pc:docMk/>
            <pc:sldMk cId="873209776" sldId="512"/>
            <ac:spMk id="30" creationId="{76B4B8A5-FA4A-44D2-83AB-E67993EEB5DF}"/>
          </ac:spMkLst>
        </pc:spChg>
        <pc:spChg chg="mod">
          <ac:chgData name="Oliva Morales, Marcos" userId="S::moliva@minsait.com::d33b55de-3591-42c6-80e2-618a885f9dea" providerId="AD" clId="Web-{64793E3C-0A38-9E15-7FA9-07A37E936C60}" dt="2021-08-31T14:33:43.425" v="1090" actId="1076"/>
          <ac:spMkLst>
            <pc:docMk/>
            <pc:sldMk cId="873209776" sldId="512"/>
            <ac:spMk id="31" creationId="{521BFB56-4FE8-4182-BA0C-7318295E9AE4}"/>
          </ac:spMkLst>
        </pc:spChg>
        <pc:spChg chg="mod">
          <ac:chgData name="Oliva Morales, Marcos" userId="S::moliva@minsait.com::d33b55de-3591-42c6-80e2-618a885f9dea" providerId="AD" clId="Web-{64793E3C-0A38-9E15-7FA9-07A37E936C60}" dt="2021-08-31T14:07:46.011" v="842" actId="1076"/>
          <ac:spMkLst>
            <pc:docMk/>
            <pc:sldMk cId="873209776" sldId="512"/>
            <ac:spMk id="32" creationId="{00000000-0000-0000-0000-000000000000}"/>
          </ac:spMkLst>
        </pc:spChg>
        <pc:spChg chg="add del mod">
          <ac:chgData name="Oliva Morales, Marcos" userId="S::moliva@minsait.com::d33b55de-3591-42c6-80e2-618a885f9dea" providerId="AD" clId="Web-{64793E3C-0A38-9E15-7FA9-07A37E936C60}" dt="2021-08-31T14:07:02.541" v="838" actId="1076"/>
          <ac:spMkLst>
            <pc:docMk/>
            <pc:sldMk cId="873209776" sldId="512"/>
            <ac:spMk id="33" creationId="{60EA8698-DD08-44F3-8A55-218E1ED11A7B}"/>
          </ac:spMkLst>
        </pc:spChg>
        <pc:spChg chg="mod">
          <ac:chgData name="Oliva Morales, Marcos" userId="S::moliva@minsait.com::d33b55de-3591-42c6-80e2-618a885f9dea" providerId="AD" clId="Web-{64793E3C-0A38-9E15-7FA9-07A37E936C60}" dt="2021-08-31T14:08:51.185" v="850" actId="1076"/>
          <ac:spMkLst>
            <pc:docMk/>
            <pc:sldMk cId="873209776" sldId="512"/>
            <ac:spMk id="34" creationId="{ACB4C92A-D919-4DB4-9240-2392CEB546E8}"/>
          </ac:spMkLst>
        </pc:spChg>
        <pc:spChg chg="del mod">
          <ac:chgData name="Oliva Morales, Marcos" userId="S::moliva@minsait.com::d33b55de-3591-42c6-80e2-618a885f9dea" providerId="AD" clId="Web-{64793E3C-0A38-9E15-7FA9-07A37E936C60}" dt="2021-08-31T13:43:12.194" v="614"/>
          <ac:spMkLst>
            <pc:docMk/>
            <pc:sldMk cId="873209776" sldId="512"/>
            <ac:spMk id="35" creationId="{00000000-0000-0000-0000-000000000000}"/>
          </ac:spMkLst>
        </pc:spChg>
        <pc:spChg chg="add mod">
          <ac:chgData name="Oliva Morales, Marcos" userId="S::moliva@minsait.com::d33b55de-3591-42c6-80e2-618a885f9dea" providerId="AD" clId="Web-{64793E3C-0A38-9E15-7FA9-07A37E936C60}" dt="2021-08-31T13:59:04.998" v="779" actId="1076"/>
          <ac:spMkLst>
            <pc:docMk/>
            <pc:sldMk cId="873209776" sldId="512"/>
            <ac:spMk id="36" creationId="{95DE3030-B065-41AE-B987-11AD1576DA87}"/>
          </ac:spMkLst>
        </pc:spChg>
        <pc:spChg chg="mod">
          <ac:chgData name="Oliva Morales, Marcos" userId="S::moliva@minsait.com::d33b55de-3591-42c6-80e2-618a885f9dea" providerId="AD" clId="Web-{64793E3C-0A38-9E15-7FA9-07A37E936C60}" dt="2021-08-31T14:08:44.388" v="849" actId="20577"/>
          <ac:spMkLst>
            <pc:docMk/>
            <pc:sldMk cId="873209776" sldId="512"/>
            <ac:spMk id="38" creationId="{00000000-0000-0000-0000-000000000000}"/>
          </ac:spMkLst>
        </pc:spChg>
        <pc:spChg chg="mod">
          <ac:chgData name="Oliva Morales, Marcos" userId="S::moliva@minsait.com::d33b55de-3591-42c6-80e2-618a885f9dea" providerId="AD" clId="Web-{64793E3C-0A38-9E15-7FA9-07A37E936C60}" dt="2021-08-31T14:07:36.964" v="841" actId="1076"/>
          <ac:spMkLst>
            <pc:docMk/>
            <pc:sldMk cId="873209776" sldId="512"/>
            <ac:spMk id="39" creationId="{00000000-0000-0000-0000-000000000000}"/>
          </ac:spMkLst>
        </pc:spChg>
        <pc:spChg chg="add mod">
          <ac:chgData name="Oliva Morales, Marcos" userId="S::moliva@minsait.com::d33b55de-3591-42c6-80e2-618a885f9dea" providerId="AD" clId="Web-{64793E3C-0A38-9E15-7FA9-07A37E936C60}" dt="2021-08-31T14:09:10.560" v="851" actId="1076"/>
          <ac:spMkLst>
            <pc:docMk/>
            <pc:sldMk cId="873209776" sldId="512"/>
            <ac:spMk id="40" creationId="{77A64F96-B7B6-43F5-A9B8-0F976A7E0413}"/>
          </ac:spMkLst>
        </pc:spChg>
        <pc:spChg chg="add mod">
          <ac:chgData name="Oliva Morales, Marcos" userId="S::moliva@minsait.com::d33b55de-3591-42c6-80e2-618a885f9dea" providerId="AD" clId="Web-{64793E3C-0A38-9E15-7FA9-07A37E936C60}" dt="2021-08-31T13:59:10.092" v="780" actId="1076"/>
          <ac:spMkLst>
            <pc:docMk/>
            <pc:sldMk cId="873209776" sldId="512"/>
            <ac:spMk id="41" creationId="{DD30E2FC-9A06-4E9E-A866-76F22435A5C9}"/>
          </ac:spMkLst>
        </pc:spChg>
        <pc:spChg chg="del mod">
          <ac:chgData name="Oliva Morales, Marcos" userId="S::moliva@minsait.com::d33b55de-3591-42c6-80e2-618a885f9dea" providerId="AD" clId="Web-{64793E3C-0A38-9E15-7FA9-07A37E936C60}" dt="2021-08-31T13:27:10.373" v="511"/>
          <ac:spMkLst>
            <pc:docMk/>
            <pc:sldMk cId="873209776" sldId="512"/>
            <ac:spMk id="42" creationId="{00000000-0000-0000-0000-000000000000}"/>
          </ac:spMkLst>
        </pc:spChg>
        <pc:spChg chg="del">
          <ac:chgData name="Oliva Morales, Marcos" userId="S::moliva@minsait.com::d33b55de-3591-42c6-80e2-618a885f9dea" providerId="AD" clId="Web-{64793E3C-0A38-9E15-7FA9-07A37E936C60}" dt="2021-08-31T13:27:07.045" v="509"/>
          <ac:spMkLst>
            <pc:docMk/>
            <pc:sldMk cId="873209776" sldId="512"/>
            <ac:spMk id="43" creationId="{00000000-0000-0000-0000-000000000000}"/>
          </ac:spMkLst>
        </pc:spChg>
        <pc:spChg chg="add mod">
          <ac:chgData name="Oliva Morales, Marcos" userId="S::moliva@minsait.com::d33b55de-3591-42c6-80e2-618a885f9dea" providerId="AD" clId="Web-{64793E3C-0A38-9E15-7FA9-07A37E936C60}" dt="2021-08-31T14:09:25.514" v="852" actId="1076"/>
          <ac:spMkLst>
            <pc:docMk/>
            <pc:sldMk cId="873209776" sldId="512"/>
            <ac:spMk id="44" creationId="{0475C496-09E2-480E-B0A5-03A12BC3C5DF}"/>
          </ac:spMkLst>
        </pc:spChg>
        <pc:spChg chg="mod">
          <ac:chgData name="Oliva Morales, Marcos" userId="S::moliva@minsait.com::d33b55de-3591-42c6-80e2-618a885f9dea" providerId="AD" clId="Web-{64793E3C-0A38-9E15-7FA9-07A37E936C60}" dt="2021-08-31T14:31:40.109" v="1070" actId="20577"/>
          <ac:spMkLst>
            <pc:docMk/>
            <pc:sldMk cId="873209776" sldId="512"/>
            <ac:spMk id="97" creationId="{00000000-0000-0000-0000-000000000000}"/>
          </ac:spMkLst>
        </pc:spChg>
        <pc:spChg chg="mod">
          <ac:chgData name="Oliva Morales, Marcos" userId="S::moliva@minsait.com::d33b55de-3591-42c6-80e2-618a885f9dea" providerId="AD" clId="Web-{64793E3C-0A38-9E15-7FA9-07A37E936C60}" dt="2021-08-31T14:34:31.942" v="1103" actId="1076"/>
          <ac:spMkLst>
            <pc:docMk/>
            <pc:sldMk cId="873209776" sldId="512"/>
            <ac:spMk id="102" creationId="{00000000-0000-0000-0000-000000000000}"/>
          </ac:spMkLst>
        </pc:spChg>
        <pc:spChg chg="mod">
          <ac:chgData name="Oliva Morales, Marcos" userId="S::moliva@minsait.com::d33b55de-3591-42c6-80e2-618a885f9dea" providerId="AD" clId="Web-{64793E3C-0A38-9E15-7FA9-07A37E936C60}" dt="2021-08-31T14:34:43.895" v="1104" actId="1076"/>
          <ac:spMkLst>
            <pc:docMk/>
            <pc:sldMk cId="873209776" sldId="512"/>
            <ac:spMk id="103" creationId="{00000000-0000-0000-0000-000000000000}"/>
          </ac:spMkLst>
        </pc:spChg>
        <pc:spChg chg="mod">
          <ac:chgData name="Oliva Morales, Marcos" userId="S::moliva@minsait.com::d33b55de-3591-42c6-80e2-618a885f9dea" providerId="AD" clId="Web-{64793E3C-0A38-9E15-7FA9-07A37E936C60}" dt="2021-08-31T12:53:46.823" v="4" actId="20577"/>
          <ac:spMkLst>
            <pc:docMk/>
            <pc:sldMk cId="873209776" sldId="512"/>
            <ac:spMk id="105" creationId="{00000000-0000-0000-0000-000000000000}"/>
          </ac:spMkLst>
        </pc:spChg>
        <pc:spChg chg="mod">
          <ac:chgData name="Oliva Morales, Marcos" userId="S::moliva@minsait.com::d33b55de-3591-42c6-80e2-618a885f9dea" providerId="AD" clId="Web-{64793E3C-0A38-9E15-7FA9-07A37E936C60}" dt="2021-08-31T14:34:22.223" v="1101" actId="1076"/>
          <ac:spMkLst>
            <pc:docMk/>
            <pc:sldMk cId="873209776" sldId="512"/>
            <ac:spMk id="109" creationId="{00000000-0000-0000-0000-000000000000}"/>
          </ac:spMkLst>
        </pc:spChg>
        <pc:spChg chg="mod">
          <ac:chgData name="Oliva Morales, Marcos" userId="S::moliva@minsait.com::d33b55de-3591-42c6-80e2-618a885f9dea" providerId="AD" clId="Web-{64793E3C-0A38-9E15-7FA9-07A37E936C60}" dt="2021-08-31T14:34:27.098" v="1102" actId="1076"/>
          <ac:spMkLst>
            <pc:docMk/>
            <pc:sldMk cId="873209776" sldId="512"/>
            <ac:spMk id="110" creationId="{00000000-0000-0000-0000-000000000000}"/>
          </ac:spMkLst>
        </pc:spChg>
        <pc:spChg chg="mod">
          <ac:chgData name="Oliva Morales, Marcos" userId="S::moliva@minsait.com::d33b55de-3591-42c6-80e2-618a885f9dea" providerId="AD" clId="Web-{64793E3C-0A38-9E15-7FA9-07A37E936C60}" dt="2021-08-31T14:33:49.612" v="1092" actId="1076"/>
          <ac:spMkLst>
            <pc:docMk/>
            <pc:sldMk cId="873209776" sldId="512"/>
            <ac:spMk id="111" creationId="{00000000-0000-0000-0000-000000000000}"/>
          </ac:spMkLst>
        </pc:spChg>
        <pc:spChg chg="mod">
          <ac:chgData name="Oliva Morales, Marcos" userId="S::moliva@minsait.com::d33b55de-3591-42c6-80e2-618a885f9dea" providerId="AD" clId="Web-{64793E3C-0A38-9E15-7FA9-07A37E936C60}" dt="2021-08-31T14:33:35.753" v="1086" actId="1076"/>
          <ac:spMkLst>
            <pc:docMk/>
            <pc:sldMk cId="873209776" sldId="512"/>
            <ac:spMk id="112" creationId="{00000000-0000-0000-0000-000000000000}"/>
          </ac:spMkLst>
        </pc:spChg>
        <pc:spChg chg="mod">
          <ac:chgData name="Oliva Morales, Marcos" userId="S::moliva@minsait.com::d33b55de-3591-42c6-80e2-618a885f9dea" providerId="AD" clId="Web-{64793E3C-0A38-9E15-7FA9-07A37E936C60}" dt="2021-08-31T14:33:41.472" v="1088" actId="1076"/>
          <ac:spMkLst>
            <pc:docMk/>
            <pc:sldMk cId="873209776" sldId="512"/>
            <ac:spMk id="113" creationId="{00000000-0000-0000-0000-000000000000}"/>
          </ac:spMkLst>
        </pc:spChg>
        <pc:spChg chg="mod">
          <ac:chgData name="Oliva Morales, Marcos" userId="S::moliva@minsait.com::d33b55de-3591-42c6-80e2-618a885f9dea" providerId="AD" clId="Web-{64793E3C-0A38-9E15-7FA9-07A37E936C60}" dt="2021-08-31T14:33:42.565" v="1089" actId="1076"/>
          <ac:spMkLst>
            <pc:docMk/>
            <pc:sldMk cId="873209776" sldId="512"/>
            <ac:spMk id="114" creationId="{00000000-0000-0000-0000-000000000000}"/>
          </ac:spMkLst>
        </pc:spChg>
        <pc:spChg chg="mod">
          <ac:chgData name="Oliva Morales, Marcos" userId="S::moliva@minsait.com::d33b55de-3591-42c6-80e2-618a885f9dea" providerId="AD" clId="Web-{64793E3C-0A38-9E15-7FA9-07A37E936C60}" dt="2021-08-31T14:33:46.706" v="1091" actId="1076"/>
          <ac:spMkLst>
            <pc:docMk/>
            <pc:sldMk cId="873209776" sldId="512"/>
            <ac:spMk id="117" creationId="{00000000-0000-0000-0000-000000000000}"/>
          </ac:spMkLst>
        </pc:spChg>
      </pc:sldChg>
    </pc:docChg>
  </pc:docChgLst>
  <pc:docChgLst>
    <pc:chgData name="Reina Valera, Iban" userId="S::ireina@minsait.com::8529e070-f455-420a-85f1-5757ba6f13d6" providerId="AD" clId="Web-{1675CD47-7DA1-4EFF-8445-849F3C3663D8}"/>
    <pc:docChg chg="modSld">
      <pc:chgData name="Reina Valera, Iban" userId="S::ireina@minsait.com::8529e070-f455-420a-85f1-5757ba6f13d6" providerId="AD" clId="Web-{1675CD47-7DA1-4EFF-8445-849F3C3663D8}" dt="2021-06-21T10:50:54.797" v="223" actId="20577"/>
      <pc:docMkLst>
        <pc:docMk/>
      </pc:docMkLst>
      <pc:sldChg chg="modSp">
        <pc:chgData name="Reina Valera, Iban" userId="S::ireina@minsait.com::8529e070-f455-420a-85f1-5757ba6f13d6" providerId="AD" clId="Web-{1675CD47-7DA1-4EFF-8445-849F3C3663D8}" dt="2021-06-21T10:50:54.797" v="223" actId="20577"/>
        <pc:sldMkLst>
          <pc:docMk/>
          <pc:sldMk cId="1722788415" sldId="494"/>
        </pc:sldMkLst>
        <pc:spChg chg="mod">
          <ac:chgData name="Reina Valera, Iban" userId="S::ireina@minsait.com::8529e070-f455-420a-85f1-5757ba6f13d6" providerId="AD" clId="Web-{1675CD47-7DA1-4EFF-8445-849F3C3663D8}" dt="2021-06-21T10:33:46.508" v="1" actId="1076"/>
          <ac:spMkLst>
            <pc:docMk/>
            <pc:sldMk cId="1722788415" sldId="494"/>
            <ac:spMk id="37" creationId="{00000000-0000-0000-0000-000000000000}"/>
          </ac:spMkLst>
        </pc:spChg>
        <pc:spChg chg="mod">
          <ac:chgData name="Reina Valera, Iban" userId="S::ireina@minsait.com::8529e070-f455-420a-85f1-5757ba6f13d6" providerId="AD" clId="Web-{1675CD47-7DA1-4EFF-8445-849F3C3663D8}" dt="2021-06-21T10:35:50.261" v="23" actId="1076"/>
          <ac:spMkLst>
            <pc:docMk/>
            <pc:sldMk cId="1722788415" sldId="494"/>
            <ac:spMk id="96" creationId="{00000000-0000-0000-0000-000000000000}"/>
          </ac:spMkLst>
        </pc:spChg>
        <pc:spChg chg="mod">
          <ac:chgData name="Reina Valera, Iban" userId="S::ireina@minsait.com::8529e070-f455-420a-85f1-5757ba6f13d6" providerId="AD" clId="Web-{1675CD47-7DA1-4EFF-8445-849F3C3663D8}" dt="2021-06-21T10:33:50.086" v="2" actId="20577"/>
          <ac:spMkLst>
            <pc:docMk/>
            <pc:sldMk cId="1722788415" sldId="494"/>
            <ac:spMk id="105" creationId="{00000000-0000-0000-0000-000000000000}"/>
          </ac:spMkLst>
        </pc:spChg>
        <pc:spChg chg="mod">
          <ac:chgData name="Reina Valera, Iban" userId="S::ireina@minsait.com::8529e070-f455-420a-85f1-5757ba6f13d6" providerId="AD" clId="Web-{1675CD47-7DA1-4EFF-8445-849F3C3663D8}" dt="2021-06-21T10:50:54.797" v="223" actId="20577"/>
          <ac:spMkLst>
            <pc:docMk/>
            <pc:sldMk cId="1722788415" sldId="494"/>
            <ac:spMk id="110" creationId="{00000000-0000-0000-0000-000000000000}"/>
          </ac:spMkLst>
        </pc:spChg>
        <pc:spChg chg="mod">
          <ac:chgData name="Reina Valera, Iban" userId="S::ireina@minsait.com::8529e070-f455-420a-85f1-5757ba6f13d6" providerId="AD" clId="Web-{1675CD47-7DA1-4EFF-8445-849F3C3663D8}" dt="2021-06-21T10:47:29.855" v="170" actId="20577"/>
          <ac:spMkLst>
            <pc:docMk/>
            <pc:sldMk cId="1722788415" sldId="494"/>
            <ac:spMk id="111" creationId="{00000000-0000-0000-0000-000000000000}"/>
          </ac:spMkLst>
        </pc:spChg>
        <pc:spChg chg="mod">
          <ac:chgData name="Reina Valera, Iban" userId="S::ireina@minsait.com::8529e070-f455-420a-85f1-5757ba6f13d6" providerId="AD" clId="Web-{1675CD47-7DA1-4EFF-8445-849F3C3663D8}" dt="2021-06-21T10:40:37.174" v="44" actId="20577"/>
          <ac:spMkLst>
            <pc:docMk/>
            <pc:sldMk cId="1722788415" sldId="494"/>
            <ac:spMk id="112" creationId="{00000000-0000-0000-0000-000000000000}"/>
          </ac:spMkLst>
        </pc:spChg>
        <pc:spChg chg="mod">
          <ac:chgData name="Reina Valera, Iban" userId="S::ireina@minsait.com::8529e070-f455-420a-85f1-5757ba6f13d6" providerId="AD" clId="Web-{1675CD47-7DA1-4EFF-8445-849F3C3663D8}" dt="2021-06-21T10:37:08.185" v="35" actId="20577"/>
          <ac:spMkLst>
            <pc:docMk/>
            <pc:sldMk cId="1722788415" sldId="494"/>
            <ac:spMk id="113" creationId="{00000000-0000-0000-0000-000000000000}"/>
          </ac:spMkLst>
        </pc:spChg>
        <pc:spChg chg="mod">
          <ac:chgData name="Reina Valera, Iban" userId="S::ireina@minsait.com::8529e070-f455-420a-85f1-5757ba6f13d6" providerId="AD" clId="Web-{1675CD47-7DA1-4EFF-8445-849F3C3663D8}" dt="2021-06-21T10:37:33.310" v="38" actId="20577"/>
          <ac:spMkLst>
            <pc:docMk/>
            <pc:sldMk cId="1722788415" sldId="494"/>
            <ac:spMk id="114" creationId="{00000000-0000-0000-0000-000000000000}"/>
          </ac:spMkLst>
        </pc:spChg>
        <pc:spChg chg="mod">
          <ac:chgData name="Reina Valera, Iban" userId="S::ireina@minsait.com::8529e070-f455-420a-85f1-5757ba6f13d6" providerId="AD" clId="Web-{1675CD47-7DA1-4EFF-8445-849F3C3663D8}" dt="2021-06-21T10:40:41.018" v="45" actId="20577"/>
          <ac:spMkLst>
            <pc:docMk/>
            <pc:sldMk cId="1722788415" sldId="494"/>
            <ac:spMk id="117" creationId="{00000000-0000-0000-0000-000000000000}"/>
          </ac:spMkLst>
        </pc:spChg>
      </pc:sldChg>
    </pc:docChg>
  </pc:docChgLst>
  <pc:docChgLst>
    <pc:chgData name="Mars Pérez, Aitor" userId="7b0ecb47-5eaa-4a8a-afb8-eceef1ae9a93" providerId="ADAL" clId="{A7534C99-A9C4-4D1E-A3C0-12DE44354B1C}"/>
    <pc:docChg chg="undo custSel addSld delSld modSld">
      <pc:chgData name="Mars Pérez, Aitor" userId="7b0ecb47-5eaa-4a8a-afb8-eceef1ae9a93" providerId="ADAL" clId="{A7534C99-A9C4-4D1E-A3C0-12DE44354B1C}" dt="2021-01-22T14:03:59" v="293" actId="2696"/>
      <pc:docMkLst>
        <pc:docMk/>
      </pc:docMkLst>
      <pc:sldChg chg="del">
        <pc:chgData name="Mars Pérez, Aitor" userId="7b0ecb47-5eaa-4a8a-afb8-eceef1ae9a93" providerId="ADAL" clId="{A7534C99-A9C4-4D1E-A3C0-12DE44354B1C}" dt="2021-01-22T14:03:59" v="293" actId="2696"/>
        <pc:sldMkLst>
          <pc:docMk/>
          <pc:sldMk cId="2863914635" sldId="465"/>
        </pc:sldMkLst>
      </pc:sldChg>
      <pc:sldChg chg="modSp">
        <pc:chgData name="Mars Pérez, Aitor" userId="7b0ecb47-5eaa-4a8a-afb8-eceef1ae9a93" providerId="ADAL" clId="{A7534C99-A9C4-4D1E-A3C0-12DE44354B1C}" dt="2021-01-22T13:46:05.722" v="82" actId="122"/>
        <pc:sldMkLst>
          <pc:docMk/>
          <pc:sldMk cId="2337751379" sldId="466"/>
        </pc:sldMkLst>
        <pc:spChg chg="mod">
          <ac:chgData name="Mars Pérez, Aitor" userId="7b0ecb47-5eaa-4a8a-afb8-eceef1ae9a93" providerId="ADAL" clId="{A7534C99-A9C4-4D1E-A3C0-12DE44354B1C}" dt="2021-01-22T13:46:05.722" v="82" actId="122"/>
          <ac:spMkLst>
            <pc:docMk/>
            <pc:sldMk cId="2337751379" sldId="466"/>
            <ac:spMk id="40" creationId="{2671AB7D-9A8C-BF47-AEB3-28A9D0EE694D}"/>
          </ac:spMkLst>
        </pc:spChg>
      </pc:sldChg>
      <pc:sldChg chg="addSp delSp modSp add">
        <pc:chgData name="Mars Pérez, Aitor" userId="7b0ecb47-5eaa-4a8a-afb8-eceef1ae9a93" providerId="ADAL" clId="{A7534C99-A9C4-4D1E-A3C0-12DE44354B1C}" dt="2021-01-22T13:58:12.095" v="292" actId="20577"/>
        <pc:sldMkLst>
          <pc:docMk/>
          <pc:sldMk cId="1492719788" sldId="468"/>
        </pc:sldMkLst>
        <pc:spChg chg="add mod">
          <ac:chgData name="Mars Pérez, Aitor" userId="7b0ecb47-5eaa-4a8a-afb8-eceef1ae9a93" providerId="ADAL" clId="{A7534C99-A9C4-4D1E-A3C0-12DE44354B1C}" dt="2021-01-22T13:50:16.922" v="142" actId="114"/>
          <ac:spMkLst>
            <pc:docMk/>
            <pc:sldMk cId="1492719788" sldId="468"/>
            <ac:spMk id="25" creationId="{77035A87-CCB3-4316-8E5F-20347EB55580}"/>
          </ac:spMkLst>
        </pc:spChg>
        <pc:spChg chg="add mod">
          <ac:chgData name="Mars Pérez, Aitor" userId="7b0ecb47-5eaa-4a8a-afb8-eceef1ae9a93" providerId="ADAL" clId="{A7534C99-A9C4-4D1E-A3C0-12DE44354B1C}" dt="2021-01-22T13:46:16.276" v="84" actId="108"/>
          <ac:spMkLst>
            <pc:docMk/>
            <pc:sldMk cId="1492719788" sldId="468"/>
            <ac:spMk id="26" creationId="{F0A6CD66-212C-4E9F-BA7F-98669CF4771D}"/>
          </ac:spMkLst>
        </pc:spChg>
        <pc:spChg chg="mod">
          <ac:chgData name="Mars Pérez, Aitor" userId="7b0ecb47-5eaa-4a8a-afb8-eceef1ae9a93" providerId="ADAL" clId="{A7534C99-A9C4-4D1E-A3C0-12DE44354B1C}" dt="2021-01-22T13:41:43.925" v="17" actId="20577"/>
          <ac:spMkLst>
            <pc:docMk/>
            <pc:sldMk cId="1492719788" sldId="468"/>
            <ac:spMk id="31" creationId="{0F4E0202-A252-624B-BDF1-C6AE5E8A25DE}"/>
          </ac:spMkLst>
        </pc:spChg>
        <pc:spChg chg="mod">
          <ac:chgData name="Mars Pérez, Aitor" userId="7b0ecb47-5eaa-4a8a-afb8-eceef1ae9a93" providerId="ADAL" clId="{A7534C99-A9C4-4D1E-A3C0-12DE44354B1C}" dt="2021-01-22T13:42:19.114" v="25" actId="6549"/>
          <ac:spMkLst>
            <pc:docMk/>
            <pc:sldMk cId="1492719788" sldId="468"/>
            <ac:spMk id="37" creationId="{E4530058-C2FA-384F-825E-F61EC4296641}"/>
          </ac:spMkLst>
        </pc:spChg>
        <pc:spChg chg="mod">
          <ac:chgData name="Mars Pérez, Aitor" userId="7b0ecb47-5eaa-4a8a-afb8-eceef1ae9a93" providerId="ADAL" clId="{A7534C99-A9C4-4D1E-A3C0-12DE44354B1C}" dt="2021-01-22T13:51:30.319" v="154" actId="1076"/>
          <ac:spMkLst>
            <pc:docMk/>
            <pc:sldMk cId="1492719788" sldId="468"/>
            <ac:spMk id="38" creationId="{920CDAA3-74D2-6940-8900-4AABDD5BE40B}"/>
          </ac:spMkLst>
        </pc:spChg>
        <pc:spChg chg="mod">
          <ac:chgData name="Mars Pérez, Aitor" userId="7b0ecb47-5eaa-4a8a-afb8-eceef1ae9a93" providerId="ADAL" clId="{A7534C99-A9C4-4D1E-A3C0-12DE44354B1C}" dt="2021-01-22T13:46:12.595" v="83" actId="108"/>
          <ac:spMkLst>
            <pc:docMk/>
            <pc:sldMk cId="1492719788" sldId="468"/>
            <ac:spMk id="40" creationId="{2671AB7D-9A8C-BF47-AEB3-28A9D0EE694D}"/>
          </ac:spMkLst>
        </pc:spChg>
        <pc:spChg chg="mod">
          <ac:chgData name="Mars Pérez, Aitor" userId="7b0ecb47-5eaa-4a8a-afb8-eceef1ae9a93" providerId="ADAL" clId="{A7534C99-A9C4-4D1E-A3C0-12DE44354B1C}" dt="2021-01-22T13:56:02.889" v="285"/>
          <ac:spMkLst>
            <pc:docMk/>
            <pc:sldMk cId="1492719788" sldId="468"/>
            <ac:spMk id="45" creationId="{1813E8C3-18D9-0B4B-8FCA-406B39785552}"/>
          </ac:spMkLst>
        </pc:spChg>
        <pc:spChg chg="del mod">
          <ac:chgData name="Mars Pérez, Aitor" userId="7b0ecb47-5eaa-4a8a-afb8-eceef1ae9a93" providerId="ADAL" clId="{A7534C99-A9C4-4D1E-A3C0-12DE44354B1C}" dt="2021-01-22T13:47:25.682" v="100" actId="478"/>
          <ac:spMkLst>
            <pc:docMk/>
            <pc:sldMk cId="1492719788" sldId="468"/>
            <ac:spMk id="46" creationId="{89221374-508B-FF4A-9DFB-601E8041A74B}"/>
          </ac:spMkLst>
        </pc:spChg>
        <pc:spChg chg="del">
          <ac:chgData name="Mars Pérez, Aitor" userId="7b0ecb47-5eaa-4a8a-afb8-eceef1ae9a93" providerId="ADAL" clId="{A7534C99-A9C4-4D1E-A3C0-12DE44354B1C}" dt="2021-01-22T13:47:27.706" v="101" actId="478"/>
          <ac:spMkLst>
            <pc:docMk/>
            <pc:sldMk cId="1492719788" sldId="468"/>
            <ac:spMk id="47" creationId="{89221374-508B-FF4A-9DFB-601E8041A74B}"/>
          </ac:spMkLst>
        </pc:spChg>
        <pc:spChg chg="del mod">
          <ac:chgData name="Mars Pérez, Aitor" userId="7b0ecb47-5eaa-4a8a-afb8-eceef1ae9a93" providerId="ADAL" clId="{A7534C99-A9C4-4D1E-A3C0-12DE44354B1C}" dt="2021-01-22T13:47:17.657" v="97" actId="478"/>
          <ac:spMkLst>
            <pc:docMk/>
            <pc:sldMk cId="1492719788" sldId="468"/>
            <ac:spMk id="49" creationId="{A669BC4B-6A50-864F-85AF-01EA17581A38}"/>
          </ac:spMkLst>
        </pc:spChg>
        <pc:spChg chg="del">
          <ac:chgData name="Mars Pérez, Aitor" userId="7b0ecb47-5eaa-4a8a-afb8-eceef1ae9a93" providerId="ADAL" clId="{A7534C99-A9C4-4D1E-A3C0-12DE44354B1C}" dt="2021-01-22T13:47:29.044" v="102" actId="478"/>
          <ac:spMkLst>
            <pc:docMk/>
            <pc:sldMk cId="1492719788" sldId="468"/>
            <ac:spMk id="50" creationId="{A669BC4B-6A50-864F-85AF-01EA17581A38}"/>
          </ac:spMkLst>
        </pc:spChg>
        <pc:spChg chg="mod">
          <ac:chgData name="Mars Pérez, Aitor" userId="7b0ecb47-5eaa-4a8a-afb8-eceef1ae9a93" providerId="ADAL" clId="{A7534C99-A9C4-4D1E-A3C0-12DE44354B1C}" dt="2021-01-22T13:51:08.629" v="150" actId="6549"/>
          <ac:spMkLst>
            <pc:docMk/>
            <pc:sldMk cId="1492719788" sldId="468"/>
            <ac:spMk id="51" creationId="{AB2E014F-704F-3649-A8CA-79AC24262337}"/>
          </ac:spMkLst>
        </pc:spChg>
        <pc:spChg chg="mod">
          <ac:chgData name="Mars Pérez, Aitor" userId="7b0ecb47-5eaa-4a8a-afb8-eceef1ae9a93" providerId="ADAL" clId="{A7534C99-A9C4-4D1E-A3C0-12DE44354B1C}" dt="2021-01-22T13:58:12.095" v="292" actId="20577"/>
          <ac:spMkLst>
            <pc:docMk/>
            <pc:sldMk cId="1492719788" sldId="468"/>
            <ac:spMk id="53" creationId="{AB2E014F-704F-3649-A8CA-79AC24262337}"/>
          </ac:spMkLst>
        </pc:spChg>
        <pc:spChg chg="mod">
          <ac:chgData name="Mars Pérez, Aitor" userId="7b0ecb47-5eaa-4a8a-afb8-eceef1ae9a93" providerId="ADAL" clId="{A7534C99-A9C4-4D1E-A3C0-12DE44354B1C}" dt="2021-01-22T13:51:35.303" v="156" actId="1076"/>
          <ac:spMkLst>
            <pc:docMk/>
            <pc:sldMk cId="1492719788" sldId="468"/>
            <ac:spMk id="55" creationId="{BF1684E3-CE8A-1E4E-B964-0132E29D63C2}"/>
          </ac:spMkLst>
        </pc:spChg>
        <pc:spChg chg="mod">
          <ac:chgData name="Mars Pérez, Aitor" userId="7b0ecb47-5eaa-4a8a-afb8-eceef1ae9a93" providerId="ADAL" clId="{A7534C99-A9C4-4D1E-A3C0-12DE44354B1C}" dt="2021-01-22T13:54:59.475" v="282" actId="108"/>
          <ac:spMkLst>
            <pc:docMk/>
            <pc:sldMk cId="1492719788" sldId="468"/>
            <ac:spMk id="56" creationId="{BE67F8B7-F4EB-B543-BD33-1314BDD2C39B}"/>
          </ac:spMkLst>
        </pc:spChg>
        <pc:spChg chg="mod">
          <ac:chgData name="Mars Pérez, Aitor" userId="7b0ecb47-5eaa-4a8a-afb8-eceef1ae9a93" providerId="ADAL" clId="{A7534C99-A9C4-4D1E-A3C0-12DE44354B1C}" dt="2021-01-22T13:50:33.383" v="145" actId="20577"/>
          <ac:spMkLst>
            <pc:docMk/>
            <pc:sldMk cId="1492719788" sldId="468"/>
            <ac:spMk id="71" creationId="{2A66A929-B846-D44F-959A-6C9F46C29E0F}"/>
          </ac:spMkLst>
        </pc:spChg>
        <pc:spChg chg="mod">
          <ac:chgData name="Mars Pérez, Aitor" userId="7b0ecb47-5eaa-4a8a-afb8-eceef1ae9a93" providerId="ADAL" clId="{A7534C99-A9C4-4D1E-A3C0-12DE44354B1C}" dt="2021-01-22T13:50:05.596" v="141" actId="20577"/>
          <ac:spMkLst>
            <pc:docMk/>
            <pc:sldMk cId="1492719788" sldId="468"/>
            <ac:spMk id="72" creationId="{561F596E-21F8-694B-836D-BD069D539A49}"/>
          </ac:spMkLst>
        </pc:spChg>
        <pc:spChg chg="mod">
          <ac:chgData name="Mars Pérez, Aitor" userId="7b0ecb47-5eaa-4a8a-afb8-eceef1ae9a93" providerId="ADAL" clId="{A7534C99-A9C4-4D1E-A3C0-12DE44354B1C}" dt="2021-01-22T13:50:37.095" v="146" actId="20577"/>
          <ac:spMkLst>
            <pc:docMk/>
            <pc:sldMk cId="1492719788" sldId="468"/>
            <ac:spMk id="73" creationId="{592FED21-684F-1C48-9233-F269DFEF0F10}"/>
          </ac:spMkLst>
        </pc:spChg>
        <pc:spChg chg="mod">
          <ac:chgData name="Mars Pérez, Aitor" userId="7b0ecb47-5eaa-4a8a-afb8-eceef1ae9a93" providerId="ADAL" clId="{A7534C99-A9C4-4D1E-A3C0-12DE44354B1C}" dt="2021-01-22T13:49:23.988" v="127" actId="20577"/>
          <ac:spMkLst>
            <pc:docMk/>
            <pc:sldMk cId="1492719788" sldId="468"/>
            <ac:spMk id="74" creationId="{7B82553E-CC55-FE4B-A11B-DE0E22DC5EE6}"/>
          </ac:spMkLst>
        </pc:spChg>
      </pc:sldChg>
      <pc:sldChg chg="modSp add del">
        <pc:chgData name="Mars Pérez, Aitor" userId="7b0ecb47-5eaa-4a8a-afb8-eceef1ae9a93" providerId="ADAL" clId="{A7534C99-A9C4-4D1E-A3C0-12DE44354B1C}" dt="2021-01-22T13:41:30.814" v="3"/>
        <pc:sldMkLst>
          <pc:docMk/>
          <pc:sldMk cId="2250376289" sldId="468"/>
        </pc:sldMkLst>
        <pc:spChg chg="mod">
          <ac:chgData name="Mars Pérez, Aitor" userId="7b0ecb47-5eaa-4a8a-afb8-eceef1ae9a93" providerId="ADAL" clId="{A7534C99-A9C4-4D1E-A3C0-12DE44354B1C}" dt="2021-01-22T13:41:29.914" v="2" actId="1076"/>
          <ac:spMkLst>
            <pc:docMk/>
            <pc:sldMk cId="2250376289" sldId="468"/>
            <ac:spMk id="31" creationId="{0F4E0202-A252-624B-BDF1-C6AE5E8A25DE}"/>
          </ac:spMkLst>
        </pc:spChg>
      </pc:sldChg>
    </pc:docChg>
  </pc:docChgLst>
  <pc:docChgLst>
    <pc:chgData name="Adell Giménez, Eva" userId="S::eadell@minsait.com::5a47fa87-dee5-431e-ab1d-871e42bd1fd9" providerId="AD" clId="Web-{8D9DAB2F-0FB2-4736-A1BC-42EC129B2464}"/>
    <pc:docChg chg="addSld delSld modSld">
      <pc:chgData name="Adell Giménez, Eva" userId="S::eadell@minsait.com::5a47fa87-dee5-431e-ab1d-871e42bd1fd9" providerId="AD" clId="Web-{8D9DAB2F-0FB2-4736-A1BC-42EC129B2464}" dt="2021-06-23T11:16:31.636" v="20" actId="20577"/>
      <pc:docMkLst>
        <pc:docMk/>
      </pc:docMkLst>
      <pc:sldChg chg="new del">
        <pc:chgData name="Adell Giménez, Eva" userId="S::eadell@minsait.com::5a47fa87-dee5-431e-ab1d-871e42bd1fd9" providerId="AD" clId="Web-{8D9DAB2F-0FB2-4736-A1BC-42EC129B2464}" dt="2021-06-23T11:16:05.275" v="2"/>
        <pc:sldMkLst>
          <pc:docMk/>
          <pc:sldMk cId="2151028321" sldId="502"/>
        </pc:sldMkLst>
      </pc:sldChg>
      <pc:sldChg chg="modSp add replId">
        <pc:chgData name="Adell Giménez, Eva" userId="S::eadell@minsait.com::5a47fa87-dee5-431e-ab1d-871e42bd1fd9" providerId="AD" clId="Web-{8D9DAB2F-0FB2-4736-A1BC-42EC129B2464}" dt="2021-06-23T11:16:31.636" v="20" actId="20577"/>
        <pc:sldMkLst>
          <pc:docMk/>
          <pc:sldMk cId="3499357355" sldId="503"/>
        </pc:sldMkLst>
        <pc:spChg chg="mod">
          <ac:chgData name="Adell Giménez, Eva" userId="S::eadell@minsait.com::5a47fa87-dee5-431e-ab1d-871e42bd1fd9" providerId="AD" clId="Web-{8D9DAB2F-0FB2-4736-A1BC-42EC129B2464}" dt="2021-06-23T11:16:31.636" v="20" actId="20577"/>
          <ac:spMkLst>
            <pc:docMk/>
            <pc:sldMk cId="3499357355" sldId="503"/>
            <ac:spMk id="26" creationId="{00000000-0000-0000-0000-000000000000}"/>
          </ac:spMkLst>
        </pc:spChg>
        <pc:spChg chg="mod">
          <ac:chgData name="Adell Giménez, Eva" userId="S::eadell@minsait.com::5a47fa87-dee5-431e-ab1d-871e42bd1fd9" providerId="AD" clId="Web-{8D9DAB2F-0FB2-4736-A1BC-42EC129B2464}" dt="2021-06-23T11:16:18.057" v="9" actId="20577"/>
          <ac:spMkLst>
            <pc:docMk/>
            <pc:sldMk cId="3499357355" sldId="503"/>
            <ac:spMk id="47" creationId="{0F4E0202-A252-624B-BDF1-C6AE5E8A25DE}"/>
          </ac:spMkLst>
        </pc:spChg>
      </pc:sldChg>
    </pc:docChg>
  </pc:docChgLst>
  <pc:docChgLst>
    <pc:chgData name="Moyano, Luis Mariano" userId="S::lmmoyano@minsait.com::be911c38-58d1-4764-ae71-9d0cda801069" providerId="AD" clId="Web-{CDB60777-8219-4A04-8E5B-3C78665B04C5}"/>
    <pc:docChg chg="addSld delSld modSld">
      <pc:chgData name="Moyano, Luis Mariano" userId="S::lmmoyano@minsait.com::be911c38-58d1-4764-ae71-9d0cda801069" providerId="AD" clId="Web-{CDB60777-8219-4A04-8E5B-3C78665B04C5}" dt="2021-06-23T06:16:04.141" v="3"/>
      <pc:docMkLst>
        <pc:docMk/>
      </pc:docMkLst>
      <pc:sldChg chg="del">
        <pc:chgData name="Moyano, Luis Mariano" userId="S::lmmoyano@minsait.com::be911c38-58d1-4764-ae71-9d0cda801069" providerId="AD" clId="Web-{CDB60777-8219-4A04-8E5B-3C78665B04C5}" dt="2021-06-23T06:14:02.076" v="0"/>
        <pc:sldMkLst>
          <pc:docMk/>
          <pc:sldMk cId="3758766595" sldId="496"/>
        </pc:sldMkLst>
      </pc:sldChg>
      <pc:sldChg chg="addSp delSp modSp">
        <pc:chgData name="Moyano, Luis Mariano" userId="S::lmmoyano@minsait.com::be911c38-58d1-4764-ae71-9d0cda801069" providerId="AD" clId="Web-{CDB60777-8219-4A04-8E5B-3C78665B04C5}" dt="2021-06-23T06:14:54.655" v="2"/>
        <pc:sldMkLst>
          <pc:docMk/>
          <pc:sldMk cId="3776912417" sldId="497"/>
        </pc:sldMkLst>
        <pc:picChg chg="add del mod">
          <ac:chgData name="Moyano, Luis Mariano" userId="S::lmmoyano@minsait.com::be911c38-58d1-4764-ae71-9d0cda801069" providerId="AD" clId="Web-{CDB60777-8219-4A04-8E5B-3C78665B04C5}" dt="2021-06-23T06:14:54.655" v="2"/>
          <ac:picMkLst>
            <pc:docMk/>
            <pc:sldMk cId="3776912417" sldId="497"/>
            <ac:picMk id="2" creationId="{02B1C5E5-BC50-4748-9AFB-A76BA25C367A}"/>
          </ac:picMkLst>
        </pc:picChg>
      </pc:sldChg>
      <pc:sldChg chg="new">
        <pc:chgData name="Moyano, Luis Mariano" userId="S::lmmoyano@minsait.com::be911c38-58d1-4764-ae71-9d0cda801069" providerId="AD" clId="Web-{CDB60777-8219-4A04-8E5B-3C78665B04C5}" dt="2021-06-23T06:16:04.141" v="3"/>
        <pc:sldMkLst>
          <pc:docMk/>
          <pc:sldMk cId="3759729070" sldId="501"/>
        </pc:sldMkLst>
      </pc:sldChg>
    </pc:docChg>
  </pc:docChgLst>
  <pc:docChgLst>
    <pc:chgData name="Reina Valera, Iban" userId="S::ireina@minsait.com::8529e070-f455-420a-85f1-5757ba6f13d6" providerId="AD" clId="Web-{08DB1DA8-8AC3-4352-B95D-C33DF1B2729A}"/>
    <pc:docChg chg="modSld">
      <pc:chgData name="Reina Valera, Iban" userId="S::ireina@minsait.com::8529e070-f455-420a-85f1-5757ba6f13d6" providerId="AD" clId="Web-{08DB1DA8-8AC3-4352-B95D-C33DF1B2729A}" dt="2021-06-21T11:37:13.030" v="668" actId="20577"/>
      <pc:docMkLst>
        <pc:docMk/>
      </pc:docMkLst>
      <pc:sldChg chg="delSp modSp">
        <pc:chgData name="Reina Valera, Iban" userId="S::ireina@minsait.com::8529e070-f455-420a-85f1-5757ba6f13d6" providerId="AD" clId="Web-{08DB1DA8-8AC3-4352-B95D-C33DF1B2729A}" dt="2021-06-21T11:37:13.030" v="668" actId="20577"/>
        <pc:sldMkLst>
          <pc:docMk/>
          <pc:sldMk cId="1722788415" sldId="494"/>
        </pc:sldMkLst>
        <pc:spChg chg="del mod">
          <ac:chgData name="Reina Valera, Iban" userId="S::ireina@minsait.com::8529e070-f455-420a-85f1-5757ba6f13d6" providerId="AD" clId="Web-{08DB1DA8-8AC3-4352-B95D-C33DF1B2729A}" dt="2021-06-21T11:14:46.970" v="131"/>
          <ac:spMkLst>
            <pc:docMk/>
            <pc:sldMk cId="1722788415" sldId="494"/>
            <ac:spMk id="26" creationId="{00000000-0000-0000-0000-000000000000}"/>
          </ac:spMkLst>
        </pc:spChg>
        <pc:spChg chg="mod">
          <ac:chgData name="Reina Valera, Iban" userId="S::ireina@minsait.com::8529e070-f455-420a-85f1-5757ba6f13d6" providerId="AD" clId="Web-{08DB1DA8-8AC3-4352-B95D-C33DF1B2729A}" dt="2021-06-21T11:37:13.030" v="668" actId="20577"/>
          <ac:spMkLst>
            <pc:docMk/>
            <pc:sldMk cId="1722788415" sldId="494"/>
            <ac:spMk id="27" creationId="{00000000-0000-0000-0000-000000000000}"/>
          </ac:spMkLst>
        </pc:spChg>
        <pc:spChg chg="mod">
          <ac:chgData name="Reina Valera, Iban" userId="S::ireina@minsait.com::8529e070-f455-420a-85f1-5757ba6f13d6" providerId="AD" clId="Web-{08DB1DA8-8AC3-4352-B95D-C33DF1B2729A}" dt="2021-06-21T11:31:09.491" v="433" actId="1076"/>
          <ac:spMkLst>
            <pc:docMk/>
            <pc:sldMk cId="1722788415" sldId="494"/>
            <ac:spMk id="32" creationId="{00000000-0000-0000-0000-000000000000}"/>
          </ac:spMkLst>
        </pc:spChg>
        <pc:spChg chg="mod">
          <ac:chgData name="Reina Valera, Iban" userId="S::ireina@minsait.com::8529e070-f455-420a-85f1-5757ba6f13d6" providerId="AD" clId="Web-{08DB1DA8-8AC3-4352-B95D-C33DF1B2729A}" dt="2021-06-21T11:31:14.101" v="435" actId="1076"/>
          <ac:spMkLst>
            <pc:docMk/>
            <pc:sldMk cId="1722788415" sldId="494"/>
            <ac:spMk id="42" creationId="{00000000-0000-0000-0000-000000000000}"/>
          </ac:spMkLst>
        </pc:spChg>
        <pc:spChg chg="mod">
          <ac:chgData name="Reina Valera, Iban" userId="S::ireina@minsait.com::8529e070-f455-420a-85f1-5757ba6f13d6" providerId="AD" clId="Web-{08DB1DA8-8AC3-4352-B95D-C33DF1B2729A}" dt="2021-06-21T11:31:18.601" v="437" actId="1076"/>
          <ac:spMkLst>
            <pc:docMk/>
            <pc:sldMk cId="1722788415" sldId="494"/>
            <ac:spMk id="43" creationId="{00000000-0000-0000-0000-000000000000}"/>
          </ac:spMkLst>
        </pc:spChg>
        <pc:spChg chg="mod">
          <ac:chgData name="Reina Valera, Iban" userId="S::ireina@minsait.com::8529e070-f455-420a-85f1-5757ba6f13d6" providerId="AD" clId="Web-{08DB1DA8-8AC3-4352-B95D-C33DF1B2729A}" dt="2021-06-21T11:34:54.293" v="507" actId="20577"/>
          <ac:spMkLst>
            <pc:docMk/>
            <pc:sldMk cId="1722788415" sldId="494"/>
            <ac:spMk id="97" creationId="{00000000-0000-0000-0000-000000000000}"/>
          </ac:spMkLst>
        </pc:spChg>
        <pc:spChg chg="mod">
          <ac:chgData name="Reina Valera, Iban" userId="S::ireina@minsait.com::8529e070-f455-420a-85f1-5757ba6f13d6" providerId="AD" clId="Web-{08DB1DA8-8AC3-4352-B95D-C33DF1B2729A}" dt="2021-06-21T11:12:43.702" v="109" actId="20577"/>
          <ac:spMkLst>
            <pc:docMk/>
            <pc:sldMk cId="1722788415" sldId="494"/>
            <ac:spMk id="102" creationId="{00000000-0000-0000-0000-000000000000}"/>
          </ac:spMkLst>
        </pc:spChg>
        <pc:spChg chg="mod">
          <ac:chgData name="Reina Valera, Iban" userId="S::ireina@minsait.com::8529e070-f455-420a-85f1-5757ba6f13d6" providerId="AD" clId="Web-{08DB1DA8-8AC3-4352-B95D-C33DF1B2729A}" dt="2021-06-21T11:13:00.046" v="113" actId="20577"/>
          <ac:spMkLst>
            <pc:docMk/>
            <pc:sldMk cId="1722788415" sldId="494"/>
            <ac:spMk id="103" creationId="{00000000-0000-0000-0000-000000000000}"/>
          </ac:spMkLst>
        </pc:spChg>
        <pc:spChg chg="mod">
          <ac:chgData name="Reina Valera, Iban" userId="S::ireina@minsait.com::8529e070-f455-420a-85f1-5757ba6f13d6" providerId="AD" clId="Web-{08DB1DA8-8AC3-4352-B95D-C33DF1B2729A}" dt="2021-06-21T11:24:22.373" v="218" actId="14100"/>
          <ac:spMkLst>
            <pc:docMk/>
            <pc:sldMk cId="1722788415" sldId="494"/>
            <ac:spMk id="105" creationId="{00000000-0000-0000-0000-000000000000}"/>
          </ac:spMkLst>
        </pc:spChg>
        <pc:spChg chg="mod">
          <ac:chgData name="Reina Valera, Iban" userId="S::ireina@minsait.com::8529e070-f455-420a-85f1-5757ba6f13d6" providerId="AD" clId="Web-{08DB1DA8-8AC3-4352-B95D-C33DF1B2729A}" dt="2021-06-21T11:12:36.311" v="107" actId="20577"/>
          <ac:spMkLst>
            <pc:docMk/>
            <pc:sldMk cId="1722788415" sldId="494"/>
            <ac:spMk id="109" creationId="{00000000-0000-0000-0000-000000000000}"/>
          </ac:spMkLst>
        </pc:spChg>
        <pc:spChg chg="mod">
          <ac:chgData name="Reina Valera, Iban" userId="S::ireina@minsait.com::8529e070-f455-420a-85f1-5757ba6f13d6" providerId="AD" clId="Web-{08DB1DA8-8AC3-4352-B95D-C33DF1B2729A}" dt="2021-06-21T11:22:30.324" v="182" actId="20577"/>
          <ac:spMkLst>
            <pc:docMk/>
            <pc:sldMk cId="1722788415" sldId="494"/>
            <ac:spMk id="110" creationId="{00000000-0000-0000-0000-000000000000}"/>
          </ac:spMkLst>
        </pc:spChg>
      </pc:sldChg>
    </pc:docChg>
  </pc:docChgLst>
  <pc:docChgLst>
    <pc:chgData name="Garcia Carballo, Alejandro" userId="S::agcarballo@minsait.com::4a3f749f-5d59-4065-9fba-1f02cd317a79" providerId="AD" clId="Web-{25033DEC-E68B-4196-98CB-66B6BD8B0C77}"/>
    <pc:docChg chg="addSld modSld sldOrd">
      <pc:chgData name="Garcia Carballo, Alejandro" userId="S::agcarballo@minsait.com::4a3f749f-5d59-4065-9fba-1f02cd317a79" providerId="AD" clId="Web-{25033DEC-E68B-4196-98CB-66B6BD8B0C77}" dt="2021-09-14T08:42:44.418" v="135" actId="20577"/>
      <pc:docMkLst>
        <pc:docMk/>
      </pc:docMkLst>
      <pc:sldChg chg="modSp add ord replId">
        <pc:chgData name="Garcia Carballo, Alejandro" userId="S::agcarballo@minsait.com::4a3f749f-5d59-4065-9fba-1f02cd317a79" providerId="AD" clId="Web-{25033DEC-E68B-4196-98CB-66B6BD8B0C77}" dt="2021-09-14T08:42:44.418" v="135" actId="20577"/>
        <pc:sldMkLst>
          <pc:docMk/>
          <pc:sldMk cId="4065079500" sldId="516"/>
        </pc:sldMkLst>
        <pc:spChg chg="mod">
          <ac:chgData name="Garcia Carballo, Alejandro" userId="S::agcarballo@minsait.com::4a3f749f-5d59-4065-9fba-1f02cd317a79" providerId="AD" clId="Web-{25033DEC-E68B-4196-98CB-66B6BD8B0C77}" dt="2021-09-14T08:37:37.598" v="76" actId="20577"/>
          <ac:spMkLst>
            <pc:docMk/>
            <pc:sldMk cId="4065079500" sldId="516"/>
            <ac:spMk id="27" creationId="{00000000-0000-0000-0000-000000000000}"/>
          </ac:spMkLst>
        </pc:spChg>
        <pc:spChg chg="mod">
          <ac:chgData name="Garcia Carballo, Alejandro" userId="S::agcarballo@minsait.com::4a3f749f-5d59-4065-9fba-1f02cd317a79" providerId="AD" clId="Web-{25033DEC-E68B-4196-98CB-66B6BD8B0C77}" dt="2021-09-14T08:38:51.365" v="85" actId="20577"/>
          <ac:spMkLst>
            <pc:docMk/>
            <pc:sldMk cId="4065079500" sldId="516"/>
            <ac:spMk id="28" creationId="{00000000-0000-0000-0000-000000000000}"/>
          </ac:spMkLst>
        </pc:spChg>
        <pc:spChg chg="mod">
          <ac:chgData name="Garcia Carballo, Alejandro" userId="S::agcarballo@minsait.com::4a3f749f-5d59-4065-9fba-1f02cd317a79" providerId="AD" clId="Web-{25033DEC-E68B-4196-98CB-66B6BD8B0C77}" dt="2021-09-14T08:42:44.418" v="135" actId="20577"/>
          <ac:spMkLst>
            <pc:docMk/>
            <pc:sldMk cId="4065079500" sldId="516"/>
            <ac:spMk id="29" creationId="{00000000-0000-0000-0000-000000000000}"/>
          </ac:spMkLst>
        </pc:spChg>
        <pc:spChg chg="mod">
          <ac:chgData name="Garcia Carballo, Alejandro" userId="S::agcarballo@minsait.com::4a3f749f-5d59-4065-9fba-1f02cd317a79" providerId="AD" clId="Web-{25033DEC-E68B-4196-98CB-66B6BD8B0C77}" dt="2021-09-14T08:39:19.413" v="99" actId="20577"/>
          <ac:spMkLst>
            <pc:docMk/>
            <pc:sldMk cId="4065079500" sldId="516"/>
            <ac:spMk id="30" creationId="{4B60B62C-9F5C-4DD4-A50A-AED324B29FE1}"/>
          </ac:spMkLst>
        </pc:spChg>
        <pc:spChg chg="mod">
          <ac:chgData name="Garcia Carballo, Alejandro" userId="S::agcarballo@minsait.com::4a3f749f-5d59-4065-9fba-1f02cd317a79" providerId="AD" clId="Web-{25033DEC-E68B-4196-98CB-66B6BD8B0C77}" dt="2021-09-14T08:38:20.224" v="80" actId="20577"/>
          <ac:spMkLst>
            <pc:docMk/>
            <pc:sldMk cId="4065079500" sldId="516"/>
            <ac:spMk id="42" creationId="{00000000-0000-0000-0000-000000000000}"/>
          </ac:spMkLst>
        </pc:spChg>
        <pc:spChg chg="mod">
          <ac:chgData name="Garcia Carballo, Alejandro" userId="S::agcarballo@minsait.com::4a3f749f-5d59-4065-9fba-1f02cd317a79" providerId="AD" clId="Web-{25033DEC-E68B-4196-98CB-66B6BD8B0C77}" dt="2021-09-14T08:29:17.493" v="9" actId="20577"/>
          <ac:spMkLst>
            <pc:docMk/>
            <pc:sldMk cId="4065079500" sldId="516"/>
            <ac:spMk id="97" creationId="{00000000-0000-0000-0000-000000000000}"/>
          </ac:spMkLst>
        </pc:spChg>
        <pc:spChg chg="mod">
          <ac:chgData name="Garcia Carballo, Alejandro" userId="S::agcarballo@minsait.com::4a3f749f-5d59-4065-9fba-1f02cd317a79" providerId="AD" clId="Web-{25033DEC-E68B-4196-98CB-66B6BD8B0C77}" dt="2021-09-14T08:41:19.838" v="118" actId="20577"/>
          <ac:spMkLst>
            <pc:docMk/>
            <pc:sldMk cId="4065079500" sldId="516"/>
            <ac:spMk id="102" creationId="{00000000-0000-0000-0000-000000000000}"/>
          </ac:spMkLst>
        </pc:spChg>
        <pc:spChg chg="mod">
          <ac:chgData name="Garcia Carballo, Alejandro" userId="S::agcarballo@minsait.com::4a3f749f-5d59-4065-9fba-1f02cd317a79" providerId="AD" clId="Web-{25033DEC-E68B-4196-98CB-66B6BD8B0C77}" dt="2021-09-14T08:41:38.182" v="126" actId="20577"/>
          <ac:spMkLst>
            <pc:docMk/>
            <pc:sldMk cId="4065079500" sldId="516"/>
            <ac:spMk id="103" creationId="{00000000-0000-0000-0000-000000000000}"/>
          </ac:spMkLst>
        </pc:spChg>
        <pc:spChg chg="mod">
          <ac:chgData name="Garcia Carballo, Alejandro" userId="S::agcarballo@minsait.com::4a3f749f-5d59-4065-9fba-1f02cd317a79" providerId="AD" clId="Web-{25033DEC-E68B-4196-98CB-66B6BD8B0C77}" dt="2021-09-14T08:39:05.819" v="87" actId="20577"/>
          <ac:spMkLst>
            <pc:docMk/>
            <pc:sldMk cId="4065079500" sldId="516"/>
            <ac:spMk id="112" creationId="{00000000-0000-0000-0000-000000000000}"/>
          </ac:spMkLst>
        </pc:spChg>
        <pc:spChg chg="mod">
          <ac:chgData name="Garcia Carballo, Alejandro" userId="S::agcarballo@minsait.com::4a3f749f-5d59-4065-9fba-1f02cd317a79" providerId="AD" clId="Web-{25033DEC-E68B-4196-98CB-66B6BD8B0C77}" dt="2021-09-14T08:40:39.274" v="110" actId="20577"/>
          <ac:spMkLst>
            <pc:docMk/>
            <pc:sldMk cId="4065079500" sldId="516"/>
            <ac:spMk id="113" creationId="{00000000-0000-0000-0000-000000000000}"/>
          </ac:spMkLst>
        </pc:spChg>
        <pc:spChg chg="mod">
          <ac:chgData name="Garcia Carballo, Alejandro" userId="S::agcarballo@minsait.com::4a3f749f-5d59-4065-9fba-1f02cd317a79" providerId="AD" clId="Web-{25033DEC-E68B-4196-98CB-66B6BD8B0C77}" dt="2021-09-14T08:40:54.243" v="117" actId="20577"/>
          <ac:spMkLst>
            <pc:docMk/>
            <pc:sldMk cId="4065079500" sldId="516"/>
            <ac:spMk id="117" creationId="{00000000-0000-0000-0000-000000000000}"/>
          </ac:spMkLst>
        </pc:spChg>
      </pc:sldChg>
    </pc:docChg>
  </pc:docChgLst>
  <pc:docChgLst>
    <pc:chgData name="Sipan Robles, Juan Carlos" userId="S::jcsipan@minsait.com::84e1b46f-d005-4889-8316-2229ec658eb4" providerId="AD" clId="Web-{E2A0CADC-774B-4B08-877E-F47B471DE6A7}"/>
    <pc:docChg chg="addSld delSld modSld">
      <pc:chgData name="Sipan Robles, Juan Carlos" userId="S::jcsipan@minsait.com::84e1b46f-d005-4889-8316-2229ec658eb4" providerId="AD" clId="Web-{E2A0CADC-774B-4B08-877E-F47B471DE6A7}" dt="2021-06-28T22:28:05.844" v="1129" actId="1076"/>
      <pc:docMkLst>
        <pc:docMk/>
      </pc:docMkLst>
      <pc:sldChg chg="addSp delSp modSp">
        <pc:chgData name="Sipan Robles, Juan Carlos" userId="S::jcsipan@minsait.com::84e1b46f-d005-4889-8316-2229ec658eb4" providerId="AD" clId="Web-{E2A0CADC-774B-4B08-877E-F47B471DE6A7}" dt="2021-06-28T22:28:05.844" v="1129" actId="1076"/>
        <pc:sldMkLst>
          <pc:docMk/>
          <pc:sldMk cId="3776912417" sldId="497"/>
        </pc:sldMkLst>
        <pc:spChg chg="add mod">
          <ac:chgData name="Sipan Robles, Juan Carlos" userId="S::jcsipan@minsait.com::84e1b46f-d005-4889-8316-2229ec658eb4" providerId="AD" clId="Web-{E2A0CADC-774B-4B08-877E-F47B471DE6A7}" dt="2021-06-28T20:02:41.298" v="244" actId="1076"/>
          <ac:spMkLst>
            <pc:docMk/>
            <pc:sldMk cId="3776912417" sldId="497"/>
            <ac:spMk id="2" creationId="{4A579C97-1D69-4190-BC22-30729C62B112}"/>
          </ac:spMkLst>
        </pc:spChg>
        <pc:spChg chg="add mod">
          <ac:chgData name="Sipan Robles, Juan Carlos" userId="S::jcsipan@minsait.com::84e1b46f-d005-4889-8316-2229ec658eb4" providerId="AD" clId="Web-{E2A0CADC-774B-4B08-877E-F47B471DE6A7}" dt="2021-06-28T20:27:34.940" v="416" actId="20577"/>
          <ac:spMkLst>
            <pc:docMk/>
            <pc:sldMk cId="3776912417" sldId="497"/>
            <ac:spMk id="3" creationId="{7164B6B4-A9D9-4833-8977-76B204144180}"/>
          </ac:spMkLst>
        </pc:spChg>
        <pc:spChg chg="add mod">
          <ac:chgData name="Sipan Robles, Juan Carlos" userId="S::jcsipan@minsait.com::84e1b46f-d005-4889-8316-2229ec658eb4" providerId="AD" clId="Web-{E2A0CADC-774B-4B08-877E-F47B471DE6A7}" dt="2021-06-28T20:28:32.959" v="426" actId="1076"/>
          <ac:spMkLst>
            <pc:docMk/>
            <pc:sldMk cId="3776912417" sldId="497"/>
            <ac:spMk id="4" creationId="{9DF582D1-391C-4737-B221-962D5FB3D2B7}"/>
          </ac:spMkLst>
        </pc:spChg>
        <pc:spChg chg="add mod">
          <ac:chgData name="Sipan Robles, Juan Carlos" userId="S::jcsipan@minsait.com::84e1b46f-d005-4889-8316-2229ec658eb4" providerId="AD" clId="Web-{E2A0CADC-774B-4B08-877E-F47B471DE6A7}" dt="2021-06-28T20:28:27.068" v="425" actId="1076"/>
          <ac:spMkLst>
            <pc:docMk/>
            <pc:sldMk cId="3776912417" sldId="497"/>
            <ac:spMk id="5" creationId="{16AB6EE5-F9F4-474B-9738-14AFD747BED4}"/>
          </ac:spMkLst>
        </pc:spChg>
        <pc:spChg chg="add mod">
          <ac:chgData name="Sipan Robles, Juan Carlos" userId="S::jcsipan@minsait.com::84e1b46f-d005-4889-8316-2229ec658eb4" providerId="AD" clId="Web-{E2A0CADC-774B-4B08-877E-F47B471DE6A7}" dt="2021-06-28T20:28:22.630" v="424" actId="1076"/>
          <ac:spMkLst>
            <pc:docMk/>
            <pc:sldMk cId="3776912417" sldId="497"/>
            <ac:spMk id="6" creationId="{EB34A4A0-AC18-4E8B-93F0-D05CE1706464}"/>
          </ac:spMkLst>
        </pc:spChg>
        <pc:spChg chg="add mod">
          <ac:chgData name="Sipan Robles, Juan Carlos" userId="S::jcsipan@minsait.com::84e1b46f-d005-4889-8316-2229ec658eb4" providerId="AD" clId="Web-{E2A0CADC-774B-4B08-877E-F47B471DE6A7}" dt="2021-06-28T21:59:28.643" v="547" actId="1076"/>
          <ac:spMkLst>
            <pc:docMk/>
            <pc:sldMk cId="3776912417" sldId="497"/>
            <ac:spMk id="7" creationId="{70453469-463F-4104-85D2-65E3C0A2FD45}"/>
          </ac:spMkLst>
        </pc:spChg>
        <pc:spChg chg="add mod">
          <ac:chgData name="Sipan Robles, Juan Carlos" userId="S::jcsipan@minsait.com::84e1b46f-d005-4889-8316-2229ec658eb4" providerId="AD" clId="Web-{E2A0CADC-774B-4B08-877E-F47B471DE6A7}" dt="2021-06-28T22:00:31.693" v="569" actId="20577"/>
          <ac:spMkLst>
            <pc:docMk/>
            <pc:sldMk cId="3776912417" sldId="497"/>
            <ac:spMk id="8" creationId="{2642A1BD-342B-49B6-BE0A-A953C0B191A1}"/>
          </ac:spMkLst>
        </pc:spChg>
        <pc:spChg chg="del">
          <ac:chgData name="Sipan Robles, Juan Carlos" userId="S::jcsipan@minsait.com::84e1b46f-d005-4889-8316-2229ec658eb4" providerId="AD" clId="Web-{E2A0CADC-774B-4B08-877E-F47B471DE6A7}" dt="2021-06-28T22:27:42.219" v="1126"/>
          <ac:spMkLst>
            <pc:docMk/>
            <pc:sldMk cId="3776912417" sldId="497"/>
            <ac:spMk id="26" creationId="{00000000-0000-0000-0000-000000000000}"/>
          </ac:spMkLst>
        </pc:spChg>
        <pc:spChg chg="mod">
          <ac:chgData name="Sipan Robles, Juan Carlos" userId="S::jcsipan@minsait.com::84e1b46f-d005-4889-8316-2229ec658eb4" providerId="AD" clId="Web-{E2A0CADC-774B-4B08-877E-F47B471DE6A7}" dt="2021-06-28T22:08:46.616" v="704" actId="20577"/>
          <ac:spMkLst>
            <pc:docMk/>
            <pc:sldMk cId="3776912417" sldId="497"/>
            <ac:spMk id="27" creationId="{00000000-0000-0000-0000-000000000000}"/>
          </ac:spMkLst>
        </pc:spChg>
        <pc:spChg chg="mod">
          <ac:chgData name="Sipan Robles, Juan Carlos" userId="S::jcsipan@minsait.com::84e1b46f-d005-4889-8316-2229ec658eb4" providerId="AD" clId="Web-{E2A0CADC-774B-4B08-877E-F47B471DE6A7}" dt="2021-06-28T22:27:08.890" v="1113" actId="20577"/>
          <ac:spMkLst>
            <pc:docMk/>
            <pc:sldMk cId="3776912417" sldId="497"/>
            <ac:spMk id="28" creationId="{00000000-0000-0000-0000-000000000000}"/>
          </ac:spMkLst>
        </pc:spChg>
        <pc:spChg chg="mod">
          <ac:chgData name="Sipan Robles, Juan Carlos" userId="S::jcsipan@minsait.com::84e1b46f-d005-4889-8316-2229ec658eb4" providerId="AD" clId="Web-{E2A0CADC-774B-4B08-877E-F47B471DE6A7}" dt="2021-06-28T22:25:12.684" v="1086" actId="1076"/>
          <ac:spMkLst>
            <pc:docMk/>
            <pc:sldMk cId="3776912417" sldId="497"/>
            <ac:spMk id="29" creationId="{00000000-0000-0000-0000-000000000000}"/>
          </ac:spMkLst>
        </pc:spChg>
        <pc:spChg chg="add mod">
          <ac:chgData name="Sipan Robles, Juan Carlos" userId="S::jcsipan@minsait.com::84e1b46f-d005-4889-8316-2229ec658eb4" providerId="AD" clId="Web-{E2A0CADC-774B-4B08-877E-F47B471DE6A7}" dt="2021-06-28T20:02:55.642" v="247" actId="1076"/>
          <ac:spMkLst>
            <pc:docMk/>
            <pc:sldMk cId="3776912417" sldId="497"/>
            <ac:spMk id="31" creationId="{3CBEFAF4-7584-44CC-BE11-526C74E56DA0}"/>
          </ac:spMkLst>
        </pc:spChg>
        <pc:spChg chg="mod">
          <ac:chgData name="Sipan Robles, Juan Carlos" userId="S::jcsipan@minsait.com::84e1b46f-d005-4889-8316-2229ec658eb4" providerId="AD" clId="Web-{E2A0CADC-774B-4B08-877E-F47B471DE6A7}" dt="2021-06-28T22:08:00.193" v="683"/>
          <ac:spMkLst>
            <pc:docMk/>
            <pc:sldMk cId="3776912417" sldId="497"/>
            <ac:spMk id="32" creationId="{00000000-0000-0000-0000-000000000000}"/>
          </ac:spMkLst>
        </pc:spChg>
        <pc:spChg chg="add mod">
          <ac:chgData name="Sipan Robles, Juan Carlos" userId="S::jcsipan@minsait.com::84e1b46f-d005-4889-8316-2229ec658eb4" providerId="AD" clId="Web-{E2A0CADC-774B-4B08-877E-F47B471DE6A7}" dt="2021-06-28T20:02:51.064" v="246" actId="1076"/>
          <ac:spMkLst>
            <pc:docMk/>
            <pc:sldMk cId="3776912417" sldId="497"/>
            <ac:spMk id="33" creationId="{8A4A29EB-B0FB-45BF-9DA3-CA06DA01D0F8}"/>
          </ac:spMkLst>
        </pc:spChg>
        <pc:spChg chg="mod">
          <ac:chgData name="Sipan Robles, Juan Carlos" userId="S::jcsipan@minsait.com::84e1b46f-d005-4889-8316-2229ec658eb4" providerId="AD" clId="Web-{E2A0CADC-774B-4B08-877E-F47B471DE6A7}" dt="2021-06-28T22:20:54.147" v="1014" actId="20577"/>
          <ac:spMkLst>
            <pc:docMk/>
            <pc:sldMk cId="3776912417" sldId="497"/>
            <ac:spMk id="38" creationId="{00000000-0000-0000-0000-000000000000}"/>
          </ac:spMkLst>
        </pc:spChg>
        <pc:spChg chg="mod">
          <ac:chgData name="Sipan Robles, Juan Carlos" userId="S::jcsipan@minsait.com::84e1b46f-d005-4889-8316-2229ec658eb4" providerId="AD" clId="Web-{E2A0CADC-774B-4B08-877E-F47B471DE6A7}" dt="2021-06-28T22:19:53.255" v="985" actId="20577"/>
          <ac:spMkLst>
            <pc:docMk/>
            <pc:sldMk cId="3776912417" sldId="497"/>
            <ac:spMk id="39" creationId="{00000000-0000-0000-0000-000000000000}"/>
          </ac:spMkLst>
        </pc:spChg>
        <pc:spChg chg="mod">
          <ac:chgData name="Sipan Robles, Juan Carlos" userId="S::jcsipan@minsait.com::84e1b46f-d005-4889-8316-2229ec658eb4" providerId="AD" clId="Web-{E2A0CADC-774B-4B08-877E-F47B471DE6A7}" dt="2021-06-28T22:27:27.344" v="1125" actId="20577"/>
          <ac:spMkLst>
            <pc:docMk/>
            <pc:sldMk cId="3776912417" sldId="497"/>
            <ac:spMk id="42" creationId="{00000000-0000-0000-0000-000000000000}"/>
          </ac:spMkLst>
        </pc:spChg>
        <pc:spChg chg="mod">
          <ac:chgData name="Sipan Robles, Juan Carlos" userId="S::jcsipan@minsait.com::84e1b46f-d005-4889-8316-2229ec658eb4" providerId="AD" clId="Web-{E2A0CADC-774B-4B08-877E-F47B471DE6A7}" dt="2021-06-28T22:23:08.010" v="1058"/>
          <ac:spMkLst>
            <pc:docMk/>
            <pc:sldMk cId="3776912417" sldId="497"/>
            <ac:spMk id="43" creationId="{00000000-0000-0000-0000-000000000000}"/>
          </ac:spMkLst>
        </pc:spChg>
        <pc:spChg chg="mod">
          <ac:chgData name="Sipan Robles, Juan Carlos" userId="S::jcsipan@minsait.com::84e1b46f-d005-4889-8316-2229ec658eb4" providerId="AD" clId="Web-{E2A0CADC-774B-4B08-877E-F47B471DE6A7}" dt="2021-06-28T22:18:07.737" v="974" actId="20577"/>
          <ac:spMkLst>
            <pc:docMk/>
            <pc:sldMk cId="3776912417" sldId="497"/>
            <ac:spMk id="97" creationId="{00000000-0000-0000-0000-000000000000}"/>
          </ac:spMkLst>
        </pc:spChg>
        <pc:spChg chg="mod">
          <ac:chgData name="Sipan Robles, Juan Carlos" userId="S::jcsipan@minsait.com::84e1b46f-d005-4889-8316-2229ec658eb4" providerId="AD" clId="Web-{E2A0CADC-774B-4B08-877E-F47B471DE6A7}" dt="2021-06-28T22:03:35.859" v="620" actId="1076"/>
          <ac:spMkLst>
            <pc:docMk/>
            <pc:sldMk cId="3776912417" sldId="497"/>
            <ac:spMk id="102" creationId="{00000000-0000-0000-0000-000000000000}"/>
          </ac:spMkLst>
        </pc:spChg>
        <pc:spChg chg="mod">
          <ac:chgData name="Sipan Robles, Juan Carlos" userId="S::jcsipan@minsait.com::84e1b46f-d005-4889-8316-2229ec658eb4" providerId="AD" clId="Web-{E2A0CADC-774B-4B08-877E-F47B471DE6A7}" dt="2021-06-28T22:03:30.687" v="619" actId="1076"/>
          <ac:spMkLst>
            <pc:docMk/>
            <pc:sldMk cId="3776912417" sldId="497"/>
            <ac:spMk id="103" creationId="{00000000-0000-0000-0000-000000000000}"/>
          </ac:spMkLst>
        </pc:spChg>
        <pc:spChg chg="mod">
          <ac:chgData name="Sipan Robles, Juan Carlos" userId="S::jcsipan@minsait.com::84e1b46f-d005-4889-8316-2229ec658eb4" providerId="AD" clId="Web-{E2A0CADC-774B-4B08-877E-F47B471DE6A7}" dt="2021-06-28T22:28:05.844" v="1129" actId="1076"/>
          <ac:spMkLst>
            <pc:docMk/>
            <pc:sldMk cId="3776912417" sldId="497"/>
            <ac:spMk id="105" creationId="{00000000-0000-0000-0000-000000000000}"/>
          </ac:spMkLst>
        </pc:spChg>
        <pc:spChg chg="del mod">
          <ac:chgData name="Sipan Robles, Juan Carlos" userId="S::jcsipan@minsait.com::84e1b46f-d005-4889-8316-2229ec658eb4" providerId="AD" clId="Web-{E2A0CADC-774B-4B08-877E-F47B471DE6A7}" dt="2021-06-28T20:30:25.168" v="434"/>
          <ac:spMkLst>
            <pc:docMk/>
            <pc:sldMk cId="3776912417" sldId="497"/>
            <ac:spMk id="109" creationId="{00000000-0000-0000-0000-000000000000}"/>
          </ac:spMkLst>
        </pc:spChg>
        <pc:spChg chg="del mod">
          <ac:chgData name="Sipan Robles, Juan Carlos" userId="S::jcsipan@minsait.com::84e1b46f-d005-4889-8316-2229ec658eb4" providerId="AD" clId="Web-{E2A0CADC-774B-4B08-877E-F47B471DE6A7}" dt="2021-06-28T20:30:29.184" v="435"/>
          <ac:spMkLst>
            <pc:docMk/>
            <pc:sldMk cId="3776912417" sldId="497"/>
            <ac:spMk id="110" creationId="{00000000-0000-0000-0000-000000000000}"/>
          </ac:spMkLst>
        </pc:spChg>
        <pc:spChg chg="del">
          <ac:chgData name="Sipan Robles, Juan Carlos" userId="S::jcsipan@minsait.com::84e1b46f-d005-4889-8316-2229ec658eb4" providerId="AD" clId="Web-{E2A0CADC-774B-4B08-877E-F47B471DE6A7}" dt="2021-06-28T20:02:04.860" v="237"/>
          <ac:spMkLst>
            <pc:docMk/>
            <pc:sldMk cId="3776912417" sldId="497"/>
            <ac:spMk id="111" creationId="{00000000-0000-0000-0000-000000000000}"/>
          </ac:spMkLst>
        </pc:spChg>
        <pc:spChg chg="mod">
          <ac:chgData name="Sipan Robles, Juan Carlos" userId="S::jcsipan@minsait.com::84e1b46f-d005-4889-8316-2229ec658eb4" providerId="AD" clId="Web-{E2A0CADC-774B-4B08-877E-F47B471DE6A7}" dt="2021-06-28T19:53:00.739" v="174"/>
          <ac:spMkLst>
            <pc:docMk/>
            <pc:sldMk cId="3776912417" sldId="497"/>
            <ac:spMk id="112" creationId="{00000000-0000-0000-0000-000000000000}"/>
          </ac:spMkLst>
        </pc:spChg>
        <pc:spChg chg="mod">
          <ac:chgData name="Sipan Robles, Juan Carlos" userId="S::jcsipan@minsait.com::84e1b46f-d005-4889-8316-2229ec658eb4" providerId="AD" clId="Web-{E2A0CADC-774B-4B08-877E-F47B471DE6A7}" dt="2021-06-28T20:02:41.205" v="243" actId="1076"/>
          <ac:spMkLst>
            <pc:docMk/>
            <pc:sldMk cId="3776912417" sldId="497"/>
            <ac:spMk id="113" creationId="{00000000-0000-0000-0000-000000000000}"/>
          </ac:spMkLst>
        </pc:spChg>
        <pc:spChg chg="del mod">
          <ac:chgData name="Sipan Robles, Juan Carlos" userId="S::jcsipan@minsait.com::84e1b46f-d005-4889-8316-2229ec658eb4" providerId="AD" clId="Web-{E2A0CADC-774B-4B08-877E-F47B471DE6A7}" dt="2021-06-28T19:54:17.022" v="181"/>
          <ac:spMkLst>
            <pc:docMk/>
            <pc:sldMk cId="3776912417" sldId="497"/>
            <ac:spMk id="114" creationId="{00000000-0000-0000-0000-000000000000}"/>
          </ac:spMkLst>
        </pc:spChg>
        <pc:spChg chg="mod">
          <ac:chgData name="Sipan Robles, Juan Carlos" userId="S::jcsipan@minsait.com::84e1b46f-d005-4889-8316-2229ec658eb4" providerId="AD" clId="Web-{E2A0CADC-774B-4B08-877E-F47B471DE6A7}" dt="2021-06-28T20:28:16.005" v="423" actId="1076"/>
          <ac:spMkLst>
            <pc:docMk/>
            <pc:sldMk cId="3776912417" sldId="497"/>
            <ac:spMk id="117" creationId="{00000000-0000-0000-0000-000000000000}"/>
          </ac:spMkLst>
        </pc:spChg>
      </pc:sldChg>
      <pc:sldChg chg="modSp">
        <pc:chgData name="Sipan Robles, Juan Carlos" userId="S::jcsipan@minsait.com::84e1b46f-d005-4889-8316-2229ec658eb4" providerId="AD" clId="Web-{E2A0CADC-774B-4B08-877E-F47B471DE6A7}" dt="2021-06-28T20:30:00.417" v="429" actId="1076"/>
        <pc:sldMkLst>
          <pc:docMk/>
          <pc:sldMk cId="1965018157" sldId="501"/>
        </pc:sldMkLst>
        <pc:spChg chg="mod">
          <ac:chgData name="Sipan Robles, Juan Carlos" userId="S::jcsipan@minsait.com::84e1b46f-d005-4889-8316-2229ec658eb4" providerId="AD" clId="Web-{E2A0CADC-774B-4B08-877E-F47B471DE6A7}" dt="2021-06-28T20:30:00.417" v="429" actId="1076"/>
          <ac:spMkLst>
            <pc:docMk/>
            <pc:sldMk cId="1965018157" sldId="501"/>
            <ac:spMk id="51" creationId="{AB2E014F-704F-3649-A8CA-79AC24262337}"/>
          </ac:spMkLst>
        </pc:spChg>
      </pc:sldChg>
      <pc:sldChg chg="new del">
        <pc:chgData name="Sipan Robles, Juan Carlos" userId="S::jcsipan@minsait.com::84e1b46f-d005-4889-8316-2229ec658eb4" providerId="AD" clId="Web-{E2A0CADC-774B-4B08-877E-F47B471DE6A7}" dt="2021-06-28T20:09:29.510" v="335"/>
        <pc:sldMkLst>
          <pc:docMk/>
          <pc:sldMk cId="3413628043" sldId="506"/>
        </pc:sldMkLst>
      </pc:sldChg>
    </pc:docChg>
  </pc:docChgLst>
  <pc:docChgLst>
    <pc:chgData name="Moyano, Luis Mariano" userId="S::lmmoyano@minsait.com::be911c38-58d1-4764-ae71-9d0cda801069" providerId="AD" clId="Web-{6EECC6C2-D322-4A9E-992B-7118880EF015}"/>
    <pc:docChg chg="delSld modSld">
      <pc:chgData name="Moyano, Luis Mariano" userId="S::lmmoyano@minsait.com::be911c38-58d1-4764-ae71-9d0cda801069" providerId="AD" clId="Web-{6EECC6C2-D322-4A9E-992B-7118880EF015}" dt="2021-06-23T10:47:12.612" v="5"/>
      <pc:docMkLst>
        <pc:docMk/>
      </pc:docMkLst>
      <pc:sldChg chg="addSp modSp del">
        <pc:chgData name="Moyano, Luis Mariano" userId="S::lmmoyano@minsait.com::be911c38-58d1-4764-ae71-9d0cda801069" providerId="AD" clId="Web-{6EECC6C2-D322-4A9E-992B-7118880EF015}" dt="2021-06-23T10:47:12.612" v="5"/>
        <pc:sldMkLst>
          <pc:docMk/>
          <pc:sldMk cId="3759729070" sldId="501"/>
        </pc:sldMkLst>
        <pc:picChg chg="add mod">
          <ac:chgData name="Moyano, Luis Mariano" userId="S::lmmoyano@minsait.com::be911c38-58d1-4764-ae71-9d0cda801069" providerId="AD" clId="Web-{6EECC6C2-D322-4A9E-992B-7118880EF015}" dt="2021-06-23T10:47:06.237" v="4" actId="14100"/>
          <ac:picMkLst>
            <pc:docMk/>
            <pc:sldMk cId="3759729070" sldId="501"/>
            <ac:picMk id="4" creationId="{49402CB4-7EC7-4892-8F1A-87493DB08C56}"/>
          </ac:picMkLst>
        </pc:picChg>
      </pc:sldChg>
    </pc:docChg>
  </pc:docChgLst>
  <pc:docChgLst>
    <pc:chgData name="Garralda Barrio, Mariano" userId="S::mgarralda@minsait.com::03140a19-4145-4e27-a44b-827c938547ef" providerId="AD" clId="Web-{94984430-7C3E-45E8-B83B-EB74F67D76E7}"/>
    <pc:docChg chg="modSld">
      <pc:chgData name="Garralda Barrio, Mariano" userId="S::mgarralda@minsait.com::03140a19-4145-4e27-a44b-827c938547ef" providerId="AD" clId="Web-{94984430-7C3E-45E8-B83B-EB74F67D76E7}" dt="2021-06-25T07:42:14.655" v="58" actId="20577"/>
      <pc:docMkLst>
        <pc:docMk/>
      </pc:docMkLst>
      <pc:sldChg chg="modSp">
        <pc:chgData name="Garralda Barrio, Mariano" userId="S::mgarralda@minsait.com::03140a19-4145-4e27-a44b-827c938547ef" providerId="AD" clId="Web-{94984430-7C3E-45E8-B83B-EB74F67D76E7}" dt="2021-06-25T07:42:14.655" v="58" actId="20577"/>
        <pc:sldMkLst>
          <pc:docMk/>
          <pc:sldMk cId="2017518982" sldId="492"/>
        </pc:sldMkLst>
        <pc:spChg chg="mod">
          <ac:chgData name="Garralda Barrio, Mariano" userId="S::mgarralda@minsait.com::03140a19-4145-4e27-a44b-827c938547ef" providerId="AD" clId="Web-{94984430-7C3E-45E8-B83B-EB74F67D76E7}" dt="2021-06-25T07:41:55.171" v="48" actId="20577"/>
          <ac:spMkLst>
            <pc:docMk/>
            <pc:sldMk cId="2017518982" sldId="492"/>
            <ac:spMk id="105" creationId="{00000000-0000-0000-0000-000000000000}"/>
          </ac:spMkLst>
        </pc:spChg>
        <pc:spChg chg="mod">
          <ac:chgData name="Garralda Barrio, Mariano" userId="S::mgarralda@minsait.com::03140a19-4145-4e27-a44b-827c938547ef" providerId="AD" clId="Web-{94984430-7C3E-45E8-B83B-EB74F67D76E7}" dt="2021-06-25T07:39:13.917" v="5" actId="1076"/>
          <ac:spMkLst>
            <pc:docMk/>
            <pc:sldMk cId="2017518982" sldId="492"/>
            <ac:spMk id="106" creationId="{00000000-0000-0000-0000-000000000000}"/>
          </ac:spMkLst>
        </pc:spChg>
        <pc:spChg chg="mod">
          <ac:chgData name="Garralda Barrio, Mariano" userId="S::mgarralda@minsait.com::03140a19-4145-4e27-a44b-827c938547ef" providerId="AD" clId="Web-{94984430-7C3E-45E8-B83B-EB74F67D76E7}" dt="2021-06-25T07:42:14.655" v="58" actId="20577"/>
          <ac:spMkLst>
            <pc:docMk/>
            <pc:sldMk cId="2017518982" sldId="492"/>
            <ac:spMk id="113" creationId="{00000000-0000-0000-0000-000000000000}"/>
          </ac:spMkLst>
        </pc:spChg>
      </pc:sldChg>
    </pc:docChg>
  </pc:docChgLst>
  <pc:docChgLst>
    <pc:chgData name="Rebaque Hernández, Alejandro" userId="S::arebaque@minsait.com::3e264f20-ce3c-4a46-b2ec-51c3c308b018" providerId="AD" clId="Web-{A57F2F88-0EDB-43CD-889F-67B180F413B8}"/>
    <pc:docChg chg="modSld">
      <pc:chgData name="Rebaque Hernández, Alejandro" userId="S::arebaque@minsait.com::3e264f20-ce3c-4a46-b2ec-51c3c308b018" providerId="AD" clId="Web-{A57F2F88-0EDB-43CD-889F-67B180F413B8}" dt="2021-06-28T11:46:48.665" v="34" actId="20577"/>
      <pc:docMkLst>
        <pc:docMk/>
      </pc:docMkLst>
      <pc:sldChg chg="delSp modSp">
        <pc:chgData name="Rebaque Hernández, Alejandro" userId="S::arebaque@minsait.com::3e264f20-ce3c-4a46-b2ec-51c3c308b018" providerId="AD" clId="Web-{A57F2F88-0EDB-43CD-889F-67B180F413B8}" dt="2021-06-28T11:46:48.665" v="34" actId="20577"/>
        <pc:sldMkLst>
          <pc:docMk/>
          <pc:sldMk cId="3695170186" sldId="485"/>
        </pc:sldMkLst>
        <pc:spChg chg="mod">
          <ac:chgData name="Rebaque Hernández, Alejandro" userId="S::arebaque@minsait.com::3e264f20-ce3c-4a46-b2ec-51c3c308b018" providerId="AD" clId="Web-{A57F2F88-0EDB-43CD-889F-67B180F413B8}" dt="2021-06-28T11:45:50.132" v="31" actId="1076"/>
          <ac:spMkLst>
            <pc:docMk/>
            <pc:sldMk cId="3695170186" sldId="485"/>
            <ac:spMk id="29" creationId="{00000000-0000-0000-0000-000000000000}"/>
          </ac:spMkLst>
        </pc:spChg>
        <pc:spChg chg="del mod">
          <ac:chgData name="Rebaque Hernández, Alejandro" userId="S::arebaque@minsait.com::3e264f20-ce3c-4a46-b2ec-51c3c308b018" providerId="AD" clId="Web-{A57F2F88-0EDB-43CD-889F-67B180F413B8}" dt="2021-06-28T11:42:36.283" v="3"/>
          <ac:spMkLst>
            <pc:docMk/>
            <pc:sldMk cId="3695170186" sldId="485"/>
            <ac:spMk id="30" creationId="{00000000-0000-0000-0000-000000000000}"/>
          </ac:spMkLst>
        </pc:spChg>
        <pc:spChg chg="mod">
          <ac:chgData name="Rebaque Hernández, Alejandro" userId="S::arebaque@minsait.com::3e264f20-ce3c-4a46-b2ec-51c3c308b018" providerId="AD" clId="Web-{A57F2F88-0EDB-43CD-889F-67B180F413B8}" dt="2021-06-28T11:45:15.881" v="24" actId="1076"/>
          <ac:spMkLst>
            <pc:docMk/>
            <pc:sldMk cId="3695170186" sldId="485"/>
            <ac:spMk id="31" creationId="{7796213A-8BEC-48C5-8800-871952BC6CB4}"/>
          </ac:spMkLst>
        </pc:spChg>
        <pc:spChg chg="mod">
          <ac:chgData name="Rebaque Hernández, Alejandro" userId="S::arebaque@minsait.com::3e264f20-ce3c-4a46-b2ec-51c3c308b018" providerId="AD" clId="Web-{A57F2F88-0EDB-43CD-889F-67B180F413B8}" dt="2021-06-28T11:43:57.957" v="11" actId="20577"/>
          <ac:spMkLst>
            <pc:docMk/>
            <pc:sldMk cId="3695170186" sldId="485"/>
            <ac:spMk id="34" creationId="{3F2A8E2F-6B21-4E0A-80EE-BC5CBEF477D0}"/>
          </ac:spMkLst>
        </pc:spChg>
        <pc:spChg chg="mod">
          <ac:chgData name="Rebaque Hernández, Alejandro" userId="S::arebaque@minsait.com::3e264f20-ce3c-4a46-b2ec-51c3c308b018" providerId="AD" clId="Web-{A57F2F88-0EDB-43CD-889F-67B180F413B8}" dt="2021-06-28T11:44:30.927" v="20" actId="20577"/>
          <ac:spMkLst>
            <pc:docMk/>
            <pc:sldMk cId="3695170186" sldId="485"/>
            <ac:spMk id="103" creationId="{00000000-0000-0000-0000-000000000000}"/>
          </ac:spMkLst>
        </pc:spChg>
        <pc:spChg chg="mod">
          <ac:chgData name="Rebaque Hernández, Alejandro" userId="S::arebaque@minsait.com::3e264f20-ce3c-4a46-b2ec-51c3c308b018" providerId="AD" clId="Web-{A57F2F88-0EDB-43CD-889F-67B180F413B8}" dt="2021-06-28T11:46:48.665" v="34" actId="20577"/>
          <ac:spMkLst>
            <pc:docMk/>
            <pc:sldMk cId="3695170186" sldId="485"/>
            <ac:spMk id="110" creationId="{00000000-0000-0000-0000-000000000000}"/>
          </ac:spMkLst>
        </pc:spChg>
        <pc:spChg chg="mod">
          <ac:chgData name="Rebaque Hernández, Alejandro" userId="S::arebaque@minsait.com::3e264f20-ce3c-4a46-b2ec-51c3c308b018" providerId="AD" clId="Web-{A57F2F88-0EDB-43CD-889F-67B180F413B8}" dt="2021-06-28T11:44:04.286" v="14" actId="20577"/>
          <ac:spMkLst>
            <pc:docMk/>
            <pc:sldMk cId="3695170186" sldId="485"/>
            <ac:spMk id="111" creationId="{00000000-0000-0000-0000-000000000000}"/>
          </ac:spMkLst>
        </pc:spChg>
        <pc:spChg chg="mod">
          <ac:chgData name="Rebaque Hernández, Alejandro" userId="S::arebaque@minsait.com::3e264f20-ce3c-4a46-b2ec-51c3c308b018" providerId="AD" clId="Web-{A57F2F88-0EDB-43CD-889F-67B180F413B8}" dt="2021-06-28T11:45:10.006" v="23" actId="1076"/>
          <ac:spMkLst>
            <pc:docMk/>
            <pc:sldMk cId="3695170186" sldId="485"/>
            <ac:spMk id="114" creationId="{00000000-0000-0000-0000-000000000000}"/>
          </ac:spMkLst>
        </pc:spChg>
        <pc:spChg chg="mod">
          <ac:chgData name="Rebaque Hernández, Alejandro" userId="S::arebaque@minsait.com::3e264f20-ce3c-4a46-b2ec-51c3c308b018" providerId="AD" clId="Web-{A57F2F88-0EDB-43CD-889F-67B180F413B8}" dt="2021-06-28T11:45:54.742" v="32" actId="1076"/>
          <ac:spMkLst>
            <pc:docMk/>
            <pc:sldMk cId="3695170186" sldId="485"/>
            <ac:spMk id="117" creationId="{00000000-0000-0000-0000-000000000000}"/>
          </ac:spMkLst>
        </pc:spChg>
      </pc:sldChg>
    </pc:docChg>
  </pc:docChgLst>
  <pc:docChgLst>
    <pc:chgData name="Ahijado Martín-Navarro, Francisco Javier" userId="S::fjahijado@minsait.com::a59e24a7-27ae-49eb-81e2-64a969f0278c" providerId="AD" clId="Web-{7046773A-9583-41F9-BDFE-8881B5C9228D}"/>
    <pc:docChg chg="addSld modSld">
      <pc:chgData name="Ahijado Martín-Navarro, Francisco Javier" userId="S::fjahijado@minsait.com::a59e24a7-27ae-49eb-81e2-64a969f0278c" providerId="AD" clId="Web-{7046773A-9583-41F9-BDFE-8881B5C9228D}" dt="2021-01-26T10:29:55.647" v="400" actId="20577"/>
      <pc:docMkLst>
        <pc:docMk/>
      </pc:docMkLst>
      <pc:sldChg chg="addSp delSp">
        <pc:chgData name="Ahijado Martín-Navarro, Francisco Javier" userId="S::fjahijado@minsait.com::a59e24a7-27ae-49eb-81e2-64a969f0278c" providerId="AD" clId="Web-{7046773A-9583-41F9-BDFE-8881B5C9228D}" dt="2021-01-26T10:24:08.779" v="104"/>
        <pc:sldMkLst>
          <pc:docMk/>
          <pc:sldMk cId="660972296" sldId="469"/>
        </pc:sldMkLst>
        <pc:spChg chg="add del">
          <ac:chgData name="Ahijado Martín-Navarro, Francisco Javier" userId="S::fjahijado@minsait.com::a59e24a7-27ae-49eb-81e2-64a969f0278c" providerId="AD" clId="Web-{7046773A-9583-41F9-BDFE-8881B5C9228D}" dt="2021-01-26T10:24:08.779" v="104"/>
          <ac:spMkLst>
            <pc:docMk/>
            <pc:sldMk cId="660972296" sldId="469"/>
            <ac:spMk id="21" creationId="{D3561327-DDCC-4041-96B7-737407397CAC}"/>
          </ac:spMkLst>
        </pc:spChg>
      </pc:sldChg>
      <pc:sldChg chg="addSp delSp modSp add replId">
        <pc:chgData name="Ahijado Martín-Navarro, Francisco Javier" userId="S::fjahijado@minsait.com::a59e24a7-27ae-49eb-81e2-64a969f0278c" providerId="AD" clId="Web-{7046773A-9583-41F9-BDFE-8881B5C9228D}" dt="2021-01-26T10:25:32.749" v="171" actId="20577"/>
        <pc:sldMkLst>
          <pc:docMk/>
          <pc:sldMk cId="1703011282" sldId="470"/>
        </pc:sldMkLst>
        <pc:spChg chg="add mod">
          <ac:chgData name="Ahijado Martín-Navarro, Francisco Javier" userId="S::fjahijado@minsait.com::a59e24a7-27ae-49eb-81e2-64a969f0278c" providerId="AD" clId="Web-{7046773A-9583-41F9-BDFE-8881B5C9228D}" dt="2021-01-26T10:24:58.944" v="153" actId="20577"/>
          <ac:spMkLst>
            <pc:docMk/>
            <pc:sldMk cId="1703011282" sldId="470"/>
            <ac:spMk id="4" creationId="{432DE48C-BF6E-4857-9112-3D52D08D2F94}"/>
          </ac:spMkLst>
        </pc:spChg>
        <pc:spChg chg="del">
          <ac:chgData name="Ahijado Martín-Navarro, Francisco Javier" userId="S::fjahijado@minsait.com::a59e24a7-27ae-49eb-81e2-64a969f0278c" providerId="AD" clId="Web-{7046773A-9583-41F9-BDFE-8881B5C9228D}" dt="2021-01-26T10:22:58.433" v="73"/>
          <ac:spMkLst>
            <pc:docMk/>
            <pc:sldMk cId="1703011282" sldId="470"/>
            <ac:spMk id="25" creationId="{77035A87-CCB3-4316-8E5F-20347EB55580}"/>
          </ac:spMkLst>
        </pc:spChg>
        <pc:spChg chg="del">
          <ac:chgData name="Ahijado Martín-Navarro, Francisco Javier" userId="S::fjahijado@minsait.com::a59e24a7-27ae-49eb-81e2-64a969f0278c" providerId="AD" clId="Web-{7046773A-9583-41F9-BDFE-8881B5C9228D}" dt="2021-01-26T10:23:05.796" v="76"/>
          <ac:spMkLst>
            <pc:docMk/>
            <pc:sldMk cId="1703011282" sldId="470"/>
            <ac:spMk id="26" creationId="{F0A6CD66-212C-4E9F-BA7F-98669CF4771D}"/>
          </ac:spMkLst>
        </pc:spChg>
        <pc:spChg chg="mod">
          <ac:chgData name="Ahijado Martín-Navarro, Francisco Javier" userId="S::fjahijado@minsait.com::a59e24a7-27ae-49eb-81e2-64a969f0278c" providerId="AD" clId="Web-{7046773A-9583-41F9-BDFE-8881B5C9228D}" dt="2021-01-26T10:19:35.162" v="4" actId="20577"/>
          <ac:spMkLst>
            <pc:docMk/>
            <pc:sldMk cId="1703011282" sldId="470"/>
            <ac:spMk id="31" creationId="{0F4E0202-A252-624B-BDF1-C6AE5E8A25DE}"/>
          </ac:spMkLst>
        </pc:spChg>
        <pc:spChg chg="mod">
          <ac:chgData name="Ahijado Martín-Navarro, Francisco Javier" userId="S::fjahijado@minsait.com::a59e24a7-27ae-49eb-81e2-64a969f0278c" providerId="AD" clId="Web-{7046773A-9583-41F9-BDFE-8881B5C9228D}" dt="2021-01-26T10:20:19.916" v="23" actId="20577"/>
          <ac:spMkLst>
            <pc:docMk/>
            <pc:sldMk cId="1703011282" sldId="470"/>
            <ac:spMk id="37" creationId="{E4530058-C2FA-384F-825E-F61EC4296641}"/>
          </ac:spMkLst>
        </pc:spChg>
        <pc:spChg chg="del">
          <ac:chgData name="Ahijado Martín-Navarro, Francisco Javier" userId="S::fjahijado@minsait.com::a59e24a7-27ae-49eb-81e2-64a969f0278c" providerId="AD" clId="Web-{7046773A-9583-41F9-BDFE-8881B5C9228D}" dt="2021-01-26T10:23:02.652" v="75"/>
          <ac:spMkLst>
            <pc:docMk/>
            <pc:sldMk cId="1703011282" sldId="470"/>
            <ac:spMk id="40" creationId="{2671AB7D-9A8C-BF47-AEB3-28A9D0EE694D}"/>
          </ac:spMkLst>
        </pc:spChg>
        <pc:spChg chg="mod">
          <ac:chgData name="Ahijado Martín-Navarro, Francisco Javier" userId="S::fjahijado@minsait.com::a59e24a7-27ae-49eb-81e2-64a969f0278c" providerId="AD" clId="Web-{7046773A-9583-41F9-BDFE-8881B5C9228D}" dt="2021-01-26T10:25:32.749" v="171" actId="20577"/>
          <ac:spMkLst>
            <pc:docMk/>
            <pc:sldMk cId="1703011282" sldId="470"/>
            <ac:spMk id="41" creationId="{0F4E0202-A252-624B-BDF1-C6AE5E8A25DE}"/>
          </ac:spMkLst>
        </pc:spChg>
        <pc:spChg chg="del">
          <ac:chgData name="Ahijado Martín-Navarro, Francisco Javier" userId="S::fjahijado@minsait.com::a59e24a7-27ae-49eb-81e2-64a969f0278c" providerId="AD" clId="Web-{7046773A-9583-41F9-BDFE-8881B5C9228D}" dt="2021-01-26T10:22:58.433" v="74"/>
          <ac:spMkLst>
            <pc:docMk/>
            <pc:sldMk cId="1703011282" sldId="470"/>
            <ac:spMk id="45" creationId="{1813E8C3-18D9-0B4B-8FCA-406B39785552}"/>
          </ac:spMkLst>
        </pc:spChg>
        <pc:spChg chg="mod">
          <ac:chgData name="Ahijado Martín-Navarro, Francisco Javier" userId="S::fjahijado@minsait.com::a59e24a7-27ae-49eb-81e2-64a969f0278c" providerId="AD" clId="Web-{7046773A-9583-41F9-BDFE-8881B5C9228D}" dt="2021-01-26T10:21:59.135" v="65" actId="20577"/>
          <ac:spMkLst>
            <pc:docMk/>
            <pc:sldMk cId="1703011282" sldId="470"/>
            <ac:spMk id="51" creationId="{AB2E014F-704F-3649-A8CA-79AC24262337}"/>
          </ac:spMkLst>
        </pc:spChg>
        <pc:spChg chg="mod">
          <ac:chgData name="Ahijado Martín-Navarro, Francisco Javier" userId="S::fjahijado@minsait.com::a59e24a7-27ae-49eb-81e2-64a969f0278c" providerId="AD" clId="Web-{7046773A-9583-41F9-BDFE-8881B5C9228D}" dt="2021-01-26T10:22:16.776" v="72" actId="20577"/>
          <ac:spMkLst>
            <pc:docMk/>
            <pc:sldMk cId="1703011282" sldId="470"/>
            <ac:spMk id="56" creationId="{BE67F8B7-F4EB-B543-BD33-1314BDD2C39B}"/>
          </ac:spMkLst>
        </pc:spChg>
        <pc:spChg chg="del">
          <ac:chgData name="Ahijado Martín-Navarro, Francisco Javier" userId="S::fjahijado@minsait.com::a59e24a7-27ae-49eb-81e2-64a969f0278c" providerId="AD" clId="Web-{7046773A-9583-41F9-BDFE-8881B5C9228D}" dt="2021-01-26T10:21:06.821" v="36"/>
          <ac:spMkLst>
            <pc:docMk/>
            <pc:sldMk cId="1703011282" sldId="470"/>
            <ac:spMk id="71" creationId="{2A66A929-B846-D44F-959A-6C9F46C29E0F}"/>
          </ac:spMkLst>
        </pc:spChg>
        <pc:spChg chg="mod">
          <ac:chgData name="Ahijado Martín-Navarro, Francisco Javier" userId="S::fjahijado@minsait.com::a59e24a7-27ae-49eb-81e2-64a969f0278c" providerId="AD" clId="Web-{7046773A-9583-41F9-BDFE-8881B5C9228D}" dt="2021-01-26T10:21:16.259" v="39" actId="1076"/>
          <ac:spMkLst>
            <pc:docMk/>
            <pc:sldMk cId="1703011282" sldId="470"/>
            <ac:spMk id="72" creationId="{561F596E-21F8-694B-836D-BD069D539A49}"/>
          </ac:spMkLst>
        </pc:spChg>
        <pc:spChg chg="mod">
          <ac:chgData name="Ahijado Martín-Navarro, Francisco Javier" userId="S::fjahijado@minsait.com::a59e24a7-27ae-49eb-81e2-64a969f0278c" providerId="AD" clId="Web-{7046773A-9583-41F9-BDFE-8881B5C9228D}" dt="2021-01-26T10:21:16.305" v="40" actId="1076"/>
          <ac:spMkLst>
            <pc:docMk/>
            <pc:sldMk cId="1703011282" sldId="470"/>
            <ac:spMk id="73" creationId="{592FED21-684F-1C48-9233-F269DFEF0F10}"/>
          </ac:spMkLst>
        </pc:spChg>
        <pc:spChg chg="del">
          <ac:chgData name="Ahijado Martín-Navarro, Francisco Javier" userId="S::fjahijado@minsait.com::a59e24a7-27ae-49eb-81e2-64a969f0278c" providerId="AD" clId="Web-{7046773A-9583-41F9-BDFE-8881B5C9228D}" dt="2021-01-26T10:21:06.821" v="35"/>
          <ac:spMkLst>
            <pc:docMk/>
            <pc:sldMk cId="1703011282" sldId="470"/>
            <ac:spMk id="74" creationId="{7B82553E-CC55-FE4B-A11B-DE0E22DC5EE6}"/>
          </ac:spMkLst>
        </pc:spChg>
        <pc:graphicFrameChg chg="add mod modGraphic">
          <ac:chgData name="Ahijado Martín-Navarro, Francisco Javier" userId="S::fjahijado@minsait.com::a59e24a7-27ae-49eb-81e2-64a969f0278c" providerId="AD" clId="Web-{7046773A-9583-41F9-BDFE-8881B5C9228D}" dt="2021-01-26T10:23:49.406" v="102"/>
          <ac:graphicFrameMkLst>
            <pc:docMk/>
            <pc:sldMk cId="1703011282" sldId="470"/>
            <ac:graphicFrameMk id="3" creationId="{7C7B77F9-1045-4503-93F5-D4005C188AB0}"/>
          </ac:graphicFrameMkLst>
        </pc:graphicFrameChg>
      </pc:sldChg>
      <pc:sldChg chg="addSp delSp modSp add replId">
        <pc:chgData name="Ahijado Martín-Navarro, Francisco Javier" userId="S::fjahijado@minsait.com::a59e24a7-27ae-49eb-81e2-64a969f0278c" providerId="AD" clId="Web-{7046773A-9583-41F9-BDFE-8881B5C9228D}" dt="2021-01-26T10:29:55.647" v="400" actId="20577"/>
        <pc:sldMkLst>
          <pc:docMk/>
          <pc:sldMk cId="1258150657" sldId="471"/>
        </pc:sldMkLst>
        <pc:spChg chg="mod">
          <ac:chgData name="Ahijado Martín-Navarro, Francisco Javier" userId="S::fjahijado@minsait.com::a59e24a7-27ae-49eb-81e2-64a969f0278c" providerId="AD" clId="Web-{7046773A-9583-41F9-BDFE-8881B5C9228D}" dt="2021-01-26T10:29:55.647" v="400" actId="20577"/>
          <ac:spMkLst>
            <pc:docMk/>
            <pc:sldMk cId="1258150657" sldId="471"/>
            <ac:spMk id="4" creationId="{432DE48C-BF6E-4857-9112-3D52D08D2F94}"/>
          </ac:spMkLst>
        </pc:spChg>
        <pc:spChg chg="add mod">
          <ac:chgData name="Ahijado Martín-Navarro, Francisco Javier" userId="S::fjahijado@minsait.com::a59e24a7-27ae-49eb-81e2-64a969f0278c" providerId="AD" clId="Web-{7046773A-9583-41F9-BDFE-8881B5C9228D}" dt="2021-01-26T10:29:04.895" v="340" actId="20577"/>
          <ac:spMkLst>
            <pc:docMk/>
            <pc:sldMk cId="1258150657" sldId="471"/>
            <ac:spMk id="18" creationId="{B1291AC3-7E84-4760-8D51-7ECB491AC5CF}"/>
          </ac:spMkLst>
        </pc:spChg>
        <pc:spChg chg="mod">
          <ac:chgData name="Ahijado Martín-Navarro, Francisco Javier" userId="S::fjahijado@minsait.com::a59e24a7-27ae-49eb-81e2-64a969f0278c" providerId="AD" clId="Web-{7046773A-9583-41F9-BDFE-8881B5C9228D}" dt="2021-01-26T10:25:44.922" v="175" actId="20577"/>
          <ac:spMkLst>
            <pc:docMk/>
            <pc:sldMk cId="1258150657" sldId="471"/>
            <ac:spMk id="31" creationId="{0F4E0202-A252-624B-BDF1-C6AE5E8A25DE}"/>
          </ac:spMkLst>
        </pc:spChg>
        <pc:spChg chg="mod">
          <ac:chgData name="Ahijado Martín-Navarro, Francisco Javier" userId="S::fjahijado@minsait.com::a59e24a7-27ae-49eb-81e2-64a969f0278c" providerId="AD" clId="Web-{7046773A-9583-41F9-BDFE-8881B5C9228D}" dt="2021-01-26T10:25:38.390" v="173" actId="20577"/>
          <ac:spMkLst>
            <pc:docMk/>
            <pc:sldMk cId="1258150657" sldId="471"/>
            <ac:spMk id="41" creationId="{0F4E0202-A252-624B-BDF1-C6AE5E8A25DE}"/>
          </ac:spMkLst>
        </pc:spChg>
        <pc:spChg chg="del">
          <ac:chgData name="Ahijado Martín-Navarro, Francisco Javier" userId="S::fjahijado@minsait.com::a59e24a7-27ae-49eb-81e2-64a969f0278c" providerId="AD" clId="Web-{7046773A-9583-41F9-BDFE-8881B5C9228D}" dt="2021-01-26T10:27:08.705" v="248"/>
          <ac:spMkLst>
            <pc:docMk/>
            <pc:sldMk cId="1258150657" sldId="471"/>
            <ac:spMk id="44" creationId="{920CDAA3-74D2-6940-8900-4AABDD5BE40B}"/>
          </ac:spMkLst>
        </pc:spChg>
        <pc:spChg chg="del">
          <ac:chgData name="Ahijado Martín-Navarro, Francisco Javier" userId="S::fjahijado@minsait.com::a59e24a7-27ae-49eb-81e2-64a969f0278c" providerId="AD" clId="Web-{7046773A-9583-41F9-BDFE-8881B5C9228D}" dt="2021-01-26T10:27:05.892" v="247"/>
          <ac:spMkLst>
            <pc:docMk/>
            <pc:sldMk cId="1258150657" sldId="471"/>
            <ac:spMk id="51" creationId="{AB2E014F-704F-3649-A8CA-79AC24262337}"/>
          </ac:spMkLst>
        </pc:spChg>
        <pc:spChg chg="del">
          <ac:chgData name="Ahijado Martín-Navarro, Francisco Javier" userId="S::fjahijado@minsait.com::a59e24a7-27ae-49eb-81e2-64a969f0278c" providerId="AD" clId="Web-{7046773A-9583-41F9-BDFE-8881B5C9228D}" dt="2021-01-26T10:26:43.689" v="230"/>
          <ac:spMkLst>
            <pc:docMk/>
            <pc:sldMk cId="1258150657" sldId="471"/>
            <ac:spMk id="72" creationId="{561F596E-21F8-694B-836D-BD069D539A49}"/>
          </ac:spMkLst>
        </pc:spChg>
        <pc:spChg chg="mod">
          <ac:chgData name="Ahijado Martín-Navarro, Francisco Javier" userId="S::fjahijado@minsait.com::a59e24a7-27ae-49eb-81e2-64a969f0278c" providerId="AD" clId="Web-{7046773A-9583-41F9-BDFE-8881B5C9228D}" dt="2021-01-26T10:27:03.455" v="246" actId="20577"/>
          <ac:spMkLst>
            <pc:docMk/>
            <pc:sldMk cId="1258150657" sldId="471"/>
            <ac:spMk id="73" creationId="{592FED21-684F-1C48-9233-F269DFEF0F10}"/>
          </ac:spMkLst>
        </pc:spChg>
        <pc:graphicFrameChg chg="del">
          <ac:chgData name="Ahijado Martín-Navarro, Francisco Javier" userId="S::fjahijado@minsait.com::a59e24a7-27ae-49eb-81e2-64a969f0278c" providerId="AD" clId="Web-{7046773A-9583-41F9-BDFE-8881B5C9228D}" dt="2021-01-26T10:27:21.862" v="249"/>
          <ac:graphicFrameMkLst>
            <pc:docMk/>
            <pc:sldMk cId="1258150657" sldId="471"/>
            <ac:graphicFrameMk id="3" creationId="{7C7B77F9-1045-4503-93F5-D4005C188AB0}"/>
          </ac:graphicFrameMkLst>
        </pc:graphicFrameChg>
        <pc:picChg chg="add del mod">
          <ac:chgData name="Ahijado Martín-Navarro, Francisco Javier" userId="S::fjahijado@minsait.com::a59e24a7-27ae-49eb-81e2-64a969f0278c" providerId="AD" clId="Web-{7046773A-9583-41F9-BDFE-8881B5C9228D}" dt="2021-01-26T10:27:30.940" v="253"/>
          <ac:picMkLst>
            <pc:docMk/>
            <pc:sldMk cId="1258150657" sldId="471"/>
            <ac:picMk id="2" creationId="{FBC4F7E7-8673-487A-82BD-EC2201DC0289}"/>
          </ac:picMkLst>
        </pc:picChg>
      </pc:sldChg>
    </pc:docChg>
  </pc:docChgLst>
  <pc:docChgLst>
    <pc:chgData name="Garralda Barrio, Mariano" userId="S::mgarralda@minsait.com::03140a19-4145-4e27-a44b-827c938547ef" providerId="AD" clId="Web-{56BC6436-78F8-44EE-BED3-7E903D09A831}"/>
    <pc:docChg chg="modSld">
      <pc:chgData name="Garralda Barrio, Mariano" userId="S::mgarralda@minsait.com::03140a19-4145-4e27-a44b-827c938547ef" providerId="AD" clId="Web-{56BC6436-78F8-44EE-BED3-7E903D09A831}" dt="2021-06-29T10:07:55.054" v="562" actId="20577"/>
      <pc:docMkLst>
        <pc:docMk/>
      </pc:docMkLst>
      <pc:sldChg chg="addSp delSp modSp">
        <pc:chgData name="Garralda Barrio, Mariano" userId="S::mgarralda@minsait.com::03140a19-4145-4e27-a44b-827c938547ef" providerId="AD" clId="Web-{56BC6436-78F8-44EE-BED3-7E903D09A831}" dt="2021-06-29T10:07:55.054" v="562" actId="20577"/>
        <pc:sldMkLst>
          <pc:docMk/>
          <pc:sldMk cId="2017518982" sldId="492"/>
        </pc:sldMkLst>
        <pc:spChg chg="add mod">
          <ac:chgData name="Garralda Barrio, Mariano" userId="S::mgarralda@minsait.com::03140a19-4145-4e27-a44b-827c938547ef" providerId="AD" clId="Web-{56BC6436-78F8-44EE-BED3-7E903D09A831}" dt="2021-06-29T09:42:11.625" v="18" actId="20577"/>
          <ac:spMkLst>
            <pc:docMk/>
            <pc:sldMk cId="2017518982" sldId="492"/>
            <ac:spMk id="26" creationId="{2E626D57-4A73-4401-8655-F9DE8EFEABBA}"/>
          </ac:spMkLst>
        </pc:spChg>
        <pc:spChg chg="mod">
          <ac:chgData name="Garralda Barrio, Mariano" userId="S::mgarralda@minsait.com::03140a19-4145-4e27-a44b-827c938547ef" providerId="AD" clId="Web-{56BC6436-78F8-44EE-BED3-7E903D09A831}" dt="2021-06-29T09:46:52.460" v="78" actId="1076"/>
          <ac:spMkLst>
            <pc:docMk/>
            <pc:sldMk cId="2017518982" sldId="492"/>
            <ac:spMk id="30" creationId="{2427939C-DBF8-48F1-91EE-B809ED2B8647}"/>
          </ac:spMkLst>
        </pc:spChg>
        <pc:spChg chg="add del mod">
          <ac:chgData name="Garralda Barrio, Mariano" userId="S::mgarralda@minsait.com::03140a19-4145-4e27-a44b-827c938547ef" providerId="AD" clId="Web-{56BC6436-78F8-44EE-BED3-7E903D09A831}" dt="2021-06-29T09:51:41.904" v="132"/>
          <ac:spMkLst>
            <pc:docMk/>
            <pc:sldMk cId="2017518982" sldId="492"/>
            <ac:spMk id="31" creationId="{8EF580CC-8B98-4158-92D2-00D05253114E}"/>
          </ac:spMkLst>
        </pc:spChg>
        <pc:spChg chg="add mod">
          <ac:chgData name="Garralda Barrio, Mariano" userId="S::mgarralda@minsait.com::03140a19-4145-4e27-a44b-827c938547ef" providerId="AD" clId="Web-{56BC6436-78F8-44EE-BED3-7E903D09A831}" dt="2021-06-29T09:55:51.848" v="185" actId="1076"/>
          <ac:spMkLst>
            <pc:docMk/>
            <pc:sldMk cId="2017518982" sldId="492"/>
            <ac:spMk id="33" creationId="{59E7FDF5-8848-4483-B599-B0F490623CFB}"/>
          </ac:spMkLst>
        </pc:spChg>
        <pc:spChg chg="add del mod">
          <ac:chgData name="Garralda Barrio, Mariano" userId="S::mgarralda@minsait.com::03140a19-4145-4e27-a44b-827c938547ef" providerId="AD" clId="Web-{56BC6436-78F8-44EE-BED3-7E903D09A831}" dt="2021-06-29T10:00:48.262" v="369" actId="1076"/>
          <ac:spMkLst>
            <pc:docMk/>
            <pc:sldMk cId="2017518982" sldId="492"/>
            <ac:spMk id="34" creationId="{494DBDE4-FAF0-488B-AC67-6C7848DE3F81}"/>
          </ac:spMkLst>
        </pc:spChg>
        <pc:spChg chg="mod">
          <ac:chgData name="Garralda Barrio, Mariano" userId="S::mgarralda@minsait.com::03140a19-4145-4e27-a44b-827c938547ef" providerId="AD" clId="Web-{56BC6436-78F8-44EE-BED3-7E903D09A831}" dt="2021-06-29T09:52:26.249" v="157" actId="1076"/>
          <ac:spMkLst>
            <pc:docMk/>
            <pc:sldMk cId="2017518982" sldId="492"/>
            <ac:spMk id="96" creationId="{00000000-0000-0000-0000-000000000000}"/>
          </ac:spMkLst>
        </pc:spChg>
        <pc:spChg chg="mod">
          <ac:chgData name="Garralda Barrio, Mariano" userId="S::mgarralda@minsait.com::03140a19-4145-4e27-a44b-827c938547ef" providerId="AD" clId="Web-{56BC6436-78F8-44EE-BED3-7E903D09A831}" dt="2021-06-29T10:07:55.054" v="562" actId="20577"/>
          <ac:spMkLst>
            <pc:docMk/>
            <pc:sldMk cId="2017518982" sldId="492"/>
            <ac:spMk id="97" creationId="{00000000-0000-0000-0000-000000000000}"/>
          </ac:spMkLst>
        </pc:spChg>
        <pc:spChg chg="mod">
          <ac:chgData name="Garralda Barrio, Mariano" userId="S::mgarralda@minsait.com::03140a19-4145-4e27-a44b-827c938547ef" providerId="AD" clId="Web-{56BC6436-78F8-44EE-BED3-7E903D09A831}" dt="2021-06-29T09:54:28.909" v="178" actId="1076"/>
          <ac:spMkLst>
            <pc:docMk/>
            <pc:sldMk cId="2017518982" sldId="492"/>
            <ac:spMk id="102" creationId="{00000000-0000-0000-0000-000000000000}"/>
          </ac:spMkLst>
        </pc:spChg>
        <pc:spChg chg="mod">
          <ac:chgData name="Garralda Barrio, Mariano" userId="S::mgarralda@minsait.com::03140a19-4145-4e27-a44b-827c938547ef" providerId="AD" clId="Web-{56BC6436-78F8-44EE-BED3-7E903D09A831}" dt="2021-06-29T09:55:49.114" v="184" actId="1076"/>
          <ac:spMkLst>
            <pc:docMk/>
            <pc:sldMk cId="2017518982" sldId="492"/>
            <ac:spMk id="109" creationId="{00000000-0000-0000-0000-000000000000}"/>
          </ac:spMkLst>
        </pc:spChg>
        <pc:spChg chg="mod">
          <ac:chgData name="Garralda Barrio, Mariano" userId="S::mgarralda@minsait.com::03140a19-4145-4e27-a44b-827c938547ef" providerId="AD" clId="Web-{56BC6436-78F8-44EE-BED3-7E903D09A831}" dt="2021-06-29T10:00:53.809" v="370" actId="1076"/>
          <ac:spMkLst>
            <pc:docMk/>
            <pc:sldMk cId="2017518982" sldId="492"/>
            <ac:spMk id="110" creationId="{00000000-0000-0000-0000-000000000000}"/>
          </ac:spMkLst>
        </pc:spChg>
        <pc:spChg chg="mod">
          <ac:chgData name="Garralda Barrio, Mariano" userId="S::mgarralda@minsait.com::03140a19-4145-4e27-a44b-827c938547ef" providerId="AD" clId="Web-{56BC6436-78F8-44EE-BED3-7E903D09A831}" dt="2021-06-29T09:55:43.004" v="183" actId="1076"/>
          <ac:spMkLst>
            <pc:docMk/>
            <pc:sldMk cId="2017518982" sldId="492"/>
            <ac:spMk id="111" creationId="{00000000-0000-0000-0000-000000000000}"/>
          </ac:spMkLst>
        </pc:spChg>
        <pc:spChg chg="mod">
          <ac:chgData name="Garralda Barrio, Mariano" userId="S::mgarralda@minsait.com::03140a19-4145-4e27-a44b-827c938547ef" providerId="AD" clId="Web-{56BC6436-78F8-44EE-BED3-7E903D09A831}" dt="2021-06-29T09:46:31.412" v="74" actId="1076"/>
          <ac:spMkLst>
            <pc:docMk/>
            <pc:sldMk cId="2017518982" sldId="492"/>
            <ac:spMk id="113" creationId="{00000000-0000-0000-0000-000000000000}"/>
          </ac:spMkLst>
        </pc:spChg>
        <pc:spChg chg="mod">
          <ac:chgData name="Garralda Barrio, Mariano" userId="S::mgarralda@minsait.com::03140a19-4145-4e27-a44b-827c938547ef" providerId="AD" clId="Web-{56BC6436-78F8-44EE-BED3-7E903D09A831}" dt="2021-06-29T10:01:12.403" v="371" actId="1076"/>
          <ac:spMkLst>
            <pc:docMk/>
            <pc:sldMk cId="2017518982" sldId="492"/>
            <ac:spMk id="114" creationId="{00000000-0000-0000-0000-000000000000}"/>
          </ac:spMkLst>
        </pc:spChg>
        <pc:spChg chg="mod">
          <ac:chgData name="Garralda Barrio, Mariano" userId="S::mgarralda@minsait.com::03140a19-4145-4e27-a44b-827c938547ef" providerId="AD" clId="Web-{56BC6436-78F8-44EE-BED3-7E903D09A831}" dt="2021-06-29T09:47:13.351" v="83" actId="1076"/>
          <ac:spMkLst>
            <pc:docMk/>
            <pc:sldMk cId="2017518982" sldId="492"/>
            <ac:spMk id="117" creationId="{00000000-0000-0000-0000-000000000000}"/>
          </ac:spMkLst>
        </pc:spChg>
      </pc:sldChg>
    </pc:docChg>
  </pc:docChgLst>
  <pc:docChgLst>
    <pc:chgData name="González Uriarte, Guillermo" userId="S::gguriarte@minsait.com::21c8d51d-d2c1-4f79-8904-8333abcf2908" providerId="AD" clId="Web-{F0BF791B-44E7-4E81-AF10-A30124006926}"/>
    <pc:docChg chg="modSld">
      <pc:chgData name="González Uriarte, Guillermo" userId="S::gguriarte@minsait.com::21c8d51d-d2c1-4f79-8904-8333abcf2908" providerId="AD" clId="Web-{F0BF791B-44E7-4E81-AF10-A30124006926}" dt="2021-06-21T10:48:57.950" v="10" actId="20577"/>
      <pc:docMkLst>
        <pc:docMk/>
      </pc:docMkLst>
      <pc:sldChg chg="modSp">
        <pc:chgData name="González Uriarte, Guillermo" userId="S::gguriarte@minsait.com::21c8d51d-d2c1-4f79-8904-8333abcf2908" providerId="AD" clId="Web-{F0BF791B-44E7-4E81-AF10-A30124006926}" dt="2021-06-21T10:48:57.950" v="10" actId="20577"/>
        <pc:sldMkLst>
          <pc:docMk/>
          <pc:sldMk cId="1353062943" sldId="487"/>
        </pc:sldMkLst>
        <pc:spChg chg="mod">
          <ac:chgData name="González Uriarte, Guillermo" userId="S::gguriarte@minsait.com::21c8d51d-d2c1-4f79-8904-8333abcf2908" providerId="AD" clId="Web-{F0BF791B-44E7-4E81-AF10-A30124006926}" dt="2021-06-21T10:48:19.199" v="5" actId="20577"/>
          <ac:spMkLst>
            <pc:docMk/>
            <pc:sldMk cId="1353062943" sldId="487"/>
            <ac:spMk id="103" creationId="{00000000-0000-0000-0000-000000000000}"/>
          </ac:spMkLst>
        </pc:spChg>
        <pc:spChg chg="mod">
          <ac:chgData name="González Uriarte, Guillermo" userId="S::gguriarte@minsait.com::21c8d51d-d2c1-4f79-8904-8333abcf2908" providerId="AD" clId="Web-{F0BF791B-44E7-4E81-AF10-A30124006926}" dt="2021-06-21T10:45:37.086" v="1" actId="20577"/>
          <ac:spMkLst>
            <pc:docMk/>
            <pc:sldMk cId="1353062943" sldId="487"/>
            <ac:spMk id="110" creationId="{00000000-0000-0000-0000-000000000000}"/>
          </ac:spMkLst>
        </pc:spChg>
        <pc:spChg chg="mod">
          <ac:chgData name="González Uriarte, Guillermo" userId="S::gguriarte@minsait.com::21c8d51d-d2c1-4f79-8904-8333abcf2908" providerId="AD" clId="Web-{F0BF791B-44E7-4E81-AF10-A30124006926}" dt="2021-06-21T10:48:57.950" v="10" actId="20577"/>
          <ac:spMkLst>
            <pc:docMk/>
            <pc:sldMk cId="1353062943" sldId="487"/>
            <ac:spMk id="111" creationId="{00000000-0000-0000-0000-000000000000}"/>
          </ac:spMkLst>
        </pc:spChg>
      </pc:sldChg>
    </pc:docChg>
  </pc:docChgLst>
  <pc:docChgLst>
    <pc:chgData name="Moreno Valero, Juan Andrés" userId="S::jamvalero@minsait.com::c2a29a12-9d48-4ccc-b16d-de0b4daa98fc" providerId="AD" clId="Web-{CE21257B-2A05-4823-A349-CC9EE6182A94}"/>
    <pc:docChg chg="modSld">
      <pc:chgData name="Moreno Valero, Juan Andrés" userId="S::jamvalero@minsait.com::c2a29a12-9d48-4ccc-b16d-de0b4daa98fc" providerId="AD" clId="Web-{CE21257B-2A05-4823-A349-CC9EE6182A94}" dt="2021-06-28T11:46:44.365" v="17" actId="20577"/>
      <pc:docMkLst>
        <pc:docMk/>
      </pc:docMkLst>
      <pc:sldChg chg="modSp">
        <pc:chgData name="Moreno Valero, Juan Andrés" userId="S::jamvalero@minsait.com::c2a29a12-9d48-4ccc-b16d-de0b4daa98fc" providerId="AD" clId="Web-{CE21257B-2A05-4823-A349-CC9EE6182A94}" dt="2021-06-28T11:46:44.365" v="17" actId="20577"/>
        <pc:sldMkLst>
          <pc:docMk/>
          <pc:sldMk cId="3693349192" sldId="467"/>
        </pc:sldMkLst>
        <pc:spChg chg="mod">
          <ac:chgData name="Moreno Valero, Juan Andrés" userId="S::jamvalero@minsait.com::c2a29a12-9d48-4ccc-b16d-de0b4daa98fc" providerId="AD" clId="Web-{CE21257B-2A05-4823-A349-CC9EE6182A94}" dt="2021-06-28T11:46:44.365" v="17" actId="20577"/>
          <ac:spMkLst>
            <pc:docMk/>
            <pc:sldMk cId="3693349192" sldId="467"/>
            <ac:spMk id="45" creationId="{1813E8C3-18D9-0B4B-8FCA-406B39785552}"/>
          </ac:spMkLst>
        </pc:spChg>
      </pc:sldChg>
    </pc:docChg>
  </pc:docChgLst>
  <pc:docChgLst>
    <pc:chgData name="Pérez Campo, Juan Carlos" userId="S::jcperezc@minsait.com::d6a703b6-09dc-4446-8583-aa5de42703d0" providerId="AD" clId="Web-{19C73990-E484-4F47-A5BD-7D91620D4F1E}"/>
    <pc:docChg chg="modSld">
      <pc:chgData name="Pérez Campo, Juan Carlos" userId="S::jcperezc@minsait.com::d6a703b6-09dc-4446-8583-aa5de42703d0" providerId="AD" clId="Web-{19C73990-E484-4F47-A5BD-7D91620D4F1E}" dt="2021-06-28T14:46:00.864" v="36"/>
      <pc:docMkLst>
        <pc:docMk/>
      </pc:docMkLst>
      <pc:sldChg chg="delSp modSp">
        <pc:chgData name="Pérez Campo, Juan Carlos" userId="S::jcperezc@minsait.com::d6a703b6-09dc-4446-8583-aa5de42703d0" providerId="AD" clId="Web-{19C73990-E484-4F47-A5BD-7D91620D4F1E}" dt="2021-06-28T14:46:00.864" v="36"/>
        <pc:sldMkLst>
          <pc:docMk/>
          <pc:sldMk cId="1860150701" sldId="471"/>
        </pc:sldMkLst>
        <pc:spChg chg="del mod">
          <ac:chgData name="Pérez Campo, Juan Carlos" userId="S::jcperezc@minsait.com::d6a703b6-09dc-4446-8583-aa5de42703d0" providerId="AD" clId="Web-{19C73990-E484-4F47-A5BD-7D91620D4F1E}" dt="2021-06-28T14:46:00.864" v="36"/>
          <ac:spMkLst>
            <pc:docMk/>
            <pc:sldMk cId="1860150701" sldId="471"/>
            <ac:spMk id="42" creationId="{00000000-0000-0000-0000-000000000000}"/>
          </ac:spMkLst>
        </pc:spChg>
        <pc:spChg chg="mod">
          <ac:chgData name="Pérez Campo, Juan Carlos" userId="S::jcperezc@minsait.com::d6a703b6-09dc-4446-8583-aa5de42703d0" providerId="AD" clId="Web-{19C73990-E484-4F47-A5BD-7D91620D4F1E}" dt="2021-06-28T14:41:19.858" v="16" actId="1076"/>
          <ac:spMkLst>
            <pc:docMk/>
            <pc:sldMk cId="1860150701" sldId="471"/>
            <ac:spMk id="44" creationId="{920CDAA3-74D2-6940-8900-4AABDD5BE40B}"/>
          </ac:spMkLst>
        </pc:spChg>
        <pc:spChg chg="mod">
          <ac:chgData name="Pérez Campo, Juan Carlos" userId="S::jcperezc@minsait.com::d6a703b6-09dc-4446-8583-aa5de42703d0" providerId="AD" clId="Web-{19C73990-E484-4F47-A5BD-7D91620D4F1E}" dt="2021-06-28T14:43:50.408" v="34" actId="20577"/>
          <ac:spMkLst>
            <pc:docMk/>
            <pc:sldMk cId="1860150701" sldId="471"/>
            <ac:spMk id="51" creationId="{AB2E014F-704F-3649-A8CA-79AC24262337}"/>
          </ac:spMkLst>
        </pc:spChg>
        <pc:spChg chg="mod">
          <ac:chgData name="Pérez Campo, Juan Carlos" userId="S::jcperezc@minsait.com::d6a703b6-09dc-4446-8583-aa5de42703d0" providerId="AD" clId="Web-{19C73990-E484-4F47-A5BD-7D91620D4F1E}" dt="2021-06-28T14:41:07.530" v="15" actId="1076"/>
          <ac:spMkLst>
            <pc:docMk/>
            <pc:sldMk cId="1860150701" sldId="471"/>
            <ac:spMk id="53" creationId="{AB2E014F-704F-3649-A8CA-79AC24262337}"/>
          </ac:spMkLst>
        </pc:spChg>
      </pc:sldChg>
    </pc:docChg>
  </pc:docChgLst>
  <pc:docChgLst>
    <pc:chgData name="Moreno Valero, Juan Andrés" userId="S::jamvalero@minsait.com::c2a29a12-9d48-4ccc-b16d-de0b4daa98fc" providerId="AD" clId="Web-{70086748-DB5A-434B-A97B-32CB7E5B1BFB}"/>
    <pc:docChg chg="addSld modSld">
      <pc:chgData name="Moreno Valero, Juan Andrés" userId="S::jamvalero@minsait.com::c2a29a12-9d48-4ccc-b16d-de0b4daa98fc" providerId="AD" clId="Web-{70086748-DB5A-434B-A97B-32CB7E5B1BFB}" dt="2021-01-22T10:06:29.713" v="10" actId="20577"/>
      <pc:docMkLst>
        <pc:docMk/>
      </pc:docMkLst>
      <pc:sldChg chg="modSp add replId">
        <pc:chgData name="Moreno Valero, Juan Andrés" userId="S::jamvalero@minsait.com::c2a29a12-9d48-4ccc-b16d-de0b4daa98fc" providerId="AD" clId="Web-{70086748-DB5A-434B-A97B-32CB7E5B1BFB}" dt="2021-01-22T10:06:29.713" v="10" actId="20577"/>
        <pc:sldMkLst>
          <pc:docMk/>
          <pc:sldMk cId="3693349192" sldId="467"/>
        </pc:sldMkLst>
        <pc:spChg chg="mod">
          <ac:chgData name="Moreno Valero, Juan Andrés" userId="S::jamvalero@minsait.com::c2a29a12-9d48-4ccc-b16d-de0b4daa98fc" providerId="AD" clId="Web-{70086748-DB5A-434B-A97B-32CB7E5B1BFB}" dt="2021-01-22T10:06:29.713" v="10" actId="20577"/>
          <ac:spMkLst>
            <pc:docMk/>
            <pc:sldMk cId="3693349192" sldId="467"/>
            <ac:spMk id="31" creationId="{0F4E0202-A252-624B-BDF1-C6AE5E8A25DE}"/>
          </ac:spMkLst>
        </pc:spChg>
        <pc:spChg chg="mod">
          <ac:chgData name="Moreno Valero, Juan Andrés" userId="S::jamvalero@minsait.com::c2a29a12-9d48-4ccc-b16d-de0b4daa98fc" providerId="AD" clId="Web-{70086748-DB5A-434B-A97B-32CB7E5B1BFB}" dt="2021-01-22T10:06:26.229" v="8" actId="20577"/>
          <ac:spMkLst>
            <pc:docMk/>
            <pc:sldMk cId="3693349192" sldId="467"/>
            <ac:spMk id="41" creationId="{0F4E0202-A252-624B-BDF1-C6AE5E8A25DE}"/>
          </ac:spMkLst>
        </pc:spChg>
      </pc:sldChg>
    </pc:docChg>
  </pc:docChgLst>
  <pc:docChgLst>
    <pc:chgData name="Gonzalez Martinez, Jose Ramon" userId="S::jrgonzalezm@minsait.com::1a68d6a4-cd10-46f1-a1a9-dad9dad2f5ff" providerId="AD" clId="Web-{34454A30-09AA-482B-8A72-69DC076D0F90}"/>
    <pc:docChg chg="modSld">
      <pc:chgData name="Gonzalez Martinez, Jose Ramon" userId="S::jrgonzalezm@minsait.com::1a68d6a4-cd10-46f1-a1a9-dad9dad2f5ff" providerId="AD" clId="Web-{34454A30-09AA-482B-8A72-69DC076D0F90}" dt="2021-07-02T10:45:02.205" v="12" actId="20577"/>
      <pc:docMkLst>
        <pc:docMk/>
      </pc:docMkLst>
      <pc:sldChg chg="modSp">
        <pc:chgData name="Gonzalez Martinez, Jose Ramon" userId="S::jrgonzalezm@minsait.com::1a68d6a4-cd10-46f1-a1a9-dad9dad2f5ff" providerId="AD" clId="Web-{34454A30-09AA-482B-8A72-69DC076D0F90}" dt="2021-07-02T10:45:02.205" v="12" actId="20577"/>
        <pc:sldMkLst>
          <pc:docMk/>
          <pc:sldMk cId="569506967" sldId="468"/>
        </pc:sldMkLst>
        <pc:spChg chg="mod">
          <ac:chgData name="Gonzalez Martinez, Jose Ramon" userId="S::jrgonzalezm@minsait.com::1a68d6a4-cd10-46f1-a1a9-dad9dad2f5ff" providerId="AD" clId="Web-{34454A30-09AA-482B-8A72-69DC076D0F90}" dt="2021-07-02T10:45:02.205" v="12" actId="20577"/>
          <ac:spMkLst>
            <pc:docMk/>
            <pc:sldMk cId="569506967" sldId="468"/>
            <ac:spMk id="99" creationId="{00000000-0000-0000-0000-000000000000}"/>
          </ac:spMkLst>
        </pc:spChg>
      </pc:sldChg>
    </pc:docChg>
  </pc:docChgLst>
  <pc:docChgLst>
    <pc:chgData name="Falgueras Casals, Aleix" userId="S::afalgueras@eservicios.indra.es::70c01417-5760-451c-8dd7-67b7e8b1b53d" providerId="AD" clId="Web-{FD53DF57-81C2-4F05-BE1B-4844B8EF791F}"/>
    <pc:docChg chg="modSld">
      <pc:chgData name="Falgueras Casals, Aleix" userId="S::afalgueras@eservicios.indra.es::70c01417-5760-451c-8dd7-67b7e8b1b53d" providerId="AD" clId="Web-{FD53DF57-81C2-4F05-BE1B-4844B8EF791F}" dt="2021-07-02T10:43:48.998" v="271" actId="1076"/>
      <pc:docMkLst>
        <pc:docMk/>
      </pc:docMkLst>
      <pc:sldChg chg="addSp delSp modSp">
        <pc:chgData name="Falgueras Casals, Aleix" userId="S::afalgueras@eservicios.indra.es::70c01417-5760-451c-8dd7-67b7e8b1b53d" providerId="AD" clId="Web-{FD53DF57-81C2-4F05-BE1B-4844B8EF791F}" dt="2021-07-02T10:43:48.998" v="271" actId="1076"/>
        <pc:sldMkLst>
          <pc:docMk/>
          <pc:sldMk cId="2877741170" sldId="508"/>
        </pc:sldMkLst>
        <pc:spChg chg="add del">
          <ac:chgData name="Falgueras Casals, Aleix" userId="S::afalgueras@eservicios.indra.es::70c01417-5760-451c-8dd7-67b7e8b1b53d" providerId="AD" clId="Web-{FD53DF57-81C2-4F05-BE1B-4844B8EF791F}" dt="2021-07-02T10:38:21.333" v="164"/>
          <ac:spMkLst>
            <pc:docMk/>
            <pc:sldMk cId="2877741170" sldId="508"/>
            <ac:spMk id="2" creationId="{0EF0F394-9DA6-400D-BEDF-D5E4BEE5EE0E}"/>
          </ac:spMkLst>
        </pc:spChg>
        <pc:spChg chg="add mod">
          <ac:chgData name="Falgueras Casals, Aleix" userId="S::afalgueras@eservicios.indra.es::70c01417-5760-451c-8dd7-67b7e8b1b53d" providerId="AD" clId="Web-{FD53DF57-81C2-4F05-BE1B-4844B8EF791F}" dt="2021-07-02T10:38:46.256" v="169" actId="20577"/>
          <ac:spMkLst>
            <pc:docMk/>
            <pc:sldMk cId="2877741170" sldId="508"/>
            <ac:spMk id="3" creationId="{88C56DFE-7779-4171-B1F5-FF481C2E8F14}"/>
          </ac:spMkLst>
        </pc:spChg>
        <pc:spChg chg="add">
          <ac:chgData name="Falgueras Casals, Aleix" userId="S::afalgueras@eservicios.indra.es::70c01417-5760-451c-8dd7-67b7e8b1b53d" providerId="AD" clId="Web-{FD53DF57-81C2-4F05-BE1B-4844B8EF791F}" dt="2021-07-02T10:38:54.240" v="171"/>
          <ac:spMkLst>
            <pc:docMk/>
            <pc:sldMk cId="2877741170" sldId="508"/>
            <ac:spMk id="4" creationId="{B8348094-0C85-4FB3-872C-5BF4BFAA1D16}"/>
          </ac:spMkLst>
        </pc:spChg>
        <pc:spChg chg="del">
          <ac:chgData name="Falgueras Casals, Aleix" userId="S::afalgueras@eservicios.indra.es::70c01417-5760-451c-8dd7-67b7e8b1b53d" providerId="AD" clId="Web-{FD53DF57-81C2-4F05-BE1B-4844B8EF791F}" dt="2021-07-02T10:30:33.243" v="0"/>
          <ac:spMkLst>
            <pc:docMk/>
            <pc:sldMk cId="2877741170" sldId="508"/>
            <ac:spMk id="26" creationId="{00000000-0000-0000-0000-000000000000}"/>
          </ac:spMkLst>
        </pc:spChg>
        <pc:spChg chg="mod">
          <ac:chgData name="Falgueras Casals, Aleix" userId="S::afalgueras@eservicios.indra.es::70c01417-5760-451c-8dd7-67b7e8b1b53d" providerId="AD" clId="Web-{FD53DF57-81C2-4F05-BE1B-4844B8EF791F}" dt="2021-07-02T10:43:13.903" v="266" actId="1076"/>
          <ac:spMkLst>
            <pc:docMk/>
            <pc:sldMk cId="2877741170" sldId="508"/>
            <ac:spMk id="27" creationId="{00000000-0000-0000-0000-000000000000}"/>
          </ac:spMkLst>
        </pc:spChg>
        <pc:spChg chg="del">
          <ac:chgData name="Falgueras Casals, Aleix" userId="S::afalgueras@eservicios.indra.es::70c01417-5760-451c-8dd7-67b7e8b1b53d" providerId="AD" clId="Web-{FD53DF57-81C2-4F05-BE1B-4844B8EF791F}" dt="2021-07-02T10:36:11.564" v="154"/>
          <ac:spMkLst>
            <pc:docMk/>
            <pc:sldMk cId="2877741170" sldId="508"/>
            <ac:spMk id="28" creationId="{00000000-0000-0000-0000-000000000000}"/>
          </ac:spMkLst>
        </pc:spChg>
        <pc:spChg chg="del">
          <ac:chgData name="Falgueras Casals, Aleix" userId="S::afalgueras@eservicios.indra.es::70c01417-5760-451c-8dd7-67b7e8b1b53d" providerId="AD" clId="Web-{FD53DF57-81C2-4F05-BE1B-4844B8EF791F}" dt="2021-07-02T10:36:13.486" v="155"/>
          <ac:spMkLst>
            <pc:docMk/>
            <pc:sldMk cId="2877741170" sldId="508"/>
            <ac:spMk id="29" creationId="{00000000-0000-0000-0000-000000000000}"/>
          </ac:spMkLst>
        </pc:spChg>
        <pc:spChg chg="mod">
          <ac:chgData name="Falgueras Casals, Aleix" userId="S::afalgueras@eservicios.indra.es::70c01417-5760-451c-8dd7-67b7e8b1b53d" providerId="AD" clId="Web-{FD53DF57-81C2-4F05-BE1B-4844B8EF791F}" dt="2021-07-02T10:43:19.403" v="267" actId="1076"/>
          <ac:spMkLst>
            <pc:docMk/>
            <pc:sldMk cId="2877741170" sldId="508"/>
            <ac:spMk id="32" creationId="{00000000-0000-0000-0000-000000000000}"/>
          </ac:spMkLst>
        </pc:spChg>
        <pc:spChg chg="del mod">
          <ac:chgData name="Falgueras Casals, Aleix" userId="S::afalgueras@eservicios.indra.es::70c01417-5760-451c-8dd7-67b7e8b1b53d" providerId="AD" clId="Web-{FD53DF57-81C2-4F05-BE1B-4844B8EF791F}" dt="2021-07-02T10:43:07.278" v="264"/>
          <ac:spMkLst>
            <pc:docMk/>
            <pc:sldMk cId="2877741170" sldId="508"/>
            <ac:spMk id="38" creationId="{00000000-0000-0000-0000-000000000000}"/>
          </ac:spMkLst>
        </pc:spChg>
        <pc:spChg chg="del">
          <ac:chgData name="Falgueras Casals, Aleix" userId="S::afalgueras@eservicios.indra.es::70c01417-5760-451c-8dd7-67b7e8b1b53d" providerId="AD" clId="Web-{FD53DF57-81C2-4F05-BE1B-4844B8EF791F}" dt="2021-07-02T10:43:08.528" v="265"/>
          <ac:spMkLst>
            <pc:docMk/>
            <pc:sldMk cId="2877741170" sldId="508"/>
            <ac:spMk id="39" creationId="{00000000-0000-0000-0000-000000000000}"/>
          </ac:spMkLst>
        </pc:spChg>
        <pc:spChg chg="mod">
          <ac:chgData name="Falgueras Casals, Aleix" userId="S::afalgueras@eservicios.indra.es::70c01417-5760-451c-8dd7-67b7e8b1b53d" providerId="AD" clId="Web-{FD53DF57-81C2-4F05-BE1B-4844B8EF791F}" dt="2021-07-02T10:43:43.904" v="270" actId="1076"/>
          <ac:spMkLst>
            <pc:docMk/>
            <pc:sldMk cId="2877741170" sldId="508"/>
            <ac:spMk id="42" creationId="{00000000-0000-0000-0000-000000000000}"/>
          </ac:spMkLst>
        </pc:spChg>
        <pc:spChg chg="mod">
          <ac:chgData name="Falgueras Casals, Aleix" userId="S::afalgueras@eservicios.indra.es::70c01417-5760-451c-8dd7-67b7e8b1b53d" providerId="AD" clId="Web-{FD53DF57-81C2-4F05-BE1B-4844B8EF791F}" dt="2021-07-02T10:43:35.060" v="269" actId="1076"/>
          <ac:spMkLst>
            <pc:docMk/>
            <pc:sldMk cId="2877741170" sldId="508"/>
            <ac:spMk id="43" creationId="{00000000-0000-0000-0000-000000000000}"/>
          </ac:spMkLst>
        </pc:spChg>
        <pc:spChg chg="mod">
          <ac:chgData name="Falgueras Casals, Aleix" userId="S::afalgueras@eservicios.indra.es::70c01417-5760-451c-8dd7-67b7e8b1b53d" providerId="AD" clId="Web-{FD53DF57-81C2-4F05-BE1B-4844B8EF791F}" dt="2021-07-02T10:43:48.998" v="271" actId="1076"/>
          <ac:spMkLst>
            <pc:docMk/>
            <pc:sldMk cId="2877741170" sldId="508"/>
            <ac:spMk id="97" creationId="{00000000-0000-0000-0000-000000000000}"/>
          </ac:spMkLst>
        </pc:spChg>
        <pc:spChg chg="mod">
          <ac:chgData name="Falgueras Casals, Aleix" userId="S::afalgueras@eservicios.indra.es::70c01417-5760-451c-8dd7-67b7e8b1b53d" providerId="AD" clId="Web-{FD53DF57-81C2-4F05-BE1B-4844B8EF791F}" dt="2021-07-02T10:40:18.930" v="209" actId="1076"/>
          <ac:spMkLst>
            <pc:docMk/>
            <pc:sldMk cId="2877741170" sldId="508"/>
            <ac:spMk id="102" creationId="{00000000-0000-0000-0000-000000000000}"/>
          </ac:spMkLst>
        </pc:spChg>
        <pc:spChg chg="mod">
          <ac:chgData name="Falgueras Casals, Aleix" userId="S::afalgueras@eservicios.indra.es::70c01417-5760-451c-8dd7-67b7e8b1b53d" providerId="AD" clId="Web-{FD53DF57-81C2-4F05-BE1B-4844B8EF791F}" dt="2021-07-02T10:40:08.680" v="207" actId="1076"/>
          <ac:spMkLst>
            <pc:docMk/>
            <pc:sldMk cId="2877741170" sldId="508"/>
            <ac:spMk id="103" creationId="{00000000-0000-0000-0000-000000000000}"/>
          </ac:spMkLst>
        </pc:spChg>
        <pc:spChg chg="mod">
          <ac:chgData name="Falgueras Casals, Aleix" userId="S::afalgueras@eservicios.indra.es::70c01417-5760-451c-8dd7-67b7e8b1b53d" providerId="AD" clId="Web-{FD53DF57-81C2-4F05-BE1B-4844B8EF791F}" dt="2021-07-02T10:30:43.321" v="1" actId="20577"/>
          <ac:spMkLst>
            <pc:docMk/>
            <pc:sldMk cId="2877741170" sldId="508"/>
            <ac:spMk id="105" creationId="{00000000-0000-0000-0000-000000000000}"/>
          </ac:spMkLst>
        </pc:spChg>
        <pc:spChg chg="mod">
          <ac:chgData name="Falgueras Casals, Aleix" userId="S::afalgueras@eservicios.indra.es::70c01417-5760-451c-8dd7-67b7e8b1b53d" providerId="AD" clId="Web-{FD53DF57-81C2-4F05-BE1B-4844B8EF791F}" dt="2021-07-02T10:39:13.725" v="174" actId="20577"/>
          <ac:spMkLst>
            <pc:docMk/>
            <pc:sldMk cId="2877741170" sldId="508"/>
            <ac:spMk id="109" creationId="{00000000-0000-0000-0000-000000000000}"/>
          </ac:spMkLst>
        </pc:spChg>
        <pc:spChg chg="mod">
          <ac:chgData name="Falgueras Casals, Aleix" userId="S::afalgueras@eservicios.indra.es::70c01417-5760-451c-8dd7-67b7e8b1b53d" providerId="AD" clId="Web-{FD53DF57-81C2-4F05-BE1B-4844B8EF791F}" dt="2021-07-02T10:40:26.461" v="210" actId="1076"/>
          <ac:spMkLst>
            <pc:docMk/>
            <pc:sldMk cId="2877741170" sldId="508"/>
            <ac:spMk id="110" creationId="{00000000-0000-0000-0000-000000000000}"/>
          </ac:spMkLst>
        </pc:spChg>
        <pc:spChg chg="del">
          <ac:chgData name="Falgueras Casals, Aleix" userId="S::afalgueras@eservicios.indra.es::70c01417-5760-451c-8dd7-67b7e8b1b53d" providerId="AD" clId="Web-{FD53DF57-81C2-4F05-BE1B-4844B8EF791F}" dt="2021-07-02T10:32:47.777" v="91"/>
          <ac:spMkLst>
            <pc:docMk/>
            <pc:sldMk cId="2877741170" sldId="508"/>
            <ac:spMk id="111" creationId="{00000000-0000-0000-0000-000000000000}"/>
          </ac:spMkLst>
        </pc:spChg>
        <pc:spChg chg="mod">
          <ac:chgData name="Falgueras Casals, Aleix" userId="S::afalgueras@eservicios.indra.es::70c01417-5760-451c-8dd7-67b7e8b1b53d" providerId="AD" clId="Web-{FD53DF57-81C2-4F05-BE1B-4844B8EF791F}" dt="2021-07-02T10:39:16.209" v="175" actId="20577"/>
          <ac:spMkLst>
            <pc:docMk/>
            <pc:sldMk cId="2877741170" sldId="508"/>
            <ac:spMk id="112" creationId="{00000000-0000-0000-0000-000000000000}"/>
          </ac:spMkLst>
        </pc:spChg>
        <pc:spChg chg="del">
          <ac:chgData name="Falgueras Casals, Aleix" userId="S::afalgueras@eservicios.indra.es::70c01417-5760-451c-8dd7-67b7e8b1b53d" providerId="AD" clId="Web-{FD53DF57-81C2-4F05-BE1B-4844B8EF791F}" dt="2021-07-02T10:38:53.178" v="170"/>
          <ac:spMkLst>
            <pc:docMk/>
            <pc:sldMk cId="2877741170" sldId="508"/>
            <ac:spMk id="113" creationId="{00000000-0000-0000-0000-000000000000}"/>
          </ac:spMkLst>
        </pc:spChg>
        <pc:spChg chg="del">
          <ac:chgData name="Falgueras Casals, Aleix" userId="S::afalgueras@eservicios.indra.es::70c01417-5760-451c-8dd7-67b7e8b1b53d" providerId="AD" clId="Web-{FD53DF57-81C2-4F05-BE1B-4844B8EF791F}" dt="2021-07-02T10:38:23.771" v="165"/>
          <ac:spMkLst>
            <pc:docMk/>
            <pc:sldMk cId="2877741170" sldId="508"/>
            <ac:spMk id="114" creationId="{00000000-0000-0000-0000-000000000000}"/>
          </ac:spMkLst>
        </pc:spChg>
        <pc:spChg chg="del mod">
          <ac:chgData name="Falgueras Casals, Aleix" userId="S::afalgueras@eservicios.indra.es::70c01417-5760-451c-8dd7-67b7e8b1b53d" providerId="AD" clId="Web-{FD53DF57-81C2-4F05-BE1B-4844B8EF791F}" dt="2021-07-02T10:32:48.652" v="92"/>
          <ac:spMkLst>
            <pc:docMk/>
            <pc:sldMk cId="2877741170" sldId="508"/>
            <ac:spMk id="117" creationId="{00000000-0000-0000-0000-000000000000}"/>
          </ac:spMkLst>
        </pc:spChg>
      </pc:sldChg>
    </pc:docChg>
  </pc:docChgLst>
  <pc:docChgLst>
    <pc:chgData name="Salgado Llamas, Ruben" userId="S::rsalgado@minsait.com::0ccbcfe8-bab1-4018-bc0b-193fb1a95030" providerId="AD" clId="Web-{AB1D1C5B-4199-4A9B-ACD3-EBFCB1D428A8}"/>
    <pc:docChg chg="modSld">
      <pc:chgData name="Salgado Llamas, Ruben" userId="S::rsalgado@minsait.com::0ccbcfe8-bab1-4018-bc0b-193fb1a95030" providerId="AD" clId="Web-{AB1D1C5B-4199-4A9B-ACD3-EBFCB1D428A8}" dt="2021-07-01T15:45:54.723" v="196" actId="20577"/>
      <pc:docMkLst>
        <pc:docMk/>
      </pc:docMkLst>
      <pc:sldChg chg="addSp modSp">
        <pc:chgData name="Salgado Llamas, Ruben" userId="S::rsalgado@minsait.com::0ccbcfe8-bab1-4018-bc0b-193fb1a95030" providerId="AD" clId="Web-{AB1D1C5B-4199-4A9B-ACD3-EBFCB1D428A8}" dt="2021-07-01T15:45:54.723" v="196" actId="20577"/>
        <pc:sldMkLst>
          <pc:docMk/>
          <pc:sldMk cId="4068798995" sldId="509"/>
        </pc:sldMkLst>
        <pc:spChg chg="add mod">
          <ac:chgData name="Salgado Llamas, Ruben" userId="S::rsalgado@minsait.com::0ccbcfe8-bab1-4018-bc0b-193fb1a95030" providerId="AD" clId="Web-{AB1D1C5B-4199-4A9B-ACD3-EBFCB1D428A8}" dt="2021-07-01T15:33:51.944" v="48" actId="1076"/>
          <ac:spMkLst>
            <pc:docMk/>
            <pc:sldMk cId="4068798995" sldId="509"/>
            <ac:spMk id="30" creationId="{76B4B8A5-FA4A-44D2-83AB-E67993EEB5DF}"/>
          </ac:spMkLst>
        </pc:spChg>
        <pc:spChg chg="add mod">
          <ac:chgData name="Salgado Llamas, Ruben" userId="S::rsalgado@minsait.com::0ccbcfe8-bab1-4018-bc0b-193fb1a95030" providerId="AD" clId="Web-{AB1D1C5B-4199-4A9B-ACD3-EBFCB1D428A8}" dt="2021-07-01T15:37:38.604" v="140" actId="20577"/>
          <ac:spMkLst>
            <pc:docMk/>
            <pc:sldMk cId="4068798995" sldId="509"/>
            <ac:spMk id="31" creationId="{521BFB56-4FE8-4182-BA0C-7318295E9AE4}"/>
          </ac:spMkLst>
        </pc:spChg>
        <pc:spChg chg="mod">
          <ac:chgData name="Salgado Llamas, Ruben" userId="S::rsalgado@minsait.com::0ccbcfe8-bab1-4018-bc0b-193fb1a95030" providerId="AD" clId="Web-{AB1D1C5B-4199-4A9B-ACD3-EBFCB1D428A8}" dt="2021-07-01T15:43:12.033" v="142" actId="20577"/>
          <ac:spMkLst>
            <pc:docMk/>
            <pc:sldMk cId="4068798995" sldId="509"/>
            <ac:spMk id="32" creationId="{00000000-0000-0000-0000-000000000000}"/>
          </ac:spMkLst>
        </pc:spChg>
        <pc:spChg chg="mod">
          <ac:chgData name="Salgado Llamas, Ruben" userId="S::rsalgado@minsait.com::0ccbcfe8-bab1-4018-bc0b-193fb1a95030" providerId="AD" clId="Web-{AB1D1C5B-4199-4A9B-ACD3-EBFCB1D428A8}" dt="2021-07-01T15:45:33.504" v="193" actId="20577"/>
          <ac:spMkLst>
            <pc:docMk/>
            <pc:sldMk cId="4068798995" sldId="509"/>
            <ac:spMk id="38" creationId="{00000000-0000-0000-0000-000000000000}"/>
          </ac:spMkLst>
        </pc:spChg>
        <pc:spChg chg="mod">
          <ac:chgData name="Salgado Llamas, Ruben" userId="S::rsalgado@minsait.com::0ccbcfe8-bab1-4018-bc0b-193fb1a95030" providerId="AD" clId="Web-{AB1D1C5B-4199-4A9B-ACD3-EBFCB1D428A8}" dt="2021-07-01T15:45:54.723" v="196" actId="20577"/>
          <ac:spMkLst>
            <pc:docMk/>
            <pc:sldMk cId="4068798995" sldId="509"/>
            <ac:spMk id="39" creationId="{00000000-0000-0000-0000-000000000000}"/>
          </ac:spMkLst>
        </pc:spChg>
        <pc:spChg chg="mod">
          <ac:chgData name="Salgado Llamas, Ruben" userId="S::rsalgado@minsait.com::0ccbcfe8-bab1-4018-bc0b-193fb1a95030" providerId="AD" clId="Web-{AB1D1C5B-4199-4A9B-ACD3-EBFCB1D428A8}" dt="2021-07-01T15:33:32.365" v="45" actId="20577"/>
          <ac:spMkLst>
            <pc:docMk/>
            <pc:sldMk cId="4068798995" sldId="509"/>
            <ac:spMk id="113" creationId="{00000000-0000-0000-0000-000000000000}"/>
          </ac:spMkLst>
        </pc:spChg>
        <pc:spChg chg="mod">
          <ac:chgData name="Salgado Llamas, Ruben" userId="S::rsalgado@minsait.com::0ccbcfe8-bab1-4018-bc0b-193fb1a95030" providerId="AD" clId="Web-{AB1D1C5B-4199-4A9B-ACD3-EBFCB1D428A8}" dt="2021-07-01T15:31:05.487" v="3" actId="20577"/>
          <ac:spMkLst>
            <pc:docMk/>
            <pc:sldMk cId="4068798995" sldId="509"/>
            <ac:spMk id="114" creationId="{00000000-0000-0000-0000-000000000000}"/>
          </ac:spMkLst>
        </pc:spChg>
      </pc:sldChg>
    </pc:docChg>
  </pc:docChgLst>
  <pc:docChgLst>
    <pc:chgData name="Castilla Carbonell, Xavier" userId="S::xcastilla@minsait.com::e5176976-8f18-4923-8367-170d027b8bde" providerId="AD" clId="Web-{CEBBB440-DA0A-1161-CA5E-D9CBB00D01E4}"/>
    <pc:docChg chg="modSld">
      <pc:chgData name="Castilla Carbonell, Xavier" userId="S::xcastilla@minsait.com::e5176976-8f18-4923-8367-170d027b8bde" providerId="AD" clId="Web-{CEBBB440-DA0A-1161-CA5E-D9CBB00D01E4}" dt="2021-06-21T14:58:52.599" v="183" actId="1076"/>
      <pc:docMkLst>
        <pc:docMk/>
      </pc:docMkLst>
      <pc:sldChg chg="addSp delSp modSp">
        <pc:chgData name="Castilla Carbonell, Xavier" userId="S::xcastilla@minsait.com::e5176976-8f18-4923-8367-170d027b8bde" providerId="AD" clId="Web-{CEBBB440-DA0A-1161-CA5E-D9CBB00D01E4}" dt="2021-06-21T14:58:52.599" v="183" actId="1076"/>
        <pc:sldMkLst>
          <pc:docMk/>
          <pc:sldMk cId="1899941628" sldId="489"/>
        </pc:sldMkLst>
        <pc:spChg chg="del">
          <ac:chgData name="Castilla Carbonell, Xavier" userId="S::xcastilla@minsait.com::e5176976-8f18-4923-8367-170d027b8bde" providerId="AD" clId="Web-{CEBBB440-DA0A-1161-CA5E-D9CBB00D01E4}" dt="2021-06-21T14:24:51.831" v="6"/>
          <ac:spMkLst>
            <pc:docMk/>
            <pc:sldMk cId="1899941628" sldId="489"/>
            <ac:spMk id="26" creationId="{00000000-0000-0000-0000-000000000000}"/>
          </ac:spMkLst>
        </pc:spChg>
        <pc:spChg chg="mod">
          <ac:chgData name="Castilla Carbonell, Xavier" userId="S::xcastilla@minsait.com::e5176976-8f18-4923-8367-170d027b8bde" providerId="AD" clId="Web-{CEBBB440-DA0A-1161-CA5E-D9CBB00D01E4}" dt="2021-06-21T14:30:55.855" v="47" actId="20577"/>
          <ac:spMkLst>
            <pc:docMk/>
            <pc:sldMk cId="1899941628" sldId="489"/>
            <ac:spMk id="27" creationId="{00000000-0000-0000-0000-000000000000}"/>
          </ac:spMkLst>
        </pc:spChg>
        <pc:spChg chg="mod">
          <ac:chgData name="Castilla Carbonell, Xavier" userId="S::xcastilla@minsait.com::e5176976-8f18-4923-8367-170d027b8bde" providerId="AD" clId="Web-{CEBBB440-DA0A-1161-CA5E-D9CBB00D01E4}" dt="2021-06-21T14:47:16.614" v="182" actId="1076"/>
          <ac:spMkLst>
            <pc:docMk/>
            <pc:sldMk cId="1899941628" sldId="489"/>
            <ac:spMk id="28" creationId="{00000000-0000-0000-0000-000000000000}"/>
          </ac:spMkLst>
        </pc:spChg>
        <pc:spChg chg="mod">
          <ac:chgData name="Castilla Carbonell, Xavier" userId="S::xcastilla@minsait.com::e5176976-8f18-4923-8367-170d027b8bde" providerId="AD" clId="Web-{CEBBB440-DA0A-1161-CA5E-D9CBB00D01E4}" dt="2021-06-21T14:35:16.440" v="107" actId="20577"/>
          <ac:spMkLst>
            <pc:docMk/>
            <pc:sldMk cId="1899941628" sldId="489"/>
            <ac:spMk id="29" creationId="{00000000-0000-0000-0000-000000000000}"/>
          </ac:spMkLst>
        </pc:spChg>
        <pc:spChg chg="add mod">
          <ac:chgData name="Castilla Carbonell, Xavier" userId="S::xcastilla@minsait.com::e5176976-8f18-4923-8367-170d027b8bde" providerId="AD" clId="Web-{CEBBB440-DA0A-1161-CA5E-D9CBB00D01E4}" dt="2021-06-21T14:46:02.799" v="161" actId="1076"/>
          <ac:spMkLst>
            <pc:docMk/>
            <pc:sldMk cId="1899941628" sldId="489"/>
            <ac:spMk id="30" creationId="{0C39A405-C1C7-4731-9129-A381A2397B72}"/>
          </ac:spMkLst>
        </pc:spChg>
        <pc:spChg chg="mod">
          <ac:chgData name="Castilla Carbonell, Xavier" userId="S::xcastilla@minsait.com::e5176976-8f18-4923-8367-170d027b8bde" providerId="AD" clId="Web-{CEBBB440-DA0A-1161-CA5E-D9CBB00D01E4}" dt="2021-06-21T14:32:15.607" v="89" actId="20577"/>
          <ac:spMkLst>
            <pc:docMk/>
            <pc:sldMk cId="1899941628" sldId="489"/>
            <ac:spMk id="32" creationId="{00000000-0000-0000-0000-000000000000}"/>
          </ac:spMkLst>
        </pc:spChg>
        <pc:spChg chg="del">
          <ac:chgData name="Castilla Carbonell, Xavier" userId="S::xcastilla@minsait.com::e5176976-8f18-4923-8367-170d027b8bde" providerId="AD" clId="Web-{CEBBB440-DA0A-1161-CA5E-D9CBB00D01E4}" dt="2021-06-21T14:32:43.358" v="94"/>
          <ac:spMkLst>
            <pc:docMk/>
            <pc:sldMk cId="1899941628" sldId="489"/>
            <ac:spMk id="38" creationId="{00000000-0000-0000-0000-000000000000}"/>
          </ac:spMkLst>
        </pc:spChg>
        <pc:spChg chg="del">
          <ac:chgData name="Castilla Carbonell, Xavier" userId="S::xcastilla@minsait.com::e5176976-8f18-4923-8367-170d027b8bde" providerId="AD" clId="Web-{CEBBB440-DA0A-1161-CA5E-D9CBB00D01E4}" dt="2021-06-21T14:34:13.079" v="96"/>
          <ac:spMkLst>
            <pc:docMk/>
            <pc:sldMk cId="1899941628" sldId="489"/>
            <ac:spMk id="39" creationId="{00000000-0000-0000-0000-000000000000}"/>
          </ac:spMkLst>
        </pc:spChg>
        <pc:spChg chg="mod">
          <ac:chgData name="Castilla Carbonell, Xavier" userId="S::xcastilla@minsait.com::e5176976-8f18-4923-8367-170d027b8bde" providerId="AD" clId="Web-{CEBBB440-DA0A-1161-CA5E-D9CBB00D01E4}" dt="2021-06-21T14:34:15.282" v="97" actId="1076"/>
          <ac:spMkLst>
            <pc:docMk/>
            <pc:sldMk cId="1899941628" sldId="489"/>
            <ac:spMk id="42" creationId="{00000000-0000-0000-0000-000000000000}"/>
          </ac:spMkLst>
        </pc:spChg>
        <pc:spChg chg="mod">
          <ac:chgData name="Castilla Carbonell, Xavier" userId="S::xcastilla@minsait.com::e5176976-8f18-4923-8367-170d027b8bde" providerId="AD" clId="Web-{CEBBB440-DA0A-1161-CA5E-D9CBB00D01E4}" dt="2021-06-21T14:34:18.938" v="98" actId="1076"/>
          <ac:spMkLst>
            <pc:docMk/>
            <pc:sldMk cId="1899941628" sldId="489"/>
            <ac:spMk id="43" creationId="{00000000-0000-0000-0000-000000000000}"/>
          </ac:spMkLst>
        </pc:spChg>
        <pc:spChg chg="mod">
          <ac:chgData name="Castilla Carbonell, Xavier" userId="S::xcastilla@minsait.com::e5176976-8f18-4923-8367-170d027b8bde" providerId="AD" clId="Web-{CEBBB440-DA0A-1161-CA5E-D9CBB00D01E4}" dt="2021-06-21T14:28:37.711" v="9" actId="20577"/>
          <ac:spMkLst>
            <pc:docMk/>
            <pc:sldMk cId="1899941628" sldId="489"/>
            <ac:spMk id="97" creationId="{00000000-0000-0000-0000-000000000000}"/>
          </ac:spMkLst>
        </pc:spChg>
        <pc:spChg chg="mod">
          <ac:chgData name="Castilla Carbonell, Xavier" userId="S::xcastilla@minsait.com::e5176976-8f18-4923-8367-170d027b8bde" providerId="AD" clId="Web-{CEBBB440-DA0A-1161-CA5E-D9CBB00D01E4}" dt="2021-06-21T14:46:38.160" v="177" actId="20577"/>
          <ac:spMkLst>
            <pc:docMk/>
            <pc:sldMk cId="1899941628" sldId="489"/>
            <ac:spMk id="102" creationId="{00000000-0000-0000-0000-000000000000}"/>
          </ac:spMkLst>
        </pc:spChg>
        <pc:spChg chg="mod">
          <ac:chgData name="Castilla Carbonell, Xavier" userId="S::xcastilla@minsait.com::e5176976-8f18-4923-8367-170d027b8bde" providerId="AD" clId="Web-{CEBBB440-DA0A-1161-CA5E-D9CBB00D01E4}" dt="2021-06-21T14:46:33.253" v="175" actId="1076"/>
          <ac:spMkLst>
            <pc:docMk/>
            <pc:sldMk cId="1899941628" sldId="489"/>
            <ac:spMk id="103" creationId="{00000000-0000-0000-0000-000000000000}"/>
          </ac:spMkLst>
        </pc:spChg>
        <pc:spChg chg="mod">
          <ac:chgData name="Castilla Carbonell, Xavier" userId="S::xcastilla@minsait.com::e5176976-8f18-4923-8367-170d027b8bde" providerId="AD" clId="Web-{CEBBB440-DA0A-1161-CA5E-D9CBB00D01E4}" dt="2021-06-21T14:58:52.599" v="183" actId="1076"/>
          <ac:spMkLst>
            <pc:docMk/>
            <pc:sldMk cId="1899941628" sldId="489"/>
            <ac:spMk id="105" creationId="{00000000-0000-0000-0000-000000000000}"/>
          </ac:spMkLst>
        </pc:spChg>
        <pc:spChg chg="mod">
          <ac:chgData name="Castilla Carbonell, Xavier" userId="S::xcastilla@minsait.com::e5176976-8f18-4923-8367-170d027b8bde" providerId="AD" clId="Web-{CEBBB440-DA0A-1161-CA5E-D9CBB00D01E4}" dt="2021-06-21T14:46:40.003" v="178"/>
          <ac:spMkLst>
            <pc:docMk/>
            <pc:sldMk cId="1899941628" sldId="489"/>
            <ac:spMk id="109" creationId="{00000000-0000-0000-0000-000000000000}"/>
          </ac:spMkLst>
        </pc:spChg>
        <pc:spChg chg="mod">
          <ac:chgData name="Castilla Carbonell, Xavier" userId="S::xcastilla@minsait.com::e5176976-8f18-4923-8367-170d027b8bde" providerId="AD" clId="Web-{CEBBB440-DA0A-1161-CA5E-D9CBB00D01E4}" dt="2021-06-21T14:46:26.159" v="173" actId="1076"/>
          <ac:spMkLst>
            <pc:docMk/>
            <pc:sldMk cId="1899941628" sldId="489"/>
            <ac:spMk id="110" creationId="{00000000-0000-0000-0000-000000000000}"/>
          </ac:spMkLst>
        </pc:spChg>
        <pc:spChg chg="del">
          <ac:chgData name="Castilla Carbonell, Xavier" userId="S::xcastilla@minsait.com::e5176976-8f18-4923-8367-170d027b8bde" providerId="AD" clId="Web-{CEBBB440-DA0A-1161-CA5E-D9CBB00D01E4}" dt="2021-06-21T14:43:10.905" v="145"/>
          <ac:spMkLst>
            <pc:docMk/>
            <pc:sldMk cId="1899941628" sldId="489"/>
            <ac:spMk id="111" creationId="{00000000-0000-0000-0000-000000000000}"/>
          </ac:spMkLst>
        </pc:spChg>
        <pc:spChg chg="mod">
          <ac:chgData name="Castilla Carbonell, Xavier" userId="S::xcastilla@minsait.com::e5176976-8f18-4923-8367-170d027b8bde" providerId="AD" clId="Web-{CEBBB440-DA0A-1161-CA5E-D9CBB00D01E4}" dt="2021-06-21T14:46:41.957" v="181" actId="20577"/>
          <ac:spMkLst>
            <pc:docMk/>
            <pc:sldMk cId="1899941628" sldId="489"/>
            <ac:spMk id="112" creationId="{00000000-0000-0000-0000-000000000000}"/>
          </ac:spMkLst>
        </pc:spChg>
        <pc:spChg chg="mod">
          <ac:chgData name="Castilla Carbonell, Xavier" userId="S::xcastilla@minsait.com::e5176976-8f18-4923-8367-170d027b8bde" providerId="AD" clId="Web-{CEBBB440-DA0A-1161-CA5E-D9CBB00D01E4}" dt="2021-06-21T14:42:34.575" v="133" actId="20577"/>
          <ac:spMkLst>
            <pc:docMk/>
            <pc:sldMk cId="1899941628" sldId="489"/>
            <ac:spMk id="113" creationId="{00000000-0000-0000-0000-000000000000}"/>
          </ac:spMkLst>
        </pc:spChg>
        <pc:spChg chg="mod">
          <ac:chgData name="Castilla Carbonell, Xavier" userId="S::xcastilla@minsait.com::e5176976-8f18-4923-8367-170d027b8bde" providerId="AD" clId="Web-{CEBBB440-DA0A-1161-CA5E-D9CBB00D01E4}" dt="2021-06-21T14:43:02.592" v="142"/>
          <ac:spMkLst>
            <pc:docMk/>
            <pc:sldMk cId="1899941628" sldId="489"/>
            <ac:spMk id="114" creationId="{00000000-0000-0000-0000-000000000000}"/>
          </ac:spMkLst>
        </pc:spChg>
        <pc:spChg chg="del">
          <ac:chgData name="Castilla Carbonell, Xavier" userId="S::xcastilla@minsait.com::e5176976-8f18-4923-8367-170d027b8bde" providerId="AD" clId="Web-{CEBBB440-DA0A-1161-CA5E-D9CBB00D01E4}" dt="2021-06-21T14:43:09.936" v="144"/>
          <ac:spMkLst>
            <pc:docMk/>
            <pc:sldMk cId="1899941628" sldId="489"/>
            <ac:spMk id="117" creationId="{00000000-0000-0000-0000-000000000000}"/>
          </ac:spMkLst>
        </pc:spChg>
        <pc:picChg chg="add del mod">
          <ac:chgData name="Castilla Carbonell, Xavier" userId="S::xcastilla@minsait.com::e5176976-8f18-4923-8367-170d027b8bde" providerId="AD" clId="Web-{CEBBB440-DA0A-1161-CA5E-D9CBB00D01E4}" dt="2021-06-21T14:16:13.318" v="1"/>
          <ac:picMkLst>
            <pc:docMk/>
            <pc:sldMk cId="1899941628" sldId="489"/>
            <ac:picMk id="2" creationId="{DCB064E5-FFED-4F16-A2FE-95417DC0D9D9}"/>
          </ac:picMkLst>
        </pc:picChg>
      </pc:sldChg>
    </pc:docChg>
  </pc:docChgLst>
  <pc:docChgLst>
    <pc:chgData name="Reina Valera, Iban" userId="S::ireina@minsait.com::8529e070-f455-420a-85f1-5757ba6f13d6" providerId="AD" clId="Web-{19EF1C64-B48B-47F7-A2C2-824DA917D453}"/>
    <pc:docChg chg="modSld">
      <pc:chgData name="Reina Valera, Iban" userId="S::ireina@minsait.com::8529e070-f455-420a-85f1-5757ba6f13d6" providerId="AD" clId="Web-{19EF1C64-B48B-47F7-A2C2-824DA917D453}" dt="2021-06-21T14:00:03.401" v="921" actId="1076"/>
      <pc:docMkLst>
        <pc:docMk/>
      </pc:docMkLst>
      <pc:sldChg chg="addSp modSp">
        <pc:chgData name="Reina Valera, Iban" userId="S::ireina@minsait.com::8529e070-f455-420a-85f1-5757ba6f13d6" providerId="AD" clId="Web-{19EF1C64-B48B-47F7-A2C2-824DA917D453}" dt="2021-06-21T14:00:03.401" v="921" actId="1076"/>
        <pc:sldMkLst>
          <pc:docMk/>
          <pc:sldMk cId="1722788415" sldId="494"/>
        </pc:sldMkLst>
        <pc:spChg chg="add mod">
          <ac:chgData name="Reina Valera, Iban" userId="S::ireina@minsait.com::8529e070-f455-420a-85f1-5757ba6f13d6" providerId="AD" clId="Web-{19EF1C64-B48B-47F7-A2C2-824DA917D453}" dt="2021-06-21T13:55:30.012" v="890" actId="20577"/>
          <ac:spMkLst>
            <pc:docMk/>
            <pc:sldMk cId="1722788415" sldId="494"/>
            <ac:spMk id="25" creationId="{08B76FEA-56C1-48DE-A1DB-496701909A5E}"/>
          </ac:spMkLst>
        </pc:spChg>
        <pc:spChg chg="add mod">
          <ac:chgData name="Reina Valera, Iban" userId="S::ireina@minsait.com::8529e070-f455-420a-85f1-5757ba6f13d6" providerId="AD" clId="Web-{19EF1C64-B48B-47F7-A2C2-824DA917D453}" dt="2021-06-21T14:00:03.401" v="921" actId="1076"/>
          <ac:spMkLst>
            <pc:docMk/>
            <pc:sldMk cId="1722788415" sldId="494"/>
            <ac:spMk id="26" creationId="{397C4E5A-F4CD-486D-9182-6DE05D9D3FE6}"/>
          </ac:spMkLst>
        </pc:spChg>
        <pc:spChg chg="mod">
          <ac:chgData name="Reina Valera, Iban" userId="S::ireina@minsait.com::8529e070-f455-420a-85f1-5757ba6f13d6" providerId="AD" clId="Web-{19EF1C64-B48B-47F7-A2C2-824DA917D453}" dt="2021-06-21T13:59:37.587" v="916" actId="1076"/>
          <ac:spMkLst>
            <pc:docMk/>
            <pc:sldMk cId="1722788415" sldId="494"/>
            <ac:spMk id="27" creationId="{00000000-0000-0000-0000-000000000000}"/>
          </ac:spMkLst>
        </pc:spChg>
        <pc:spChg chg="mod">
          <ac:chgData name="Reina Valera, Iban" userId="S::ireina@minsait.com::8529e070-f455-420a-85f1-5757ba6f13d6" providerId="AD" clId="Web-{19EF1C64-B48B-47F7-A2C2-824DA917D453}" dt="2021-06-21T13:56:37.172" v="914" actId="1076"/>
          <ac:spMkLst>
            <pc:docMk/>
            <pc:sldMk cId="1722788415" sldId="494"/>
            <ac:spMk id="28" creationId="{00000000-0000-0000-0000-000000000000}"/>
          </ac:spMkLst>
        </pc:spChg>
        <pc:spChg chg="mod">
          <ac:chgData name="Reina Valera, Iban" userId="S::ireina@minsait.com::8529e070-f455-420a-85f1-5757ba6f13d6" providerId="AD" clId="Web-{19EF1C64-B48B-47F7-A2C2-824DA917D453}" dt="2021-06-21T14:00:00.901" v="920" actId="1076"/>
          <ac:spMkLst>
            <pc:docMk/>
            <pc:sldMk cId="1722788415" sldId="494"/>
            <ac:spMk id="29" creationId="{00000000-0000-0000-0000-000000000000}"/>
          </ac:spMkLst>
        </pc:spChg>
        <pc:spChg chg="mod">
          <ac:chgData name="Reina Valera, Iban" userId="S::ireina@minsait.com::8529e070-f455-420a-85f1-5757ba6f13d6" providerId="AD" clId="Web-{19EF1C64-B48B-47F7-A2C2-824DA917D453}" dt="2021-06-21T13:59:46.853" v="917" actId="1076"/>
          <ac:spMkLst>
            <pc:docMk/>
            <pc:sldMk cId="1722788415" sldId="494"/>
            <ac:spMk id="32" creationId="{00000000-0000-0000-0000-000000000000}"/>
          </ac:spMkLst>
        </pc:spChg>
        <pc:spChg chg="mod">
          <ac:chgData name="Reina Valera, Iban" userId="S::ireina@minsait.com::8529e070-f455-420a-85f1-5757ba6f13d6" providerId="AD" clId="Web-{19EF1C64-B48B-47F7-A2C2-824DA917D453}" dt="2021-06-21T13:59:52.932" v="918" actId="1076"/>
          <ac:spMkLst>
            <pc:docMk/>
            <pc:sldMk cId="1722788415" sldId="494"/>
            <ac:spMk id="38" creationId="{00000000-0000-0000-0000-000000000000}"/>
          </ac:spMkLst>
        </pc:spChg>
        <pc:spChg chg="mod">
          <ac:chgData name="Reina Valera, Iban" userId="S::ireina@minsait.com::8529e070-f455-420a-85f1-5757ba6f13d6" providerId="AD" clId="Web-{19EF1C64-B48B-47F7-A2C2-824DA917D453}" dt="2021-06-21T13:59:56.994" v="919" actId="1076"/>
          <ac:spMkLst>
            <pc:docMk/>
            <pc:sldMk cId="1722788415" sldId="494"/>
            <ac:spMk id="39" creationId="{00000000-0000-0000-0000-000000000000}"/>
          </ac:spMkLst>
        </pc:spChg>
        <pc:spChg chg="mod">
          <ac:chgData name="Reina Valera, Iban" userId="S::ireina@minsait.com::8529e070-f455-420a-85f1-5757ba6f13d6" providerId="AD" clId="Web-{19EF1C64-B48B-47F7-A2C2-824DA917D453}" dt="2021-06-21T13:53:21.521" v="872" actId="14100"/>
          <ac:spMkLst>
            <pc:docMk/>
            <pc:sldMk cId="1722788415" sldId="494"/>
            <ac:spMk id="42" creationId="{00000000-0000-0000-0000-000000000000}"/>
          </ac:spMkLst>
        </pc:spChg>
        <pc:spChg chg="mod">
          <ac:chgData name="Reina Valera, Iban" userId="S::ireina@minsait.com::8529e070-f455-420a-85f1-5757ba6f13d6" providerId="AD" clId="Web-{19EF1C64-B48B-47F7-A2C2-824DA917D453}" dt="2021-06-21T13:46:03.170" v="718"/>
          <ac:spMkLst>
            <pc:docMk/>
            <pc:sldMk cId="1722788415" sldId="494"/>
            <ac:spMk id="43" creationId="{00000000-0000-0000-0000-000000000000}"/>
          </ac:spMkLst>
        </pc:spChg>
      </pc:sldChg>
    </pc:docChg>
  </pc:docChgLst>
  <pc:docChgLst>
    <pc:chgData name="Marín Daniel, Marcos" userId="S::mmarind@eservicios.indra.es::865c3132-1d6f-4385-b8a6-6bc46c5da955" providerId="AD" clId="Web-{7AD3EFBC-6554-4791-AA74-CBF847968417}"/>
    <pc:docChg chg="modSld">
      <pc:chgData name="Marín Daniel, Marcos" userId="S::mmarind@eservicios.indra.es::865c3132-1d6f-4385-b8a6-6bc46c5da955" providerId="AD" clId="Web-{7AD3EFBC-6554-4791-AA74-CBF847968417}" dt="2021-07-01T15:12:50.998" v="595" actId="20577"/>
      <pc:docMkLst>
        <pc:docMk/>
      </pc:docMkLst>
      <pc:sldChg chg="addSp delSp modSp">
        <pc:chgData name="Marín Daniel, Marcos" userId="S::mmarind@eservicios.indra.es::865c3132-1d6f-4385-b8a6-6bc46c5da955" providerId="AD" clId="Web-{7AD3EFBC-6554-4791-AA74-CBF847968417}" dt="2021-07-01T15:12:50.998" v="595" actId="20577"/>
        <pc:sldMkLst>
          <pc:docMk/>
          <pc:sldMk cId="3746400210" sldId="495"/>
        </pc:sldMkLst>
        <pc:spChg chg="del mod">
          <ac:chgData name="Marín Daniel, Marcos" userId="S::mmarind@eservicios.indra.es::865c3132-1d6f-4385-b8a6-6bc46c5da955" providerId="AD" clId="Web-{7AD3EFBC-6554-4791-AA74-CBF847968417}" dt="2021-07-01T15:02:00.499" v="160"/>
          <ac:spMkLst>
            <pc:docMk/>
            <pc:sldMk cId="3746400210" sldId="495"/>
            <ac:spMk id="26" creationId="{00000000-0000-0000-0000-000000000000}"/>
          </ac:spMkLst>
        </pc:spChg>
        <pc:spChg chg="del">
          <ac:chgData name="Marín Daniel, Marcos" userId="S::mmarind@eservicios.indra.es::865c3132-1d6f-4385-b8a6-6bc46c5da955" providerId="AD" clId="Web-{7AD3EFBC-6554-4791-AA74-CBF847968417}" dt="2021-07-01T15:06:54.756" v="301"/>
          <ac:spMkLst>
            <pc:docMk/>
            <pc:sldMk cId="3746400210" sldId="495"/>
            <ac:spMk id="28" creationId="{00000000-0000-0000-0000-000000000000}"/>
          </ac:spMkLst>
        </pc:spChg>
        <pc:spChg chg="del mod">
          <ac:chgData name="Marín Daniel, Marcos" userId="S::mmarind@eservicios.indra.es::865c3132-1d6f-4385-b8a6-6bc46c5da955" providerId="AD" clId="Web-{7AD3EFBC-6554-4791-AA74-CBF847968417}" dt="2021-07-01T15:06:59.709" v="305"/>
          <ac:spMkLst>
            <pc:docMk/>
            <pc:sldMk cId="3746400210" sldId="495"/>
            <ac:spMk id="29" creationId="{00000000-0000-0000-0000-000000000000}"/>
          </ac:spMkLst>
        </pc:spChg>
        <pc:spChg chg="add mod">
          <ac:chgData name="Marín Daniel, Marcos" userId="S::mmarind@eservicios.indra.es::865c3132-1d6f-4385-b8a6-6bc46c5da955" providerId="AD" clId="Web-{7AD3EFBC-6554-4791-AA74-CBF847968417}" dt="2021-07-01T15:01:03.857" v="129" actId="20577"/>
          <ac:spMkLst>
            <pc:docMk/>
            <pc:sldMk cId="3746400210" sldId="495"/>
            <ac:spMk id="30" creationId="{CA80C200-5EE5-47BF-8523-516F58DA32F9}"/>
          </ac:spMkLst>
        </pc:spChg>
        <pc:spChg chg="add mod">
          <ac:chgData name="Marín Daniel, Marcos" userId="S::mmarind@eservicios.indra.es::865c3132-1d6f-4385-b8a6-6bc46c5da955" providerId="AD" clId="Web-{7AD3EFBC-6554-4791-AA74-CBF847968417}" dt="2021-07-01T15:00:37.138" v="109" actId="1076"/>
          <ac:spMkLst>
            <pc:docMk/>
            <pc:sldMk cId="3746400210" sldId="495"/>
            <ac:spMk id="31" creationId="{59F757DD-B094-437A-A286-91D374C47E3C}"/>
          </ac:spMkLst>
        </pc:spChg>
        <pc:spChg chg="mod">
          <ac:chgData name="Marín Daniel, Marcos" userId="S::mmarind@eservicios.indra.es::865c3132-1d6f-4385-b8a6-6bc46c5da955" providerId="AD" clId="Web-{7AD3EFBC-6554-4791-AA74-CBF847968417}" dt="2021-07-01T15:04:27.846" v="195" actId="20577"/>
          <ac:spMkLst>
            <pc:docMk/>
            <pc:sldMk cId="3746400210" sldId="495"/>
            <ac:spMk id="37" creationId="{00000000-0000-0000-0000-000000000000}"/>
          </ac:spMkLst>
        </pc:spChg>
        <pc:spChg chg="mod">
          <ac:chgData name="Marín Daniel, Marcos" userId="S::mmarind@eservicios.indra.es::865c3132-1d6f-4385-b8a6-6bc46c5da955" providerId="AD" clId="Web-{7AD3EFBC-6554-4791-AA74-CBF847968417}" dt="2021-07-01T15:11:55.434" v="499" actId="20577"/>
          <ac:spMkLst>
            <pc:docMk/>
            <pc:sldMk cId="3746400210" sldId="495"/>
            <ac:spMk id="38" creationId="{00000000-0000-0000-0000-000000000000}"/>
          </ac:spMkLst>
        </pc:spChg>
        <pc:spChg chg="mod">
          <ac:chgData name="Marín Daniel, Marcos" userId="S::mmarind@eservicios.indra.es::865c3132-1d6f-4385-b8a6-6bc46c5da955" providerId="AD" clId="Web-{7AD3EFBC-6554-4791-AA74-CBF847968417}" dt="2021-07-01T15:08:53.696" v="386" actId="20577"/>
          <ac:spMkLst>
            <pc:docMk/>
            <pc:sldMk cId="3746400210" sldId="495"/>
            <ac:spMk id="39" creationId="{00000000-0000-0000-0000-000000000000}"/>
          </ac:spMkLst>
        </pc:spChg>
        <pc:spChg chg="mod">
          <ac:chgData name="Marín Daniel, Marcos" userId="S::mmarind@eservicios.indra.es::865c3132-1d6f-4385-b8a6-6bc46c5da955" providerId="AD" clId="Web-{7AD3EFBC-6554-4791-AA74-CBF847968417}" dt="2021-07-01T15:12:50.998" v="595" actId="20577"/>
          <ac:spMkLst>
            <pc:docMk/>
            <pc:sldMk cId="3746400210" sldId="495"/>
            <ac:spMk id="42" creationId="{00000000-0000-0000-0000-000000000000}"/>
          </ac:spMkLst>
        </pc:spChg>
        <pc:spChg chg="mod">
          <ac:chgData name="Marín Daniel, Marcos" userId="S::mmarind@eservicios.indra.es::865c3132-1d6f-4385-b8a6-6bc46c5da955" providerId="AD" clId="Web-{7AD3EFBC-6554-4791-AA74-CBF847968417}" dt="2021-07-01T15:09:16.931" v="393" actId="20577"/>
          <ac:spMkLst>
            <pc:docMk/>
            <pc:sldMk cId="3746400210" sldId="495"/>
            <ac:spMk id="43" creationId="{00000000-0000-0000-0000-000000000000}"/>
          </ac:spMkLst>
        </pc:spChg>
        <pc:spChg chg="mod">
          <ac:chgData name="Marín Daniel, Marcos" userId="S::mmarind@eservicios.indra.es::865c3132-1d6f-4385-b8a6-6bc46c5da955" providerId="AD" clId="Web-{7AD3EFBC-6554-4791-AA74-CBF847968417}" dt="2021-07-01T15:06:27.005" v="300" actId="20577"/>
          <ac:spMkLst>
            <pc:docMk/>
            <pc:sldMk cId="3746400210" sldId="495"/>
            <ac:spMk id="97" creationId="{00000000-0000-0000-0000-000000000000}"/>
          </ac:spMkLst>
        </pc:spChg>
        <pc:spChg chg="mod">
          <ac:chgData name="Marín Daniel, Marcos" userId="S::mmarind@eservicios.indra.es::865c3132-1d6f-4385-b8a6-6bc46c5da955" providerId="AD" clId="Web-{7AD3EFBC-6554-4791-AA74-CBF847968417}" dt="2021-07-01T15:03:58.314" v="193" actId="20577"/>
          <ac:spMkLst>
            <pc:docMk/>
            <pc:sldMk cId="3746400210" sldId="495"/>
            <ac:spMk id="105" creationId="{00000000-0000-0000-0000-000000000000}"/>
          </ac:spMkLst>
        </pc:spChg>
        <pc:spChg chg="mod">
          <ac:chgData name="Marín Daniel, Marcos" userId="S::mmarind@eservicios.indra.es::865c3132-1d6f-4385-b8a6-6bc46c5da955" providerId="AD" clId="Web-{7AD3EFBC-6554-4791-AA74-CBF847968417}" dt="2021-07-01T15:03:44.689" v="190" actId="1076"/>
          <ac:spMkLst>
            <pc:docMk/>
            <pc:sldMk cId="3746400210" sldId="495"/>
            <ac:spMk id="106" creationId="{00000000-0000-0000-0000-000000000000}"/>
          </ac:spMkLst>
        </pc:spChg>
        <pc:spChg chg="mod">
          <ac:chgData name="Marín Daniel, Marcos" userId="S::mmarind@eservicios.indra.es::865c3132-1d6f-4385-b8a6-6bc46c5da955" providerId="AD" clId="Web-{7AD3EFBC-6554-4791-AA74-CBF847968417}" dt="2021-07-01T15:01:11.513" v="133" actId="20577"/>
          <ac:spMkLst>
            <pc:docMk/>
            <pc:sldMk cId="3746400210" sldId="495"/>
            <ac:spMk id="112" creationId="{00000000-0000-0000-0000-000000000000}"/>
          </ac:spMkLst>
        </pc:spChg>
        <pc:spChg chg="mod">
          <ac:chgData name="Marín Daniel, Marcos" userId="S::mmarind@eservicios.indra.es::865c3132-1d6f-4385-b8a6-6bc46c5da955" providerId="AD" clId="Web-{7AD3EFBC-6554-4791-AA74-CBF847968417}" dt="2021-07-01T14:59:33.199" v="53" actId="20577"/>
          <ac:spMkLst>
            <pc:docMk/>
            <pc:sldMk cId="3746400210" sldId="495"/>
            <ac:spMk id="113" creationId="{00000000-0000-0000-0000-000000000000}"/>
          </ac:spMkLst>
        </pc:spChg>
        <pc:spChg chg="mod">
          <ac:chgData name="Marín Daniel, Marcos" userId="S::mmarind@eservicios.indra.es::865c3132-1d6f-4385-b8a6-6bc46c5da955" providerId="AD" clId="Web-{7AD3EFBC-6554-4791-AA74-CBF847968417}" dt="2021-07-01T15:00:50.904" v="114" actId="20577"/>
          <ac:spMkLst>
            <pc:docMk/>
            <pc:sldMk cId="3746400210" sldId="495"/>
            <ac:spMk id="114" creationId="{00000000-0000-0000-0000-000000000000}"/>
          </ac:spMkLst>
        </pc:spChg>
      </pc:sldChg>
    </pc:docChg>
  </pc:docChgLst>
  <pc:docChgLst>
    <pc:chgData name="Garcia Carballo, Alejandro" userId="S::agcarballo@minsait.com::4a3f749f-5d59-4065-9fba-1f02cd317a79" providerId="AD" clId="Web-{06429A4C-328D-4B59-9DA5-DBEF19BD3593}"/>
    <pc:docChg chg="modSld">
      <pc:chgData name="Garcia Carballo, Alejandro" userId="S::agcarballo@minsait.com::4a3f749f-5d59-4065-9fba-1f02cd317a79" providerId="AD" clId="Web-{06429A4C-328D-4B59-9DA5-DBEF19BD3593}" dt="2021-06-30T22:03:28.588" v="395" actId="20577"/>
      <pc:docMkLst>
        <pc:docMk/>
      </pc:docMkLst>
      <pc:sldChg chg="addSp delSp modSp">
        <pc:chgData name="Garcia Carballo, Alejandro" userId="S::agcarballo@minsait.com::4a3f749f-5d59-4065-9fba-1f02cd317a79" providerId="AD" clId="Web-{06429A4C-328D-4B59-9DA5-DBEF19BD3593}" dt="2021-06-30T22:03:28.588" v="395" actId="20577"/>
        <pc:sldMkLst>
          <pc:docMk/>
          <pc:sldMk cId="2332787857" sldId="491"/>
        </pc:sldMkLst>
        <pc:spChg chg="del">
          <ac:chgData name="Garcia Carballo, Alejandro" userId="S::agcarballo@minsait.com::4a3f749f-5d59-4065-9fba-1f02cd317a79" providerId="AD" clId="Web-{06429A4C-328D-4B59-9DA5-DBEF19BD3593}" dt="2021-06-30T21:38:09.377" v="63"/>
          <ac:spMkLst>
            <pc:docMk/>
            <pc:sldMk cId="2332787857" sldId="491"/>
            <ac:spMk id="26" creationId="{00000000-0000-0000-0000-000000000000}"/>
          </ac:spMkLst>
        </pc:spChg>
        <pc:spChg chg="mod">
          <ac:chgData name="Garcia Carballo, Alejandro" userId="S::agcarballo@minsait.com::4a3f749f-5d59-4065-9fba-1f02cd317a79" providerId="AD" clId="Web-{06429A4C-328D-4B59-9DA5-DBEF19BD3593}" dt="2021-06-30T21:42:53.494" v="143" actId="20577"/>
          <ac:spMkLst>
            <pc:docMk/>
            <pc:sldMk cId="2332787857" sldId="491"/>
            <ac:spMk id="27" creationId="{00000000-0000-0000-0000-000000000000}"/>
          </ac:spMkLst>
        </pc:spChg>
        <pc:spChg chg="mod">
          <ac:chgData name="Garcia Carballo, Alejandro" userId="S::agcarballo@minsait.com::4a3f749f-5d59-4065-9fba-1f02cd317a79" providerId="AD" clId="Web-{06429A4C-328D-4B59-9DA5-DBEF19BD3593}" dt="2021-06-30T21:47:52.048" v="220"/>
          <ac:spMkLst>
            <pc:docMk/>
            <pc:sldMk cId="2332787857" sldId="491"/>
            <ac:spMk id="28" creationId="{00000000-0000-0000-0000-000000000000}"/>
          </ac:spMkLst>
        </pc:spChg>
        <pc:spChg chg="mod">
          <ac:chgData name="Garcia Carballo, Alejandro" userId="S::agcarballo@minsait.com::4a3f749f-5d59-4065-9fba-1f02cd317a79" providerId="AD" clId="Web-{06429A4C-328D-4B59-9DA5-DBEF19BD3593}" dt="2021-06-30T21:48:04.799" v="221"/>
          <ac:spMkLst>
            <pc:docMk/>
            <pc:sldMk cId="2332787857" sldId="491"/>
            <ac:spMk id="29" creationId="{00000000-0000-0000-0000-000000000000}"/>
          </ac:spMkLst>
        </pc:spChg>
        <pc:spChg chg="add mod">
          <ac:chgData name="Garcia Carballo, Alejandro" userId="S::agcarballo@minsait.com::4a3f749f-5d59-4065-9fba-1f02cd317a79" providerId="AD" clId="Web-{06429A4C-328D-4B59-9DA5-DBEF19BD3593}" dt="2021-06-30T21:58:39.268" v="308" actId="20577"/>
          <ac:spMkLst>
            <pc:docMk/>
            <pc:sldMk cId="2332787857" sldId="491"/>
            <ac:spMk id="30" creationId="{4B60B62C-9F5C-4DD4-A50A-AED324B29FE1}"/>
          </ac:spMkLst>
        </pc:spChg>
        <pc:spChg chg="add mod">
          <ac:chgData name="Garcia Carballo, Alejandro" userId="S::agcarballo@minsait.com::4a3f749f-5d59-4065-9fba-1f02cd317a79" providerId="AD" clId="Web-{06429A4C-328D-4B59-9DA5-DBEF19BD3593}" dt="2021-06-30T21:58:46.831" v="311" actId="20577"/>
          <ac:spMkLst>
            <pc:docMk/>
            <pc:sldMk cId="2332787857" sldId="491"/>
            <ac:spMk id="31" creationId="{42DBC37E-9828-4095-AB36-FC5D9E620073}"/>
          </ac:spMkLst>
        </pc:spChg>
        <pc:spChg chg="mod">
          <ac:chgData name="Garcia Carballo, Alejandro" userId="S::agcarballo@minsait.com::4a3f749f-5d59-4065-9fba-1f02cd317a79" providerId="AD" clId="Web-{06429A4C-328D-4B59-9DA5-DBEF19BD3593}" dt="2021-06-30T21:37:45.673" v="60" actId="1076"/>
          <ac:spMkLst>
            <pc:docMk/>
            <pc:sldMk cId="2332787857" sldId="491"/>
            <ac:spMk id="32" creationId="{00000000-0000-0000-0000-000000000000}"/>
          </ac:spMkLst>
        </pc:spChg>
        <pc:spChg chg="mod">
          <ac:chgData name="Garcia Carballo, Alejandro" userId="S::agcarballo@minsait.com::4a3f749f-5d59-4065-9fba-1f02cd317a79" providerId="AD" clId="Web-{06429A4C-328D-4B59-9DA5-DBEF19BD3593}" dt="2021-06-30T21:49:02.488" v="232" actId="20577"/>
          <ac:spMkLst>
            <pc:docMk/>
            <pc:sldMk cId="2332787857" sldId="491"/>
            <ac:spMk id="37" creationId="{00000000-0000-0000-0000-000000000000}"/>
          </ac:spMkLst>
        </pc:spChg>
        <pc:spChg chg="del">
          <ac:chgData name="Garcia Carballo, Alejandro" userId="S::agcarballo@minsait.com::4a3f749f-5d59-4065-9fba-1f02cd317a79" providerId="AD" clId="Web-{06429A4C-328D-4B59-9DA5-DBEF19BD3593}" dt="2021-06-30T21:36:41.843" v="43"/>
          <ac:spMkLst>
            <pc:docMk/>
            <pc:sldMk cId="2332787857" sldId="491"/>
            <ac:spMk id="38" creationId="{00000000-0000-0000-0000-000000000000}"/>
          </ac:spMkLst>
        </pc:spChg>
        <pc:spChg chg="del">
          <ac:chgData name="Garcia Carballo, Alejandro" userId="S::agcarballo@minsait.com::4a3f749f-5d59-4065-9fba-1f02cd317a79" providerId="AD" clId="Web-{06429A4C-328D-4B59-9DA5-DBEF19BD3593}" dt="2021-06-30T21:36:43.843" v="44"/>
          <ac:spMkLst>
            <pc:docMk/>
            <pc:sldMk cId="2332787857" sldId="491"/>
            <ac:spMk id="39" creationId="{00000000-0000-0000-0000-000000000000}"/>
          </ac:spMkLst>
        </pc:spChg>
        <pc:spChg chg="mod">
          <ac:chgData name="Garcia Carballo, Alejandro" userId="S::agcarballo@minsait.com::4a3f749f-5d59-4065-9fba-1f02cd317a79" providerId="AD" clId="Web-{06429A4C-328D-4B59-9DA5-DBEF19BD3593}" dt="2021-06-30T21:48:27.502" v="224"/>
          <ac:spMkLst>
            <pc:docMk/>
            <pc:sldMk cId="2332787857" sldId="491"/>
            <ac:spMk id="42" creationId="{00000000-0000-0000-0000-000000000000}"/>
          </ac:spMkLst>
        </pc:spChg>
        <pc:spChg chg="mod">
          <ac:chgData name="Garcia Carballo, Alejandro" userId="S::agcarballo@minsait.com::4a3f749f-5d59-4065-9fba-1f02cd317a79" providerId="AD" clId="Web-{06429A4C-328D-4B59-9DA5-DBEF19BD3593}" dt="2021-06-30T21:48:12.783" v="222"/>
          <ac:spMkLst>
            <pc:docMk/>
            <pc:sldMk cId="2332787857" sldId="491"/>
            <ac:spMk id="43" creationId="{00000000-0000-0000-0000-000000000000}"/>
          </ac:spMkLst>
        </pc:spChg>
        <pc:spChg chg="mod">
          <ac:chgData name="Garcia Carballo, Alejandro" userId="S::agcarballo@minsait.com::4a3f749f-5d59-4065-9fba-1f02cd317a79" providerId="AD" clId="Web-{06429A4C-328D-4B59-9DA5-DBEF19BD3593}" dt="2021-06-30T21:33:59.761" v="3" actId="1076"/>
          <ac:spMkLst>
            <pc:docMk/>
            <pc:sldMk cId="2332787857" sldId="491"/>
            <ac:spMk id="97" creationId="{00000000-0000-0000-0000-000000000000}"/>
          </ac:spMkLst>
        </pc:spChg>
        <pc:spChg chg="mod">
          <ac:chgData name="Garcia Carballo, Alejandro" userId="S::agcarballo@minsait.com::4a3f749f-5d59-4065-9fba-1f02cd317a79" providerId="AD" clId="Web-{06429A4C-328D-4B59-9DA5-DBEF19BD3593}" dt="2021-06-30T22:03:25.104" v="394" actId="20577"/>
          <ac:spMkLst>
            <pc:docMk/>
            <pc:sldMk cId="2332787857" sldId="491"/>
            <ac:spMk id="102" creationId="{00000000-0000-0000-0000-000000000000}"/>
          </ac:spMkLst>
        </pc:spChg>
        <pc:spChg chg="mod">
          <ac:chgData name="Garcia Carballo, Alejandro" userId="S::agcarballo@minsait.com::4a3f749f-5d59-4065-9fba-1f02cd317a79" providerId="AD" clId="Web-{06429A4C-328D-4B59-9DA5-DBEF19BD3593}" dt="2021-06-30T22:03:28.588" v="395" actId="20577"/>
          <ac:spMkLst>
            <pc:docMk/>
            <pc:sldMk cId="2332787857" sldId="491"/>
            <ac:spMk id="103" creationId="{00000000-0000-0000-0000-000000000000}"/>
          </ac:spMkLst>
        </pc:spChg>
        <pc:spChg chg="mod">
          <ac:chgData name="Garcia Carballo, Alejandro" userId="S::agcarballo@minsait.com::4a3f749f-5d59-4065-9fba-1f02cd317a79" providerId="AD" clId="Web-{06429A4C-328D-4B59-9DA5-DBEF19BD3593}" dt="2021-06-30T21:37:59.767" v="62" actId="20577"/>
          <ac:spMkLst>
            <pc:docMk/>
            <pc:sldMk cId="2332787857" sldId="491"/>
            <ac:spMk id="105" creationId="{00000000-0000-0000-0000-000000000000}"/>
          </ac:spMkLst>
        </pc:spChg>
        <pc:spChg chg="mod">
          <ac:chgData name="Garcia Carballo, Alejandro" userId="S::agcarballo@minsait.com::4a3f749f-5d59-4065-9fba-1f02cd317a79" providerId="AD" clId="Web-{06429A4C-328D-4B59-9DA5-DBEF19BD3593}" dt="2021-06-30T22:03:18.182" v="391" actId="20577"/>
          <ac:spMkLst>
            <pc:docMk/>
            <pc:sldMk cId="2332787857" sldId="491"/>
            <ac:spMk id="109" creationId="{00000000-0000-0000-0000-000000000000}"/>
          </ac:spMkLst>
        </pc:spChg>
        <pc:spChg chg="mod">
          <ac:chgData name="Garcia Carballo, Alejandro" userId="S::agcarballo@minsait.com::4a3f749f-5d59-4065-9fba-1f02cd317a79" providerId="AD" clId="Web-{06429A4C-328D-4B59-9DA5-DBEF19BD3593}" dt="2021-06-30T22:03:22.604" v="393" actId="20577"/>
          <ac:spMkLst>
            <pc:docMk/>
            <pc:sldMk cId="2332787857" sldId="491"/>
            <ac:spMk id="110" creationId="{00000000-0000-0000-0000-000000000000}"/>
          </ac:spMkLst>
        </pc:spChg>
        <pc:spChg chg="mod">
          <ac:chgData name="Garcia Carballo, Alejandro" userId="S::agcarballo@minsait.com::4a3f749f-5d59-4065-9fba-1f02cd317a79" providerId="AD" clId="Web-{06429A4C-328D-4B59-9DA5-DBEF19BD3593}" dt="2021-06-30T22:03:15.541" v="390" actId="20577"/>
          <ac:spMkLst>
            <pc:docMk/>
            <pc:sldMk cId="2332787857" sldId="491"/>
            <ac:spMk id="111" creationId="{00000000-0000-0000-0000-000000000000}"/>
          </ac:spMkLst>
        </pc:spChg>
        <pc:spChg chg="mod">
          <ac:chgData name="Garcia Carballo, Alejandro" userId="S::agcarballo@minsait.com::4a3f749f-5d59-4065-9fba-1f02cd317a79" providerId="AD" clId="Web-{06429A4C-328D-4B59-9DA5-DBEF19BD3593}" dt="2021-06-30T21:53:59.714" v="258" actId="20577"/>
          <ac:spMkLst>
            <pc:docMk/>
            <pc:sldMk cId="2332787857" sldId="491"/>
            <ac:spMk id="112" creationId="{00000000-0000-0000-0000-000000000000}"/>
          </ac:spMkLst>
        </pc:spChg>
        <pc:spChg chg="mod">
          <ac:chgData name="Garcia Carballo, Alejandro" userId="S::agcarballo@minsait.com::4a3f749f-5d59-4065-9fba-1f02cd317a79" providerId="AD" clId="Web-{06429A4C-328D-4B59-9DA5-DBEF19BD3593}" dt="2021-06-30T21:57:59.517" v="272" actId="1076"/>
          <ac:spMkLst>
            <pc:docMk/>
            <pc:sldMk cId="2332787857" sldId="491"/>
            <ac:spMk id="113" creationId="{00000000-0000-0000-0000-000000000000}"/>
          </ac:spMkLst>
        </pc:spChg>
        <pc:spChg chg="mod">
          <ac:chgData name="Garcia Carballo, Alejandro" userId="S::agcarballo@minsait.com::4a3f749f-5d59-4065-9fba-1f02cd317a79" providerId="AD" clId="Web-{06429A4C-328D-4B59-9DA5-DBEF19BD3593}" dt="2021-06-30T21:57:59.580" v="273" actId="1076"/>
          <ac:spMkLst>
            <pc:docMk/>
            <pc:sldMk cId="2332787857" sldId="491"/>
            <ac:spMk id="114" creationId="{00000000-0000-0000-0000-000000000000}"/>
          </ac:spMkLst>
        </pc:spChg>
        <pc:spChg chg="mod">
          <ac:chgData name="Garcia Carballo, Alejandro" userId="S::agcarballo@minsait.com::4a3f749f-5d59-4065-9fba-1f02cd317a79" providerId="AD" clId="Web-{06429A4C-328D-4B59-9DA5-DBEF19BD3593}" dt="2021-06-30T22:03:10.416" v="388" actId="20577"/>
          <ac:spMkLst>
            <pc:docMk/>
            <pc:sldMk cId="2332787857" sldId="491"/>
            <ac:spMk id="117" creationId="{00000000-0000-0000-0000-000000000000}"/>
          </ac:spMkLst>
        </pc:spChg>
      </pc:sldChg>
    </pc:docChg>
  </pc:docChgLst>
  <pc:docChgLst>
    <pc:chgData name="Vallés I Fernández, Albert" userId="S::avallesf@minsait.com::d322623e-56a6-4fe8-9877-6ce24cb0791b" providerId="AD" clId="Web-{8C96A1E3-6C33-40B5-8D6C-0F46B7711980}"/>
    <pc:docChg chg="modSld">
      <pc:chgData name="Vallés I Fernández, Albert" userId="S::avallesf@minsait.com::d322623e-56a6-4fe8-9877-6ce24cb0791b" providerId="AD" clId="Web-{8C96A1E3-6C33-40B5-8D6C-0F46B7711980}" dt="2021-06-28T11:53:46.617" v="196" actId="20577"/>
      <pc:docMkLst>
        <pc:docMk/>
      </pc:docMkLst>
      <pc:sldChg chg="modSp">
        <pc:chgData name="Vallés I Fernández, Albert" userId="S::avallesf@minsait.com::d322623e-56a6-4fe8-9877-6ce24cb0791b" providerId="AD" clId="Web-{8C96A1E3-6C33-40B5-8D6C-0F46B7711980}" dt="2021-06-28T11:53:46.617" v="196" actId="20577"/>
        <pc:sldMkLst>
          <pc:docMk/>
          <pc:sldMk cId="416295926" sldId="498"/>
        </pc:sldMkLst>
        <pc:spChg chg="mod">
          <ac:chgData name="Vallés I Fernández, Albert" userId="S::avallesf@minsait.com::d322623e-56a6-4fe8-9877-6ce24cb0791b" providerId="AD" clId="Web-{8C96A1E3-6C33-40B5-8D6C-0F46B7711980}" dt="2021-06-28T11:53:46.617" v="196" actId="20577"/>
          <ac:spMkLst>
            <pc:docMk/>
            <pc:sldMk cId="416295926" sldId="498"/>
            <ac:spMk id="27" creationId="{00000000-0000-0000-0000-000000000000}"/>
          </ac:spMkLst>
        </pc:spChg>
      </pc:sldChg>
    </pc:docChg>
  </pc:docChgLst>
  <pc:docChgLst>
    <pc:chgData name="Vallés Muñío, Guillermo" userId="S::gvalles@minsait.com::e42b044c-145b-4eb6-a22e-2361eadb577f" providerId="AD" clId="Web-{AD398D35-61A2-47FB-A42D-0682E07386BE}"/>
    <pc:docChg chg="modSld">
      <pc:chgData name="Vallés Muñío, Guillermo" userId="S::gvalles@minsait.com::e42b044c-145b-4eb6-a22e-2361eadb577f" providerId="AD" clId="Web-{AD398D35-61A2-47FB-A42D-0682E07386BE}" dt="2021-06-21T08:41:50.379" v="78" actId="1076"/>
      <pc:docMkLst>
        <pc:docMk/>
      </pc:docMkLst>
      <pc:sldChg chg="modSp">
        <pc:chgData name="Vallés Muñío, Guillermo" userId="S::gvalles@minsait.com::e42b044c-145b-4eb6-a22e-2361eadb577f" providerId="AD" clId="Web-{AD398D35-61A2-47FB-A42D-0682E07386BE}" dt="2021-06-21T08:41:50.379" v="78" actId="1076"/>
        <pc:sldMkLst>
          <pc:docMk/>
          <pc:sldMk cId="1043126645" sldId="482"/>
        </pc:sldMkLst>
        <pc:spChg chg="mod">
          <ac:chgData name="Vallés Muñío, Guillermo" userId="S::gvalles@minsait.com::e42b044c-145b-4eb6-a22e-2361eadb577f" providerId="AD" clId="Web-{AD398D35-61A2-47FB-A42D-0682E07386BE}" dt="2021-06-21T08:41:29.238" v="69" actId="1076"/>
          <ac:spMkLst>
            <pc:docMk/>
            <pc:sldMk cId="1043126645" sldId="482"/>
            <ac:spMk id="29" creationId="{00000000-0000-0000-0000-000000000000}"/>
          </ac:spMkLst>
        </pc:spChg>
        <pc:spChg chg="mod">
          <ac:chgData name="Vallés Muñío, Guillermo" userId="S::gvalles@minsait.com::e42b044c-145b-4eb6-a22e-2361eadb577f" providerId="AD" clId="Web-{AD398D35-61A2-47FB-A42D-0682E07386BE}" dt="2021-06-21T08:41:50.379" v="78" actId="1076"/>
          <ac:spMkLst>
            <pc:docMk/>
            <pc:sldMk cId="1043126645" sldId="482"/>
            <ac:spMk id="30" creationId="{00000000-0000-0000-0000-000000000000}"/>
          </ac:spMkLst>
        </pc:spChg>
        <pc:spChg chg="mod">
          <ac:chgData name="Vallés Muñío, Guillermo" userId="S::gvalles@minsait.com::e42b044c-145b-4eb6-a22e-2361eadb577f" providerId="AD" clId="Web-{AD398D35-61A2-47FB-A42D-0682E07386BE}" dt="2021-06-21T08:41:23.706" v="68" actId="20577"/>
          <ac:spMkLst>
            <pc:docMk/>
            <pc:sldMk cId="1043126645" sldId="482"/>
            <ac:spMk id="97" creationId="{00000000-0000-0000-0000-000000000000}"/>
          </ac:spMkLst>
        </pc:spChg>
        <pc:spChg chg="mod">
          <ac:chgData name="Vallés Muñío, Guillermo" userId="S::gvalles@minsait.com::e42b044c-145b-4eb6-a22e-2361eadb577f" providerId="AD" clId="Web-{AD398D35-61A2-47FB-A42D-0682E07386BE}" dt="2021-06-21T08:39:05.484" v="28" actId="20577"/>
          <ac:spMkLst>
            <pc:docMk/>
            <pc:sldMk cId="1043126645" sldId="482"/>
            <ac:spMk id="110" creationId="{00000000-0000-0000-0000-000000000000}"/>
          </ac:spMkLst>
        </pc:spChg>
        <pc:spChg chg="mod">
          <ac:chgData name="Vallés Muñío, Guillermo" userId="S::gvalles@minsait.com::e42b044c-145b-4eb6-a22e-2361eadb577f" providerId="AD" clId="Web-{AD398D35-61A2-47FB-A42D-0682E07386BE}" dt="2021-06-21T08:38:38.576" v="22" actId="20577"/>
          <ac:spMkLst>
            <pc:docMk/>
            <pc:sldMk cId="1043126645" sldId="482"/>
            <ac:spMk id="111" creationId="{00000000-0000-0000-0000-000000000000}"/>
          </ac:spMkLst>
        </pc:spChg>
        <pc:spChg chg="mod">
          <ac:chgData name="Vallés Muñío, Guillermo" userId="S::gvalles@minsait.com::e42b044c-145b-4eb6-a22e-2361eadb577f" providerId="AD" clId="Web-{AD398D35-61A2-47FB-A42D-0682E07386BE}" dt="2021-06-21T08:40:13.251" v="44" actId="20577"/>
          <ac:spMkLst>
            <pc:docMk/>
            <pc:sldMk cId="1043126645" sldId="482"/>
            <ac:spMk id="113" creationId="{00000000-0000-0000-0000-000000000000}"/>
          </ac:spMkLst>
        </pc:spChg>
        <pc:spChg chg="mod">
          <ac:chgData name="Vallés Muñío, Guillermo" userId="S::gvalles@minsait.com::e42b044c-145b-4eb6-a22e-2361eadb577f" providerId="AD" clId="Web-{AD398D35-61A2-47FB-A42D-0682E07386BE}" dt="2021-06-21T08:40:16.283" v="45" actId="1076"/>
          <ac:spMkLst>
            <pc:docMk/>
            <pc:sldMk cId="1043126645" sldId="482"/>
            <ac:spMk id="114" creationId="{00000000-0000-0000-0000-000000000000}"/>
          </ac:spMkLst>
        </pc:spChg>
      </pc:sldChg>
    </pc:docChg>
  </pc:docChgLst>
  <pc:docChgLst>
    <pc:chgData name="Pérez Campo, Juan Carlos" userId="S::jcperezc@minsait.com::d6a703b6-09dc-4446-8583-aa5de42703d0" providerId="AD" clId="Web-{F6C9C65A-F549-4619-A146-5605FCD9F02A}"/>
    <pc:docChg chg="modSld">
      <pc:chgData name="Pérez Campo, Juan Carlos" userId="S::jcperezc@minsait.com::d6a703b6-09dc-4446-8583-aa5de42703d0" providerId="AD" clId="Web-{F6C9C65A-F549-4619-A146-5605FCD9F02A}" dt="2021-06-28T14:31:28.321" v="10" actId="20577"/>
      <pc:docMkLst>
        <pc:docMk/>
      </pc:docMkLst>
      <pc:sldChg chg="modSp">
        <pc:chgData name="Pérez Campo, Juan Carlos" userId="S::jcperezc@minsait.com::d6a703b6-09dc-4446-8583-aa5de42703d0" providerId="AD" clId="Web-{F6C9C65A-F549-4619-A146-5605FCD9F02A}" dt="2021-06-28T14:31:28.321" v="10" actId="20577"/>
        <pc:sldMkLst>
          <pc:docMk/>
          <pc:sldMk cId="1860150701" sldId="471"/>
        </pc:sldMkLst>
        <pc:spChg chg="mod">
          <ac:chgData name="Pérez Campo, Juan Carlos" userId="S::jcperezc@minsait.com::d6a703b6-09dc-4446-8583-aa5de42703d0" providerId="AD" clId="Web-{F6C9C65A-F549-4619-A146-5605FCD9F02A}" dt="2021-06-28T14:31:28.321" v="10" actId="20577"/>
          <ac:spMkLst>
            <pc:docMk/>
            <pc:sldMk cId="1860150701" sldId="471"/>
            <ac:spMk id="56" creationId="{BE67F8B7-F4EB-B543-BD33-1314BDD2C39B}"/>
          </ac:spMkLst>
        </pc:spChg>
      </pc:sldChg>
    </pc:docChg>
  </pc:docChgLst>
  <pc:docChgLst>
    <pc:chgData name="González Uriarte, Guillermo" userId="S::gguriarte@minsait.com::21c8d51d-d2c1-4f79-8904-8333abcf2908" providerId="AD" clId="Web-{5A16C896-4092-44B7-9994-C01ED8984792}"/>
    <pc:docChg chg="modSld">
      <pc:chgData name="González Uriarte, Guillermo" userId="S::gguriarte@minsait.com::21c8d51d-d2c1-4f79-8904-8333abcf2908" providerId="AD" clId="Web-{5A16C896-4092-44B7-9994-C01ED8984792}" dt="2021-06-30T13:50:57.809" v="24" actId="20577"/>
      <pc:docMkLst>
        <pc:docMk/>
      </pc:docMkLst>
      <pc:sldChg chg="modSp">
        <pc:chgData name="González Uriarte, Guillermo" userId="S::gguriarte@minsait.com::21c8d51d-d2c1-4f79-8904-8333abcf2908" providerId="AD" clId="Web-{5A16C896-4092-44B7-9994-C01ED8984792}" dt="2021-06-30T13:50:57.809" v="24" actId="20577"/>
        <pc:sldMkLst>
          <pc:docMk/>
          <pc:sldMk cId="1353062943" sldId="487"/>
        </pc:sldMkLst>
        <pc:spChg chg="mod">
          <ac:chgData name="González Uriarte, Guillermo" userId="S::gguriarte@minsait.com::21c8d51d-d2c1-4f79-8904-8333abcf2908" providerId="AD" clId="Web-{5A16C896-4092-44B7-9994-C01ED8984792}" dt="2021-06-30T13:50:43.075" v="11" actId="20577"/>
          <ac:spMkLst>
            <pc:docMk/>
            <pc:sldMk cId="1353062943" sldId="487"/>
            <ac:spMk id="113" creationId="{00000000-0000-0000-0000-000000000000}"/>
          </ac:spMkLst>
        </pc:spChg>
        <pc:spChg chg="mod">
          <ac:chgData name="González Uriarte, Guillermo" userId="S::gguriarte@minsait.com::21c8d51d-d2c1-4f79-8904-8333abcf2908" providerId="AD" clId="Web-{5A16C896-4092-44B7-9994-C01ED8984792}" dt="2021-06-30T13:50:57.809" v="24" actId="20577"/>
          <ac:spMkLst>
            <pc:docMk/>
            <pc:sldMk cId="1353062943" sldId="487"/>
            <ac:spMk id="114" creationId="{00000000-0000-0000-0000-000000000000}"/>
          </ac:spMkLst>
        </pc:spChg>
      </pc:sldChg>
    </pc:docChg>
  </pc:docChgLst>
  <pc:docChgLst>
    <pc:chgData name="García Núñez, Alejandro" userId="S::agnunez@minsait.com::556fe94a-aefa-4dbf-a98e-6b0138dab432" providerId="AD" clId="Web-{76C3B1A0-ADDC-4F09-BC68-2E59CF6EF17D}"/>
    <pc:docChg chg="modSld">
      <pc:chgData name="García Núñez, Alejandro" userId="S::agnunez@minsait.com::556fe94a-aefa-4dbf-a98e-6b0138dab432" providerId="AD" clId="Web-{76C3B1A0-ADDC-4F09-BC68-2E59CF6EF17D}" dt="2021-07-02T07:24:41.009" v="47"/>
      <pc:docMkLst>
        <pc:docMk/>
      </pc:docMkLst>
      <pc:sldChg chg="delSp modSp">
        <pc:chgData name="García Núñez, Alejandro" userId="S::agnunez@minsait.com::556fe94a-aefa-4dbf-a98e-6b0138dab432" providerId="AD" clId="Web-{76C3B1A0-ADDC-4F09-BC68-2E59CF6EF17D}" dt="2021-07-02T07:24:41.009" v="47"/>
        <pc:sldMkLst>
          <pc:docMk/>
          <pc:sldMk cId="2313760765" sldId="486"/>
        </pc:sldMkLst>
        <pc:spChg chg="del">
          <ac:chgData name="García Núñez, Alejandro" userId="S::agnunez@minsait.com::556fe94a-aefa-4dbf-a98e-6b0138dab432" providerId="AD" clId="Web-{76C3B1A0-ADDC-4F09-BC68-2E59CF6EF17D}" dt="2021-07-02T07:24:41.009" v="47"/>
          <ac:spMkLst>
            <pc:docMk/>
            <pc:sldMk cId="2313760765" sldId="486"/>
            <ac:spMk id="25" creationId="{00000000-0000-0000-0000-000000000000}"/>
          </ac:spMkLst>
        </pc:spChg>
        <pc:spChg chg="mod">
          <ac:chgData name="García Núñez, Alejandro" userId="S::agnunez@minsait.com::556fe94a-aefa-4dbf-a98e-6b0138dab432" providerId="AD" clId="Web-{76C3B1A0-ADDC-4F09-BC68-2E59CF6EF17D}" dt="2021-07-02T07:24:33.805" v="46" actId="20577"/>
          <ac:spMkLst>
            <pc:docMk/>
            <pc:sldMk cId="2313760765" sldId="486"/>
            <ac:spMk id="111" creationId="{00000000-0000-0000-0000-000000000000}"/>
          </ac:spMkLst>
        </pc:spChg>
      </pc:sldChg>
    </pc:docChg>
  </pc:docChgLst>
  <pc:docChgLst>
    <pc:chgData name="Marín Daniel, Marcos" userId="S::mmarind@eservicios.indra.es::865c3132-1d6f-4385-b8a6-6bc46c5da955" providerId="AD" clId="Web-{3400C9E6-AE39-43B1-8B56-45BAECAF529D}"/>
    <pc:docChg chg="modSld">
      <pc:chgData name="Marín Daniel, Marcos" userId="S::mmarind@eservicios.indra.es::865c3132-1d6f-4385-b8a6-6bc46c5da955" providerId="AD" clId="Web-{3400C9E6-AE39-43B1-8B56-45BAECAF529D}" dt="2021-07-01T15:20:38.874" v="271" actId="20577"/>
      <pc:docMkLst>
        <pc:docMk/>
      </pc:docMkLst>
      <pc:sldChg chg="modSp">
        <pc:chgData name="Marín Daniel, Marcos" userId="S::mmarind@eservicios.indra.es::865c3132-1d6f-4385-b8a6-6bc46c5da955" providerId="AD" clId="Web-{3400C9E6-AE39-43B1-8B56-45BAECAF529D}" dt="2021-07-01T15:20:38.874" v="271" actId="20577"/>
        <pc:sldMkLst>
          <pc:docMk/>
          <pc:sldMk cId="3746400210" sldId="495"/>
        </pc:sldMkLst>
        <pc:spChg chg="mod">
          <ac:chgData name="Marín Daniel, Marcos" userId="S::mmarind@eservicios.indra.es::865c3132-1d6f-4385-b8a6-6bc46c5da955" providerId="AD" clId="Web-{3400C9E6-AE39-43B1-8B56-45BAECAF529D}" dt="2021-07-01T15:20:38.874" v="271" actId="20577"/>
          <ac:spMkLst>
            <pc:docMk/>
            <pc:sldMk cId="3746400210" sldId="495"/>
            <ac:spMk id="27" creationId="{00000000-0000-0000-0000-000000000000}"/>
          </ac:spMkLst>
        </pc:spChg>
        <pc:spChg chg="mod">
          <ac:chgData name="Marín Daniel, Marcos" userId="S::mmarind@eservicios.indra.es::865c3132-1d6f-4385-b8a6-6bc46c5da955" providerId="AD" clId="Web-{3400C9E6-AE39-43B1-8B56-45BAECAF529D}" dt="2021-07-01T15:17:00.557" v="135" actId="20577"/>
          <ac:spMkLst>
            <pc:docMk/>
            <pc:sldMk cId="3746400210" sldId="495"/>
            <ac:spMk id="32" creationId="{00000000-0000-0000-0000-000000000000}"/>
          </ac:spMkLst>
        </pc:spChg>
        <pc:spChg chg="mod">
          <ac:chgData name="Marín Daniel, Marcos" userId="S::mmarind@eservicios.indra.es::865c3132-1d6f-4385-b8a6-6bc46c5da955" providerId="AD" clId="Web-{3400C9E6-AE39-43B1-8B56-45BAECAF529D}" dt="2021-07-01T15:16:35.088" v="125" actId="20577"/>
          <ac:spMkLst>
            <pc:docMk/>
            <pc:sldMk cId="3746400210" sldId="495"/>
            <ac:spMk id="42" creationId="{00000000-0000-0000-0000-000000000000}"/>
          </ac:spMkLst>
        </pc:spChg>
        <pc:spChg chg="mod">
          <ac:chgData name="Marín Daniel, Marcos" userId="S::mmarind@eservicios.indra.es::865c3132-1d6f-4385-b8a6-6bc46c5da955" providerId="AD" clId="Web-{3400C9E6-AE39-43B1-8B56-45BAECAF529D}" dt="2021-07-01T15:16:41.322" v="126" actId="20577"/>
          <ac:spMkLst>
            <pc:docMk/>
            <pc:sldMk cId="3746400210" sldId="495"/>
            <ac:spMk id="43" creationId="{00000000-0000-0000-0000-000000000000}"/>
          </ac:spMkLst>
        </pc:spChg>
      </pc:sldChg>
    </pc:docChg>
  </pc:docChgLst>
  <pc:docChgLst>
    <pc:chgData name="González Uriarte, Guillermo" userId="S::gguriarte@minsait.com::21c8d51d-d2c1-4f79-8904-8333abcf2908" providerId="AD" clId="Web-{D946BD42-3ED9-4D0A-ABA7-B74CC89F0FB7}"/>
    <pc:docChg chg="modSld">
      <pc:chgData name="González Uriarte, Guillermo" userId="S::gguriarte@minsait.com::21c8d51d-d2c1-4f79-8904-8333abcf2908" providerId="AD" clId="Web-{D946BD42-3ED9-4D0A-ABA7-B74CC89F0FB7}" dt="2021-06-28T14:57:18.157" v="16"/>
      <pc:docMkLst>
        <pc:docMk/>
      </pc:docMkLst>
      <pc:sldChg chg="delSp modSp">
        <pc:chgData name="González Uriarte, Guillermo" userId="S::gguriarte@minsait.com::21c8d51d-d2c1-4f79-8904-8333abcf2908" providerId="AD" clId="Web-{D946BD42-3ED9-4D0A-ABA7-B74CC89F0FB7}" dt="2021-06-28T14:57:18.157" v="16"/>
        <pc:sldMkLst>
          <pc:docMk/>
          <pc:sldMk cId="1353062943" sldId="487"/>
        </pc:sldMkLst>
        <pc:spChg chg="del mod">
          <ac:chgData name="González Uriarte, Guillermo" userId="S::gguriarte@minsait.com::21c8d51d-d2c1-4f79-8904-8333abcf2908" providerId="AD" clId="Web-{D946BD42-3ED9-4D0A-ABA7-B74CC89F0FB7}" dt="2021-06-28T14:57:18.157" v="16"/>
          <ac:spMkLst>
            <pc:docMk/>
            <pc:sldMk cId="1353062943" sldId="487"/>
            <ac:spMk id="25" creationId="{00000000-0000-0000-0000-000000000000}"/>
          </ac:spMkLst>
        </pc:spChg>
        <pc:spChg chg="mod">
          <ac:chgData name="González Uriarte, Guillermo" userId="S::gguriarte@minsait.com::21c8d51d-d2c1-4f79-8904-8333abcf2908" providerId="AD" clId="Web-{D946BD42-3ED9-4D0A-ABA7-B74CC89F0FB7}" dt="2021-06-28T14:56:31.328" v="5" actId="20577"/>
          <ac:spMkLst>
            <pc:docMk/>
            <pc:sldMk cId="1353062943" sldId="487"/>
            <ac:spMk id="27" creationId="{00000000-0000-0000-0000-000000000000}"/>
          </ac:spMkLst>
        </pc:spChg>
        <pc:spChg chg="mod">
          <ac:chgData name="González Uriarte, Guillermo" userId="S::gguriarte@minsait.com::21c8d51d-d2c1-4f79-8904-8333abcf2908" providerId="AD" clId="Web-{D946BD42-3ED9-4D0A-ABA7-B74CC89F0FB7}" dt="2021-06-28T14:57:06.453" v="13" actId="20577"/>
          <ac:spMkLst>
            <pc:docMk/>
            <pc:sldMk cId="1353062943" sldId="487"/>
            <ac:spMk id="103" creationId="{00000000-0000-0000-0000-000000000000}"/>
          </ac:spMkLst>
        </pc:spChg>
        <pc:spChg chg="mod">
          <ac:chgData name="González Uriarte, Guillermo" userId="S::gguriarte@minsait.com::21c8d51d-d2c1-4f79-8904-8333abcf2908" providerId="AD" clId="Web-{D946BD42-3ED9-4D0A-ABA7-B74CC89F0FB7}" dt="2021-06-28T14:56:47.062" v="8" actId="20577"/>
          <ac:spMkLst>
            <pc:docMk/>
            <pc:sldMk cId="1353062943" sldId="487"/>
            <ac:spMk id="110" creationId="{00000000-0000-0000-0000-000000000000}"/>
          </ac:spMkLst>
        </pc:spChg>
      </pc:sldChg>
    </pc:docChg>
  </pc:docChgLst>
  <pc:docChgLst>
    <pc:chgData name="García Núñez, Alejandro" userId="S::agnunez@minsait.com::556fe94a-aefa-4dbf-a98e-6b0138dab432" providerId="AD" clId="Web-{4AABF681-88D9-4699-9B44-244B05215A20}"/>
    <pc:docChg chg="modSld">
      <pc:chgData name="García Núñez, Alejandro" userId="S::agnunez@minsait.com::556fe94a-aefa-4dbf-a98e-6b0138dab432" providerId="AD" clId="Web-{4AABF681-88D9-4699-9B44-244B05215A20}" dt="2021-07-01T10:09:24.332" v="60" actId="20577"/>
      <pc:docMkLst>
        <pc:docMk/>
      </pc:docMkLst>
      <pc:sldChg chg="modSp">
        <pc:chgData name="García Núñez, Alejandro" userId="S::agnunez@minsait.com::556fe94a-aefa-4dbf-a98e-6b0138dab432" providerId="AD" clId="Web-{4AABF681-88D9-4699-9B44-244B05215A20}" dt="2021-07-01T10:09:24.332" v="60" actId="20577"/>
        <pc:sldMkLst>
          <pc:docMk/>
          <pc:sldMk cId="2313760765" sldId="486"/>
        </pc:sldMkLst>
        <pc:spChg chg="mod">
          <ac:chgData name="García Núñez, Alejandro" userId="S::agnunez@minsait.com::556fe94a-aefa-4dbf-a98e-6b0138dab432" providerId="AD" clId="Web-{4AABF681-88D9-4699-9B44-244B05215A20}" dt="2021-07-01T09:57:58.895" v="0" actId="20577"/>
          <ac:spMkLst>
            <pc:docMk/>
            <pc:sldMk cId="2313760765" sldId="486"/>
            <ac:spMk id="36" creationId="{00000000-0000-0000-0000-000000000000}"/>
          </ac:spMkLst>
        </pc:spChg>
        <pc:spChg chg="mod">
          <ac:chgData name="García Núñez, Alejandro" userId="S::agnunez@minsait.com::556fe94a-aefa-4dbf-a98e-6b0138dab432" providerId="AD" clId="Web-{4AABF681-88D9-4699-9B44-244B05215A20}" dt="2021-07-01T10:03:47.403" v="44" actId="20577"/>
          <ac:spMkLst>
            <pc:docMk/>
            <pc:sldMk cId="2313760765" sldId="486"/>
            <ac:spMk id="103" creationId="{00000000-0000-0000-0000-000000000000}"/>
          </ac:spMkLst>
        </pc:spChg>
        <pc:spChg chg="mod">
          <ac:chgData name="García Núñez, Alejandro" userId="S::agnunez@minsait.com::556fe94a-aefa-4dbf-a98e-6b0138dab432" providerId="AD" clId="Web-{4AABF681-88D9-4699-9B44-244B05215A20}" dt="2021-07-01T10:02:17.620" v="41" actId="20577"/>
          <ac:spMkLst>
            <pc:docMk/>
            <pc:sldMk cId="2313760765" sldId="486"/>
            <ac:spMk id="110" creationId="{00000000-0000-0000-0000-000000000000}"/>
          </ac:spMkLst>
        </pc:spChg>
        <pc:spChg chg="mod">
          <ac:chgData name="García Núñez, Alejandro" userId="S::agnunez@minsait.com::556fe94a-aefa-4dbf-a98e-6b0138dab432" providerId="AD" clId="Web-{4AABF681-88D9-4699-9B44-244B05215A20}" dt="2021-07-01T10:09:24.332" v="60" actId="20577"/>
          <ac:spMkLst>
            <pc:docMk/>
            <pc:sldMk cId="2313760765" sldId="486"/>
            <ac:spMk id="111" creationId="{00000000-0000-0000-0000-000000000000}"/>
          </ac:spMkLst>
        </pc:spChg>
        <pc:spChg chg="mod">
          <ac:chgData name="García Núñez, Alejandro" userId="S::agnunez@minsait.com::556fe94a-aefa-4dbf-a98e-6b0138dab432" providerId="AD" clId="Web-{4AABF681-88D9-4699-9B44-244B05215A20}" dt="2021-07-01T09:58:40.084" v="3" actId="20577"/>
          <ac:spMkLst>
            <pc:docMk/>
            <pc:sldMk cId="2313760765" sldId="486"/>
            <ac:spMk id="113" creationId="{00000000-0000-0000-0000-000000000000}"/>
          </ac:spMkLst>
        </pc:spChg>
        <pc:spChg chg="mod">
          <ac:chgData name="García Núñez, Alejandro" userId="S::agnunez@minsait.com::556fe94a-aefa-4dbf-a98e-6b0138dab432" providerId="AD" clId="Web-{4AABF681-88D9-4699-9B44-244B05215A20}" dt="2021-07-01T09:58:44.037" v="4" actId="20577"/>
          <ac:spMkLst>
            <pc:docMk/>
            <pc:sldMk cId="2313760765" sldId="486"/>
            <ac:spMk id="114" creationId="{00000000-0000-0000-0000-000000000000}"/>
          </ac:spMkLst>
        </pc:spChg>
      </pc:sldChg>
    </pc:docChg>
  </pc:docChgLst>
  <pc:docChgLst>
    <pc:chgData name="Marín Daniel, Marcos" userId="S::mmarind@eservicios.indra.es::865c3132-1d6f-4385-b8a6-6bc46c5da955" providerId="AD" clId="Web-{F094662B-E0DA-4F13-B82D-E709FFCE50DD}"/>
    <pc:docChg chg="modSld">
      <pc:chgData name="Marín Daniel, Marcos" userId="S::mmarind@eservicios.indra.es::865c3132-1d6f-4385-b8a6-6bc46c5da955" providerId="AD" clId="Web-{F094662B-E0DA-4F13-B82D-E709FFCE50DD}" dt="2021-07-01T14:56:28.867" v="329" actId="20577"/>
      <pc:docMkLst>
        <pc:docMk/>
      </pc:docMkLst>
      <pc:sldChg chg="modSp">
        <pc:chgData name="Marín Daniel, Marcos" userId="S::mmarind@eservicios.indra.es::865c3132-1d6f-4385-b8a6-6bc46c5da955" providerId="AD" clId="Web-{F094662B-E0DA-4F13-B82D-E709FFCE50DD}" dt="2021-07-01T14:56:28.867" v="329" actId="20577"/>
        <pc:sldMkLst>
          <pc:docMk/>
          <pc:sldMk cId="3746400210" sldId="495"/>
        </pc:sldMkLst>
        <pc:spChg chg="mod">
          <ac:chgData name="Marín Daniel, Marcos" userId="S::mmarind@eservicios.indra.es::865c3132-1d6f-4385-b8a6-6bc46c5da955" providerId="AD" clId="Web-{F094662B-E0DA-4F13-B82D-E709FFCE50DD}" dt="2021-07-01T14:56:14.054" v="326" actId="20577"/>
          <ac:spMkLst>
            <pc:docMk/>
            <pc:sldMk cId="3746400210" sldId="495"/>
            <ac:spMk id="102" creationId="{00000000-0000-0000-0000-000000000000}"/>
          </ac:spMkLst>
        </pc:spChg>
        <pc:spChg chg="mod">
          <ac:chgData name="Marín Daniel, Marcos" userId="S::mmarind@eservicios.indra.es::865c3132-1d6f-4385-b8a6-6bc46c5da955" providerId="AD" clId="Web-{F094662B-E0DA-4F13-B82D-E709FFCE50DD}" dt="2021-07-01T14:56:28.867" v="329" actId="20577"/>
          <ac:spMkLst>
            <pc:docMk/>
            <pc:sldMk cId="3746400210" sldId="495"/>
            <ac:spMk id="103" creationId="{00000000-0000-0000-0000-000000000000}"/>
          </ac:spMkLst>
        </pc:spChg>
        <pc:spChg chg="mod">
          <ac:chgData name="Marín Daniel, Marcos" userId="S::mmarind@eservicios.indra.es::865c3132-1d6f-4385-b8a6-6bc46c5da955" providerId="AD" clId="Web-{F094662B-E0DA-4F13-B82D-E709FFCE50DD}" dt="2021-07-01T14:56:07.600" v="325" actId="20577"/>
          <ac:spMkLst>
            <pc:docMk/>
            <pc:sldMk cId="3746400210" sldId="495"/>
            <ac:spMk id="109" creationId="{00000000-0000-0000-0000-000000000000}"/>
          </ac:spMkLst>
        </pc:spChg>
        <pc:spChg chg="mod">
          <ac:chgData name="Marín Daniel, Marcos" userId="S::mmarind@eservicios.indra.es::865c3132-1d6f-4385-b8a6-6bc46c5da955" providerId="AD" clId="Web-{F094662B-E0DA-4F13-B82D-E709FFCE50DD}" dt="2021-07-01T14:55:14.568" v="319" actId="20577"/>
          <ac:spMkLst>
            <pc:docMk/>
            <pc:sldMk cId="3746400210" sldId="495"/>
            <ac:spMk id="110" creationId="{00000000-0000-0000-0000-000000000000}"/>
          </ac:spMkLst>
        </pc:spChg>
        <pc:spChg chg="mod">
          <ac:chgData name="Marín Daniel, Marcos" userId="S::mmarind@eservicios.indra.es::865c3132-1d6f-4385-b8a6-6bc46c5da955" providerId="AD" clId="Web-{F094662B-E0DA-4F13-B82D-E709FFCE50DD}" dt="2021-07-01T14:51:04.250" v="228" actId="1076"/>
          <ac:spMkLst>
            <pc:docMk/>
            <pc:sldMk cId="3746400210" sldId="495"/>
            <ac:spMk id="111" creationId="{00000000-0000-0000-0000-000000000000}"/>
          </ac:spMkLst>
        </pc:spChg>
        <pc:spChg chg="mod">
          <ac:chgData name="Marín Daniel, Marcos" userId="S::mmarind@eservicios.indra.es::865c3132-1d6f-4385-b8a6-6bc46c5da955" providerId="AD" clId="Web-{F094662B-E0DA-4F13-B82D-E709FFCE50DD}" dt="2021-07-01T14:55:51.491" v="323" actId="1076"/>
          <ac:spMkLst>
            <pc:docMk/>
            <pc:sldMk cId="3746400210" sldId="495"/>
            <ac:spMk id="117" creationId="{00000000-0000-0000-0000-000000000000}"/>
          </ac:spMkLst>
        </pc:spChg>
      </pc:sldChg>
    </pc:docChg>
  </pc:docChgLst>
  <pc:docChgLst>
    <pc:chgData name="Vallvé Barrasa, Marc" userId="S::mvallve@minsait.com::0e50f888-6ff3-4d46-8fde-9ad62ac5f4a2" providerId="AD" clId="Web-{05B60EBA-8EBE-4184-92D6-099EB31F5EBB}"/>
    <pc:docChg chg="modSld">
      <pc:chgData name="Vallvé Barrasa, Marc" userId="S::mvallve@minsait.com::0e50f888-6ff3-4d46-8fde-9ad62ac5f4a2" providerId="AD" clId="Web-{05B60EBA-8EBE-4184-92D6-099EB31F5EBB}" dt="2021-06-28T14:36:30.752" v="62"/>
      <pc:docMkLst>
        <pc:docMk/>
      </pc:docMkLst>
      <pc:sldChg chg="delSp modSp">
        <pc:chgData name="Vallvé Barrasa, Marc" userId="S::mvallve@minsait.com::0e50f888-6ff3-4d46-8fde-9ad62ac5f4a2" providerId="AD" clId="Web-{05B60EBA-8EBE-4184-92D6-099EB31F5EBB}" dt="2021-06-28T14:36:30.752" v="62"/>
        <pc:sldMkLst>
          <pc:docMk/>
          <pc:sldMk cId="2242807836" sldId="481"/>
        </pc:sldMkLst>
        <pc:spChg chg="del mod">
          <ac:chgData name="Vallvé Barrasa, Marc" userId="S::mvallve@minsait.com::0e50f888-6ff3-4d46-8fde-9ad62ac5f4a2" providerId="AD" clId="Web-{05B60EBA-8EBE-4184-92D6-099EB31F5EBB}" dt="2021-06-28T14:36:30.752" v="62"/>
          <ac:spMkLst>
            <pc:docMk/>
            <pc:sldMk cId="2242807836" sldId="481"/>
            <ac:spMk id="25" creationId="{00000000-0000-0000-0000-000000000000}"/>
          </ac:spMkLst>
        </pc:spChg>
        <pc:spChg chg="mod">
          <ac:chgData name="Vallvé Barrasa, Marc" userId="S::mvallve@minsait.com::0e50f888-6ff3-4d46-8fde-9ad62ac5f4a2" providerId="AD" clId="Web-{05B60EBA-8EBE-4184-92D6-099EB31F5EBB}" dt="2021-06-28T14:32:27.576" v="30" actId="20577"/>
          <ac:spMkLst>
            <pc:docMk/>
            <pc:sldMk cId="2242807836" sldId="481"/>
            <ac:spMk id="103" creationId="{00000000-0000-0000-0000-000000000000}"/>
          </ac:spMkLst>
        </pc:spChg>
        <pc:spChg chg="mod">
          <ac:chgData name="Vallvé Barrasa, Marc" userId="S::mvallve@minsait.com::0e50f888-6ff3-4d46-8fde-9ad62ac5f4a2" providerId="AD" clId="Web-{05B60EBA-8EBE-4184-92D6-099EB31F5EBB}" dt="2021-06-28T14:31:03.074" v="1" actId="20577"/>
          <ac:spMkLst>
            <pc:docMk/>
            <pc:sldMk cId="2242807836" sldId="481"/>
            <ac:spMk id="111" creationId="{00000000-0000-0000-0000-000000000000}"/>
          </ac:spMkLst>
        </pc:spChg>
        <pc:spChg chg="mod">
          <ac:chgData name="Vallvé Barrasa, Marc" userId="S::mvallve@minsait.com::0e50f888-6ff3-4d46-8fde-9ad62ac5f4a2" providerId="AD" clId="Web-{05B60EBA-8EBE-4184-92D6-099EB31F5EBB}" dt="2021-06-28T14:35:23.548" v="59" actId="20577"/>
          <ac:spMkLst>
            <pc:docMk/>
            <pc:sldMk cId="2242807836" sldId="481"/>
            <ac:spMk id="114" creationId="{00000000-0000-0000-0000-000000000000}"/>
          </ac:spMkLst>
        </pc:spChg>
        <pc:spChg chg="mod">
          <ac:chgData name="Vallvé Barrasa, Marc" userId="S::mvallve@minsait.com::0e50f888-6ff3-4d46-8fde-9ad62ac5f4a2" providerId="AD" clId="Web-{05B60EBA-8EBE-4184-92D6-099EB31F5EBB}" dt="2021-06-28T14:35:30.954" v="60" actId="20577"/>
          <ac:spMkLst>
            <pc:docMk/>
            <pc:sldMk cId="2242807836" sldId="481"/>
            <ac:spMk id="117" creationId="{00000000-0000-0000-0000-000000000000}"/>
          </ac:spMkLst>
        </pc:spChg>
      </pc:sldChg>
    </pc:docChg>
  </pc:docChgLst>
  <pc:docChgLst>
    <pc:chgData name="Moreno Valero, Juan Andrés" userId="S::jamvalero@minsait.com::c2a29a12-9d48-4ccc-b16d-de0b4daa98fc" providerId="AD" clId="Web-{D8FCAC7E-5F4D-4191-8AF5-D85AF9CB0C57}"/>
    <pc:docChg chg="modSld">
      <pc:chgData name="Moreno Valero, Juan Andrés" userId="S::jamvalero@minsait.com::c2a29a12-9d48-4ccc-b16d-de0b4daa98fc" providerId="AD" clId="Web-{D8FCAC7E-5F4D-4191-8AF5-D85AF9CB0C57}" dt="2021-01-22T10:18:16.140" v="195" actId="20577"/>
      <pc:docMkLst>
        <pc:docMk/>
      </pc:docMkLst>
      <pc:sldChg chg="delSp modSp">
        <pc:chgData name="Moreno Valero, Juan Andrés" userId="S::jamvalero@minsait.com::c2a29a12-9d48-4ccc-b16d-de0b4daa98fc" providerId="AD" clId="Web-{D8FCAC7E-5F4D-4191-8AF5-D85AF9CB0C57}" dt="2021-01-22T10:18:16.140" v="195" actId="20577"/>
        <pc:sldMkLst>
          <pc:docMk/>
          <pc:sldMk cId="3693349192" sldId="467"/>
        </pc:sldMkLst>
        <pc:spChg chg="del mod">
          <ac:chgData name="Moreno Valero, Juan Andrés" userId="S::jamvalero@minsait.com::c2a29a12-9d48-4ccc-b16d-de0b4daa98fc" providerId="AD" clId="Web-{D8FCAC7E-5F4D-4191-8AF5-D85AF9CB0C57}" dt="2021-01-22T10:12:57.478" v="76"/>
          <ac:spMkLst>
            <pc:docMk/>
            <pc:sldMk cId="3693349192" sldId="467"/>
            <ac:spMk id="34" creationId="{920CDAA3-74D2-6940-8900-4AABDD5BE40B}"/>
          </ac:spMkLst>
        </pc:spChg>
        <pc:spChg chg="mod">
          <ac:chgData name="Moreno Valero, Juan Andrés" userId="S::jamvalero@minsait.com::c2a29a12-9d48-4ccc-b16d-de0b4daa98fc" providerId="AD" clId="Web-{D8FCAC7E-5F4D-4191-8AF5-D85AF9CB0C57}" dt="2021-01-22T10:07:40.300" v="9" actId="20577"/>
          <ac:spMkLst>
            <pc:docMk/>
            <pc:sldMk cId="3693349192" sldId="467"/>
            <ac:spMk id="37" creationId="{E4530058-C2FA-384F-825E-F61EC4296641}"/>
          </ac:spMkLst>
        </pc:spChg>
        <pc:spChg chg="mod">
          <ac:chgData name="Moreno Valero, Juan Andrés" userId="S::jamvalero@minsait.com::c2a29a12-9d48-4ccc-b16d-de0b4daa98fc" providerId="AD" clId="Web-{D8FCAC7E-5F4D-4191-8AF5-D85AF9CB0C57}" dt="2021-01-22T10:17:28.296" v="158" actId="1076"/>
          <ac:spMkLst>
            <pc:docMk/>
            <pc:sldMk cId="3693349192" sldId="467"/>
            <ac:spMk id="38" creationId="{920CDAA3-74D2-6940-8900-4AABDD5BE40B}"/>
          </ac:spMkLst>
        </pc:spChg>
        <pc:spChg chg="mod">
          <ac:chgData name="Moreno Valero, Juan Andrés" userId="S::jamvalero@minsait.com::c2a29a12-9d48-4ccc-b16d-de0b4daa98fc" providerId="AD" clId="Web-{D8FCAC7E-5F4D-4191-8AF5-D85AF9CB0C57}" dt="2021-01-22T10:07:53.629" v="12" actId="20577"/>
          <ac:spMkLst>
            <pc:docMk/>
            <pc:sldMk cId="3693349192" sldId="467"/>
            <ac:spMk id="40" creationId="{2671AB7D-9A8C-BF47-AEB3-28A9D0EE694D}"/>
          </ac:spMkLst>
        </pc:spChg>
        <pc:spChg chg="mod">
          <ac:chgData name="Moreno Valero, Juan Andrés" userId="S::jamvalero@minsait.com::c2a29a12-9d48-4ccc-b16d-de0b4daa98fc" providerId="AD" clId="Web-{D8FCAC7E-5F4D-4191-8AF5-D85AF9CB0C57}" dt="2021-01-22T10:07:19.425" v="6" actId="20577"/>
          <ac:spMkLst>
            <pc:docMk/>
            <pc:sldMk cId="3693349192" sldId="467"/>
            <ac:spMk id="41" creationId="{0F4E0202-A252-624B-BDF1-C6AE5E8A25DE}"/>
          </ac:spMkLst>
        </pc:spChg>
        <pc:spChg chg="del mod">
          <ac:chgData name="Moreno Valero, Juan Andrés" userId="S::jamvalero@minsait.com::c2a29a12-9d48-4ccc-b16d-de0b4daa98fc" providerId="AD" clId="Web-{D8FCAC7E-5F4D-4191-8AF5-D85AF9CB0C57}" dt="2021-01-22T10:13:02.509" v="77"/>
          <ac:spMkLst>
            <pc:docMk/>
            <pc:sldMk cId="3693349192" sldId="467"/>
            <ac:spMk id="43" creationId="{AB2E014F-704F-3649-A8CA-79AC24262337}"/>
          </ac:spMkLst>
        </pc:spChg>
        <pc:spChg chg="mod">
          <ac:chgData name="Moreno Valero, Juan Andrés" userId="S::jamvalero@minsait.com::c2a29a12-9d48-4ccc-b16d-de0b4daa98fc" providerId="AD" clId="Web-{D8FCAC7E-5F4D-4191-8AF5-D85AF9CB0C57}" dt="2021-01-22T10:17:21.467" v="156" actId="1076"/>
          <ac:spMkLst>
            <pc:docMk/>
            <pc:sldMk cId="3693349192" sldId="467"/>
            <ac:spMk id="44" creationId="{920CDAA3-74D2-6940-8900-4AABDD5BE40B}"/>
          </ac:spMkLst>
        </pc:spChg>
        <pc:spChg chg="mod">
          <ac:chgData name="Moreno Valero, Juan Andrés" userId="S::jamvalero@minsait.com::c2a29a12-9d48-4ccc-b16d-de0b4daa98fc" providerId="AD" clId="Web-{D8FCAC7E-5F4D-4191-8AF5-D85AF9CB0C57}" dt="2021-01-22T10:08:28.254" v="15" actId="20577"/>
          <ac:spMkLst>
            <pc:docMk/>
            <pc:sldMk cId="3693349192" sldId="467"/>
            <ac:spMk id="45" creationId="{1813E8C3-18D9-0B4B-8FCA-406B39785552}"/>
          </ac:spMkLst>
        </pc:spChg>
        <pc:spChg chg="mod">
          <ac:chgData name="Moreno Valero, Juan Andrés" userId="S::jamvalero@minsait.com::c2a29a12-9d48-4ccc-b16d-de0b4daa98fc" providerId="AD" clId="Web-{D8FCAC7E-5F4D-4191-8AF5-D85AF9CB0C57}" dt="2021-01-22T10:09:40.818" v="32" actId="20577"/>
          <ac:spMkLst>
            <pc:docMk/>
            <pc:sldMk cId="3693349192" sldId="467"/>
            <ac:spMk id="46" creationId="{89221374-508B-FF4A-9DFB-601E8041A74B}"/>
          </ac:spMkLst>
        </pc:spChg>
        <pc:spChg chg="mod">
          <ac:chgData name="Moreno Valero, Juan Andrés" userId="S::jamvalero@minsait.com::c2a29a12-9d48-4ccc-b16d-de0b4daa98fc" providerId="AD" clId="Web-{D8FCAC7E-5F4D-4191-8AF5-D85AF9CB0C57}" dt="2021-01-22T10:10:45.475" v="38" actId="1076"/>
          <ac:spMkLst>
            <pc:docMk/>
            <pc:sldMk cId="3693349192" sldId="467"/>
            <ac:spMk id="47" creationId="{89221374-508B-FF4A-9DFB-601E8041A74B}"/>
          </ac:spMkLst>
        </pc:spChg>
        <pc:spChg chg="mod">
          <ac:chgData name="Moreno Valero, Juan Andrés" userId="S::jamvalero@minsait.com::c2a29a12-9d48-4ccc-b16d-de0b4daa98fc" providerId="AD" clId="Web-{D8FCAC7E-5F4D-4191-8AF5-D85AF9CB0C57}" dt="2021-01-22T10:08:40.598" v="17" actId="20577"/>
          <ac:spMkLst>
            <pc:docMk/>
            <pc:sldMk cId="3693349192" sldId="467"/>
            <ac:spMk id="49" creationId="{A669BC4B-6A50-864F-85AF-01EA17581A38}"/>
          </ac:spMkLst>
        </pc:spChg>
        <pc:spChg chg="mod">
          <ac:chgData name="Moreno Valero, Juan Andrés" userId="S::jamvalero@minsait.com::c2a29a12-9d48-4ccc-b16d-de0b4daa98fc" providerId="AD" clId="Web-{D8FCAC7E-5F4D-4191-8AF5-D85AF9CB0C57}" dt="2021-01-22T10:11:05.351" v="42" actId="20577"/>
          <ac:spMkLst>
            <pc:docMk/>
            <pc:sldMk cId="3693349192" sldId="467"/>
            <ac:spMk id="50" creationId="{A669BC4B-6A50-864F-85AF-01EA17581A38}"/>
          </ac:spMkLst>
        </pc:spChg>
        <pc:spChg chg="mod">
          <ac:chgData name="Moreno Valero, Juan Andrés" userId="S::jamvalero@minsait.com::c2a29a12-9d48-4ccc-b16d-de0b4daa98fc" providerId="AD" clId="Web-{D8FCAC7E-5F4D-4191-8AF5-D85AF9CB0C57}" dt="2021-01-22T10:17:24.045" v="157" actId="1076"/>
          <ac:spMkLst>
            <pc:docMk/>
            <pc:sldMk cId="3693349192" sldId="467"/>
            <ac:spMk id="51" creationId="{AB2E014F-704F-3649-A8CA-79AC24262337}"/>
          </ac:spMkLst>
        </pc:spChg>
        <pc:spChg chg="mod">
          <ac:chgData name="Moreno Valero, Juan Andrés" userId="S::jamvalero@minsait.com::c2a29a12-9d48-4ccc-b16d-de0b4daa98fc" providerId="AD" clId="Web-{D8FCAC7E-5F4D-4191-8AF5-D85AF9CB0C57}" dt="2021-01-22T10:17:31.858" v="159" actId="1076"/>
          <ac:spMkLst>
            <pc:docMk/>
            <pc:sldMk cId="3693349192" sldId="467"/>
            <ac:spMk id="53" creationId="{AB2E014F-704F-3649-A8CA-79AC24262337}"/>
          </ac:spMkLst>
        </pc:spChg>
        <pc:spChg chg="mod">
          <ac:chgData name="Moreno Valero, Juan Andrés" userId="S::jamvalero@minsait.com::c2a29a12-9d48-4ccc-b16d-de0b4daa98fc" providerId="AD" clId="Web-{D8FCAC7E-5F4D-4191-8AF5-D85AF9CB0C57}" dt="2021-01-22T10:17:35.436" v="160" actId="1076"/>
          <ac:spMkLst>
            <pc:docMk/>
            <pc:sldMk cId="3693349192" sldId="467"/>
            <ac:spMk id="55" creationId="{BF1684E3-CE8A-1E4E-B964-0132E29D63C2}"/>
          </ac:spMkLst>
        </pc:spChg>
        <pc:spChg chg="mod">
          <ac:chgData name="Moreno Valero, Juan Andrés" userId="S::jamvalero@minsait.com::c2a29a12-9d48-4ccc-b16d-de0b4daa98fc" providerId="AD" clId="Web-{D8FCAC7E-5F4D-4191-8AF5-D85AF9CB0C57}" dt="2021-01-22T10:18:16.140" v="195" actId="20577"/>
          <ac:spMkLst>
            <pc:docMk/>
            <pc:sldMk cId="3693349192" sldId="467"/>
            <ac:spMk id="56" creationId="{BE67F8B7-F4EB-B543-BD33-1314BDD2C39B}"/>
          </ac:spMkLst>
        </pc:spChg>
        <pc:spChg chg="mod">
          <ac:chgData name="Moreno Valero, Juan Andrés" userId="S::jamvalero@minsait.com::c2a29a12-9d48-4ccc-b16d-de0b4daa98fc" providerId="AD" clId="Web-{D8FCAC7E-5F4D-4191-8AF5-D85AF9CB0C57}" dt="2021-01-22T10:11:55.633" v="58" actId="20577"/>
          <ac:spMkLst>
            <pc:docMk/>
            <pc:sldMk cId="3693349192" sldId="467"/>
            <ac:spMk id="71" creationId="{2A66A929-B846-D44F-959A-6C9F46C29E0F}"/>
          </ac:spMkLst>
        </pc:spChg>
        <pc:spChg chg="mod">
          <ac:chgData name="Moreno Valero, Juan Andrés" userId="S::jamvalero@minsait.com::c2a29a12-9d48-4ccc-b16d-de0b4daa98fc" providerId="AD" clId="Web-{D8FCAC7E-5F4D-4191-8AF5-D85AF9CB0C57}" dt="2021-01-22T10:11:29.476" v="48" actId="20577"/>
          <ac:spMkLst>
            <pc:docMk/>
            <pc:sldMk cId="3693349192" sldId="467"/>
            <ac:spMk id="72" creationId="{561F596E-21F8-694B-836D-BD069D539A49}"/>
          </ac:spMkLst>
        </pc:spChg>
        <pc:spChg chg="mod">
          <ac:chgData name="Moreno Valero, Juan Andrés" userId="S::jamvalero@minsait.com::c2a29a12-9d48-4ccc-b16d-de0b4daa98fc" providerId="AD" clId="Web-{D8FCAC7E-5F4D-4191-8AF5-D85AF9CB0C57}" dt="2021-01-22T10:11:19.664" v="44" actId="20577"/>
          <ac:spMkLst>
            <pc:docMk/>
            <pc:sldMk cId="3693349192" sldId="467"/>
            <ac:spMk id="73" creationId="{592FED21-684F-1C48-9233-F269DFEF0F10}"/>
          </ac:spMkLst>
        </pc:spChg>
        <pc:spChg chg="mod">
          <ac:chgData name="Moreno Valero, Juan Andrés" userId="S::jamvalero@minsait.com::c2a29a12-9d48-4ccc-b16d-de0b4daa98fc" providerId="AD" clId="Web-{D8FCAC7E-5F4D-4191-8AF5-D85AF9CB0C57}" dt="2021-01-22T10:12:09.727" v="63" actId="20577"/>
          <ac:spMkLst>
            <pc:docMk/>
            <pc:sldMk cId="3693349192" sldId="467"/>
            <ac:spMk id="74" creationId="{7B82553E-CC55-FE4B-A11B-DE0E22DC5EE6}"/>
          </ac:spMkLst>
        </pc:spChg>
      </pc:sldChg>
    </pc:docChg>
  </pc:docChgLst>
  <pc:docChgLst>
    <pc:chgData name="González Uriarte, Guillermo" userId="S::gguriarte@minsait.com::21c8d51d-d2c1-4f79-8904-8333abcf2908" providerId="AD" clId="Web-{CA1B9EB7-0CC5-4DDC-A2C5-FA2670FE4CC4}"/>
    <pc:docChg chg="modSld">
      <pc:chgData name="González Uriarte, Guillermo" userId="S::gguriarte@minsait.com::21c8d51d-d2c1-4f79-8904-8333abcf2908" providerId="AD" clId="Web-{CA1B9EB7-0CC5-4DDC-A2C5-FA2670FE4CC4}" dt="2021-06-30T13:45:48.933" v="5" actId="20577"/>
      <pc:docMkLst>
        <pc:docMk/>
      </pc:docMkLst>
      <pc:sldChg chg="modSp">
        <pc:chgData name="González Uriarte, Guillermo" userId="S::gguriarte@minsait.com::21c8d51d-d2c1-4f79-8904-8333abcf2908" providerId="AD" clId="Web-{CA1B9EB7-0CC5-4DDC-A2C5-FA2670FE4CC4}" dt="2021-06-30T13:45:48.933" v="5" actId="20577"/>
        <pc:sldMkLst>
          <pc:docMk/>
          <pc:sldMk cId="1353062943" sldId="487"/>
        </pc:sldMkLst>
        <pc:spChg chg="mod">
          <ac:chgData name="González Uriarte, Guillermo" userId="S::gguriarte@minsait.com::21c8d51d-d2c1-4f79-8904-8333abcf2908" providerId="AD" clId="Web-{CA1B9EB7-0CC5-4DDC-A2C5-FA2670FE4CC4}" dt="2021-06-30T13:44:38.150" v="1" actId="20577"/>
          <ac:spMkLst>
            <pc:docMk/>
            <pc:sldMk cId="1353062943" sldId="487"/>
            <ac:spMk id="111" creationId="{00000000-0000-0000-0000-000000000000}"/>
          </ac:spMkLst>
        </pc:spChg>
        <pc:spChg chg="mod">
          <ac:chgData name="González Uriarte, Guillermo" userId="S::gguriarte@minsait.com::21c8d51d-d2c1-4f79-8904-8333abcf2908" providerId="AD" clId="Web-{CA1B9EB7-0CC5-4DDC-A2C5-FA2670FE4CC4}" dt="2021-06-30T13:45:48.933" v="5" actId="20577"/>
          <ac:spMkLst>
            <pc:docMk/>
            <pc:sldMk cId="1353062943" sldId="487"/>
            <ac:spMk id="112" creationId="{00000000-0000-0000-0000-000000000000}"/>
          </ac:spMkLst>
        </pc:spChg>
        <pc:spChg chg="mod">
          <ac:chgData name="González Uriarte, Guillermo" userId="S::gguriarte@minsait.com::21c8d51d-d2c1-4f79-8904-8333abcf2908" providerId="AD" clId="Web-{CA1B9EB7-0CC5-4DDC-A2C5-FA2670FE4CC4}" dt="2021-06-30T13:45:41.730" v="4" actId="20577"/>
          <ac:spMkLst>
            <pc:docMk/>
            <pc:sldMk cId="1353062943" sldId="487"/>
            <ac:spMk id="114" creationId="{00000000-0000-0000-0000-000000000000}"/>
          </ac:spMkLst>
        </pc:spChg>
      </pc:sldChg>
    </pc:docChg>
  </pc:docChgLst>
  <pc:docChgLst>
    <pc:chgData name="Fernandez Alcalde, Alfonso" userId="S::afalcalde@minsait.com::b7c5ac83-aa81-4dd5-83c6-f1154879ede7" providerId="AD" clId="Web-{F163FA07-369E-4A45-8A46-CDC110446A02}"/>
    <pc:docChg chg="addSld modSld">
      <pc:chgData name="Fernandez Alcalde, Alfonso" userId="S::afalcalde@minsait.com::b7c5ac83-aa81-4dd5-83c6-f1154879ede7" providerId="AD" clId="Web-{F163FA07-369E-4A45-8A46-CDC110446A02}" dt="2021-01-28T17:19:16.504" v="830" actId="20577"/>
      <pc:docMkLst>
        <pc:docMk/>
      </pc:docMkLst>
      <pc:sldChg chg="addSp delSp modSp add replId">
        <pc:chgData name="Fernandez Alcalde, Alfonso" userId="S::afalcalde@minsait.com::b7c5ac83-aa81-4dd5-83c6-f1154879ede7" providerId="AD" clId="Web-{F163FA07-369E-4A45-8A46-CDC110446A02}" dt="2021-01-28T17:19:16.504" v="830" actId="20577"/>
        <pc:sldMkLst>
          <pc:docMk/>
          <pc:sldMk cId="2316000529" sldId="476"/>
        </pc:sldMkLst>
        <pc:spChg chg="add mod">
          <ac:chgData name="Fernandez Alcalde, Alfonso" userId="S::afalcalde@minsait.com::b7c5ac83-aa81-4dd5-83c6-f1154879ede7" providerId="AD" clId="Web-{F163FA07-369E-4A45-8A46-CDC110446A02}" dt="2021-01-28T17:07:05.301" v="470" actId="20577"/>
          <ac:spMkLst>
            <pc:docMk/>
            <pc:sldMk cId="2316000529" sldId="476"/>
            <ac:spMk id="18" creationId="{8AF79939-3AE3-4A9C-8407-AFB0D18EBEA5}"/>
          </ac:spMkLst>
        </pc:spChg>
        <pc:spChg chg="add mod">
          <ac:chgData name="Fernandez Alcalde, Alfonso" userId="S::afalcalde@minsait.com::b7c5ac83-aa81-4dd5-83c6-f1154879ede7" providerId="AD" clId="Web-{F163FA07-369E-4A45-8A46-CDC110446A02}" dt="2021-01-28T17:06:48.348" v="464" actId="20577"/>
          <ac:spMkLst>
            <pc:docMk/>
            <pc:sldMk cId="2316000529" sldId="476"/>
            <ac:spMk id="19" creationId="{B676CD96-BD88-4DCE-94CD-C9996967BD91}"/>
          </ac:spMkLst>
        </pc:spChg>
        <pc:spChg chg="add mod">
          <ac:chgData name="Fernandez Alcalde, Alfonso" userId="S::afalcalde@minsait.com::b7c5ac83-aa81-4dd5-83c6-f1154879ede7" providerId="AD" clId="Web-{F163FA07-369E-4A45-8A46-CDC110446A02}" dt="2021-01-28T17:09:28.367" v="590" actId="14100"/>
          <ac:spMkLst>
            <pc:docMk/>
            <pc:sldMk cId="2316000529" sldId="476"/>
            <ac:spMk id="20" creationId="{F65B0C95-39EE-4803-92D7-AA0F4673C2A6}"/>
          </ac:spMkLst>
        </pc:spChg>
        <pc:spChg chg="add mod">
          <ac:chgData name="Fernandez Alcalde, Alfonso" userId="S::afalcalde@minsait.com::b7c5ac83-aa81-4dd5-83c6-f1154879ede7" providerId="AD" clId="Web-{F163FA07-369E-4A45-8A46-CDC110446A02}" dt="2021-01-28T17:07:49.912" v="481" actId="20577"/>
          <ac:spMkLst>
            <pc:docMk/>
            <pc:sldMk cId="2316000529" sldId="476"/>
            <ac:spMk id="21" creationId="{10FED56C-72BA-4711-9A02-9D2D662DA4DB}"/>
          </ac:spMkLst>
        </pc:spChg>
        <pc:spChg chg="add mod">
          <ac:chgData name="Fernandez Alcalde, Alfonso" userId="S::afalcalde@minsait.com::b7c5ac83-aa81-4dd5-83c6-f1154879ede7" providerId="AD" clId="Web-{F163FA07-369E-4A45-8A46-CDC110446A02}" dt="2021-01-28T17:13:23.325" v="683" actId="20577"/>
          <ac:spMkLst>
            <pc:docMk/>
            <pc:sldMk cId="2316000529" sldId="476"/>
            <ac:spMk id="22" creationId="{BBCF72F5-F34F-44E2-8E93-79C350803389}"/>
          </ac:spMkLst>
        </pc:spChg>
        <pc:spChg chg="add mod">
          <ac:chgData name="Fernandez Alcalde, Alfonso" userId="S::afalcalde@minsait.com::b7c5ac83-aa81-4dd5-83c6-f1154879ede7" providerId="AD" clId="Web-{F163FA07-369E-4A45-8A46-CDC110446A02}" dt="2021-01-28T17:11:36.104" v="670" actId="20577"/>
          <ac:spMkLst>
            <pc:docMk/>
            <pc:sldMk cId="2316000529" sldId="476"/>
            <ac:spMk id="23" creationId="{71344FB4-F36C-464A-BA58-3D18AF81CDD2}"/>
          </ac:spMkLst>
        </pc:spChg>
        <pc:spChg chg="add mod">
          <ac:chgData name="Fernandez Alcalde, Alfonso" userId="S::afalcalde@minsait.com::b7c5ac83-aa81-4dd5-83c6-f1154879ede7" providerId="AD" clId="Web-{F163FA07-369E-4A45-8A46-CDC110446A02}" dt="2021-01-28T17:14:24.717" v="692" actId="20577"/>
          <ac:spMkLst>
            <pc:docMk/>
            <pc:sldMk cId="2316000529" sldId="476"/>
            <ac:spMk id="24" creationId="{F69E4192-5673-49D3-9178-0B66F679A109}"/>
          </ac:spMkLst>
        </pc:spChg>
        <pc:spChg chg="add mod">
          <ac:chgData name="Fernandez Alcalde, Alfonso" userId="S::afalcalde@minsait.com::b7c5ac83-aa81-4dd5-83c6-f1154879ede7" providerId="AD" clId="Web-{F163FA07-369E-4A45-8A46-CDC110446A02}" dt="2021-01-28T17:17:08.080" v="748" actId="20577"/>
          <ac:spMkLst>
            <pc:docMk/>
            <pc:sldMk cId="2316000529" sldId="476"/>
            <ac:spMk id="25" creationId="{615FF71D-C6D2-44DD-AF92-728E3DBE1759}"/>
          </ac:spMkLst>
        </pc:spChg>
        <pc:spChg chg="add mod">
          <ac:chgData name="Fernandez Alcalde, Alfonso" userId="S::afalcalde@minsait.com::b7c5ac83-aa81-4dd5-83c6-f1154879ede7" providerId="AD" clId="Web-{F163FA07-369E-4A45-8A46-CDC110446A02}" dt="2021-01-28T17:16:33.704" v="733" actId="20577"/>
          <ac:spMkLst>
            <pc:docMk/>
            <pc:sldMk cId="2316000529" sldId="476"/>
            <ac:spMk id="26" creationId="{7E70D1E7-AEFA-4627-A209-D873C2D99ECF}"/>
          </ac:spMkLst>
        </pc:spChg>
        <pc:spChg chg="add mod">
          <ac:chgData name="Fernandez Alcalde, Alfonso" userId="S::afalcalde@minsait.com::b7c5ac83-aa81-4dd5-83c6-f1154879ede7" providerId="AD" clId="Web-{F163FA07-369E-4A45-8A46-CDC110446A02}" dt="2021-01-28T17:15:51.328" v="730" actId="1076"/>
          <ac:spMkLst>
            <pc:docMk/>
            <pc:sldMk cId="2316000529" sldId="476"/>
            <ac:spMk id="27" creationId="{2A15EC10-1EFC-4B69-8201-67E4DAED1669}"/>
          </ac:spMkLst>
        </pc:spChg>
        <pc:spChg chg="mod">
          <ac:chgData name="Fernandez Alcalde, Alfonso" userId="S::afalcalde@minsait.com::b7c5ac83-aa81-4dd5-83c6-f1154879ede7" providerId="AD" clId="Web-{F163FA07-369E-4A45-8A46-CDC110446A02}" dt="2021-01-28T16:56:30.038" v="15" actId="20577"/>
          <ac:spMkLst>
            <pc:docMk/>
            <pc:sldMk cId="2316000529" sldId="476"/>
            <ac:spMk id="31" creationId="{0F4E0202-A252-624B-BDF1-C6AE5E8A25DE}"/>
          </ac:spMkLst>
        </pc:spChg>
        <pc:spChg chg="mod">
          <ac:chgData name="Fernandez Alcalde, Alfonso" userId="S::afalcalde@minsait.com::b7c5ac83-aa81-4dd5-83c6-f1154879ede7" providerId="AD" clId="Web-{F163FA07-369E-4A45-8A46-CDC110446A02}" dt="2021-01-28T17:14:07.248" v="688" actId="14100"/>
          <ac:spMkLst>
            <pc:docMk/>
            <pc:sldMk cId="2316000529" sldId="476"/>
            <ac:spMk id="37" creationId="{E4530058-C2FA-384F-825E-F61EC4296641}"/>
          </ac:spMkLst>
        </pc:spChg>
        <pc:spChg chg="mod">
          <ac:chgData name="Fernandez Alcalde, Alfonso" userId="S::afalcalde@minsait.com::b7c5ac83-aa81-4dd5-83c6-f1154879ede7" providerId="AD" clId="Web-{F163FA07-369E-4A45-8A46-CDC110446A02}" dt="2021-01-28T17:00:17.340" v="167" actId="20577"/>
          <ac:spMkLst>
            <pc:docMk/>
            <pc:sldMk cId="2316000529" sldId="476"/>
            <ac:spMk id="40" creationId="{2671AB7D-9A8C-BF47-AEB3-28A9D0EE694D}"/>
          </ac:spMkLst>
        </pc:spChg>
        <pc:spChg chg="mod">
          <ac:chgData name="Fernandez Alcalde, Alfonso" userId="S::afalcalde@minsait.com::b7c5ac83-aa81-4dd5-83c6-f1154879ede7" providerId="AD" clId="Web-{F163FA07-369E-4A45-8A46-CDC110446A02}" dt="2021-01-28T16:53:20.331" v="12" actId="20577"/>
          <ac:spMkLst>
            <pc:docMk/>
            <pc:sldMk cId="2316000529" sldId="476"/>
            <ac:spMk id="41" creationId="{0F4E0202-A252-624B-BDF1-C6AE5E8A25DE}"/>
          </ac:spMkLst>
        </pc:spChg>
        <pc:spChg chg="mod">
          <ac:chgData name="Fernandez Alcalde, Alfonso" userId="S::afalcalde@minsait.com::b7c5ac83-aa81-4dd5-83c6-f1154879ede7" providerId="AD" clId="Web-{F163FA07-369E-4A45-8A46-CDC110446A02}" dt="2021-01-28T17:01:36.091" v="257" actId="20577"/>
          <ac:spMkLst>
            <pc:docMk/>
            <pc:sldMk cId="2316000529" sldId="476"/>
            <ac:spMk id="45" creationId="{1813E8C3-18D9-0B4B-8FCA-406B39785552}"/>
          </ac:spMkLst>
        </pc:spChg>
        <pc:spChg chg="del">
          <ac:chgData name="Fernandez Alcalde, Alfonso" userId="S::afalcalde@minsait.com::b7c5ac83-aa81-4dd5-83c6-f1154879ede7" providerId="AD" clId="Web-{F163FA07-369E-4A45-8A46-CDC110446A02}" dt="2021-01-28T17:07:09.692" v="471"/>
          <ac:spMkLst>
            <pc:docMk/>
            <pc:sldMk cId="2316000529" sldId="476"/>
            <ac:spMk id="46" creationId="{89221374-508B-FF4A-9DFB-601E8041A74B}"/>
          </ac:spMkLst>
        </pc:spChg>
        <pc:spChg chg="mod">
          <ac:chgData name="Fernandez Alcalde, Alfonso" userId="S::afalcalde@minsait.com::b7c5ac83-aa81-4dd5-83c6-f1154879ede7" providerId="AD" clId="Web-{F163FA07-369E-4A45-8A46-CDC110446A02}" dt="2021-01-28T17:19:16.504" v="830" actId="20577"/>
          <ac:spMkLst>
            <pc:docMk/>
            <pc:sldMk cId="2316000529" sldId="476"/>
            <ac:spMk id="53" creationId="{AB2E014F-704F-3649-A8CA-79AC24262337}"/>
          </ac:spMkLst>
        </pc:spChg>
        <pc:spChg chg="mod">
          <ac:chgData name="Fernandez Alcalde, Alfonso" userId="S::afalcalde@minsait.com::b7c5ac83-aa81-4dd5-83c6-f1154879ede7" providerId="AD" clId="Web-{F163FA07-369E-4A45-8A46-CDC110446A02}" dt="2021-01-28T17:14:03.013" v="687" actId="20577"/>
          <ac:spMkLst>
            <pc:docMk/>
            <pc:sldMk cId="2316000529" sldId="476"/>
            <ac:spMk id="73" creationId="{592FED21-684F-1C48-9233-F269DFEF0F10}"/>
          </ac:spMkLst>
        </pc:spChg>
        <pc:spChg chg="mod">
          <ac:chgData name="Fernandez Alcalde, Alfonso" userId="S::afalcalde@minsait.com::b7c5ac83-aa81-4dd5-83c6-f1154879ede7" providerId="AD" clId="Web-{F163FA07-369E-4A45-8A46-CDC110446A02}" dt="2021-01-28T17:13:20.747" v="682" actId="20577"/>
          <ac:spMkLst>
            <pc:docMk/>
            <pc:sldMk cId="2316000529" sldId="476"/>
            <ac:spMk id="74" creationId="{7B82553E-CC55-FE4B-A11B-DE0E22DC5EE6}"/>
          </ac:spMkLst>
        </pc:spChg>
      </pc:sldChg>
    </pc:docChg>
  </pc:docChgLst>
  <pc:docChgLst>
    <pc:chgData name="Pérez Campo, Juan Carlos" userId="S::jcperezc@minsait.com::d6a703b6-09dc-4446-8583-aa5de42703d0" providerId="AD" clId="Web-{4305CF03-3981-4485-BD55-837DE4D8C401}"/>
    <pc:docChg chg="modSld">
      <pc:chgData name="Pérez Campo, Juan Carlos" userId="S::jcperezc@minsait.com::d6a703b6-09dc-4446-8583-aa5de42703d0" providerId="AD" clId="Web-{4305CF03-3981-4485-BD55-837DE4D8C401}" dt="2021-06-28T14:36:27.455" v="4" actId="20577"/>
      <pc:docMkLst>
        <pc:docMk/>
      </pc:docMkLst>
      <pc:sldChg chg="modSp">
        <pc:chgData name="Pérez Campo, Juan Carlos" userId="S::jcperezc@minsait.com::d6a703b6-09dc-4446-8583-aa5de42703d0" providerId="AD" clId="Web-{4305CF03-3981-4485-BD55-837DE4D8C401}" dt="2021-06-28T14:36:27.455" v="4" actId="20577"/>
        <pc:sldMkLst>
          <pc:docMk/>
          <pc:sldMk cId="1860150701" sldId="471"/>
        </pc:sldMkLst>
        <pc:spChg chg="mod">
          <ac:chgData name="Pérez Campo, Juan Carlos" userId="S::jcperezc@minsait.com::d6a703b6-09dc-4446-8583-aa5de42703d0" providerId="AD" clId="Web-{4305CF03-3981-4485-BD55-837DE4D8C401}" dt="2021-06-28T14:36:27.455" v="4" actId="20577"/>
          <ac:spMkLst>
            <pc:docMk/>
            <pc:sldMk cId="1860150701" sldId="471"/>
            <ac:spMk id="37" creationId="{E4530058-C2FA-384F-825E-F61EC4296641}"/>
          </ac:spMkLst>
        </pc:spChg>
        <pc:spChg chg="mod">
          <ac:chgData name="Pérez Campo, Juan Carlos" userId="S::jcperezc@minsait.com::d6a703b6-09dc-4446-8583-aa5de42703d0" providerId="AD" clId="Web-{4305CF03-3981-4485-BD55-837DE4D8C401}" dt="2021-06-28T14:35:53.235" v="0" actId="20577"/>
          <ac:spMkLst>
            <pc:docMk/>
            <pc:sldMk cId="1860150701" sldId="471"/>
            <ac:spMk id="40" creationId="{00000000-0000-0000-0000-000000000000}"/>
          </ac:spMkLst>
        </pc:spChg>
      </pc:sldChg>
    </pc:docChg>
  </pc:docChgLst>
  <pc:docChgLst>
    <pc:chgData name="Moreno Valero, Juan Andrés" userId="S::jamvalero@minsait.com::c2a29a12-9d48-4ccc-b16d-de0b4daa98fc" providerId="AD" clId="Web-{6653BD5D-3CA8-4229-AFA1-F055672C33F2}"/>
    <pc:docChg chg="delSld">
      <pc:chgData name="Moreno Valero, Juan Andrés" userId="S::jamvalero@minsait.com::c2a29a12-9d48-4ccc-b16d-de0b4daa98fc" providerId="AD" clId="Web-{6653BD5D-3CA8-4229-AFA1-F055672C33F2}" dt="2021-01-22T10:19:51.211" v="0"/>
      <pc:docMkLst>
        <pc:docMk/>
      </pc:docMkLst>
      <pc:sldChg chg="del">
        <pc:chgData name="Moreno Valero, Juan Andrés" userId="S::jamvalero@minsait.com::c2a29a12-9d48-4ccc-b16d-de0b4daa98fc" providerId="AD" clId="Web-{6653BD5D-3CA8-4229-AFA1-F055672C33F2}" dt="2021-01-22T10:19:51.211" v="0"/>
        <pc:sldMkLst>
          <pc:docMk/>
          <pc:sldMk cId="2530576887" sldId="462"/>
        </pc:sldMkLst>
      </pc:sldChg>
    </pc:docChg>
  </pc:docChgLst>
  <pc:docChgLst>
    <pc:chgData name="Vallés I Fernández, Albert" userId="S::avallesf@minsait.com::d322623e-56a6-4fe8-9877-6ce24cb0791b" providerId="AD" clId="Web-{7AF0E70B-6C38-4E72-8BF6-9B723F072A68}"/>
    <pc:docChg chg="addSld delSld modSld">
      <pc:chgData name="Vallés I Fernández, Albert" userId="S::avallesf@minsait.com::d322623e-56a6-4fe8-9877-6ce24cb0791b" providerId="AD" clId="Web-{7AF0E70B-6C38-4E72-8BF6-9B723F072A68}" dt="2021-06-23T13:44:01.731" v="119" actId="20577"/>
      <pc:docMkLst>
        <pc:docMk/>
      </pc:docMkLst>
      <pc:sldChg chg="addSp delSp modSp">
        <pc:chgData name="Vallés I Fernández, Albert" userId="S::avallesf@minsait.com::d322623e-56a6-4fe8-9877-6ce24cb0791b" providerId="AD" clId="Web-{7AF0E70B-6C38-4E72-8BF6-9B723F072A68}" dt="2021-06-23T13:44:01.731" v="119" actId="20577"/>
        <pc:sldMkLst>
          <pc:docMk/>
          <pc:sldMk cId="416295926" sldId="498"/>
        </pc:sldMkLst>
        <pc:spChg chg="del">
          <ac:chgData name="Vallés I Fernández, Albert" userId="S::avallesf@minsait.com::d322623e-56a6-4fe8-9877-6ce24cb0791b" providerId="AD" clId="Web-{7AF0E70B-6C38-4E72-8BF6-9B723F072A68}" dt="2021-06-23T13:39:21.133" v="73"/>
          <ac:spMkLst>
            <pc:docMk/>
            <pc:sldMk cId="416295926" sldId="498"/>
            <ac:spMk id="26" creationId="{00000000-0000-0000-0000-000000000000}"/>
          </ac:spMkLst>
        </pc:spChg>
        <pc:spChg chg="mod">
          <ac:chgData name="Vallés I Fernández, Albert" userId="S::avallesf@minsait.com::d322623e-56a6-4fe8-9877-6ce24cb0791b" providerId="AD" clId="Web-{7AF0E70B-6C38-4E72-8BF6-9B723F072A68}" dt="2021-06-23T13:44:01.731" v="119" actId="20577"/>
          <ac:spMkLst>
            <pc:docMk/>
            <pc:sldMk cId="416295926" sldId="498"/>
            <ac:spMk id="27" creationId="{00000000-0000-0000-0000-000000000000}"/>
          </ac:spMkLst>
        </pc:spChg>
        <pc:spChg chg="del">
          <ac:chgData name="Vallés I Fernández, Albert" userId="S::avallesf@minsait.com::d322623e-56a6-4fe8-9877-6ce24cb0791b" providerId="AD" clId="Web-{7AF0E70B-6C38-4E72-8BF6-9B723F072A68}" dt="2021-06-23T13:34:16.753" v="11"/>
          <ac:spMkLst>
            <pc:docMk/>
            <pc:sldMk cId="416295926" sldId="498"/>
            <ac:spMk id="28" creationId="{00000000-0000-0000-0000-000000000000}"/>
          </ac:spMkLst>
        </pc:spChg>
        <pc:spChg chg="del mod">
          <ac:chgData name="Vallés I Fernández, Albert" userId="S::avallesf@minsait.com::d322623e-56a6-4fe8-9877-6ce24cb0791b" providerId="AD" clId="Web-{7AF0E70B-6C38-4E72-8BF6-9B723F072A68}" dt="2021-06-23T13:34:22.690" v="19"/>
          <ac:spMkLst>
            <pc:docMk/>
            <pc:sldMk cId="416295926" sldId="498"/>
            <ac:spMk id="29" creationId="{00000000-0000-0000-0000-000000000000}"/>
          </ac:spMkLst>
        </pc:spChg>
        <pc:spChg chg="mod">
          <ac:chgData name="Vallés I Fernández, Albert" userId="S::avallesf@minsait.com::d322623e-56a6-4fe8-9877-6ce24cb0791b" providerId="AD" clId="Web-{7AF0E70B-6C38-4E72-8BF6-9B723F072A68}" dt="2021-06-23T13:43:03.059" v="110" actId="20577"/>
          <ac:spMkLst>
            <pc:docMk/>
            <pc:sldMk cId="416295926" sldId="498"/>
            <ac:spMk id="32" creationId="{00000000-0000-0000-0000-000000000000}"/>
          </ac:spMkLst>
        </pc:spChg>
        <pc:spChg chg="del mod">
          <ac:chgData name="Vallés I Fernández, Albert" userId="S::avallesf@minsait.com::d322623e-56a6-4fe8-9877-6ce24cb0791b" providerId="AD" clId="Web-{7AF0E70B-6C38-4E72-8BF6-9B723F072A68}" dt="2021-06-23T13:37:14.990" v="48"/>
          <ac:spMkLst>
            <pc:docMk/>
            <pc:sldMk cId="416295926" sldId="498"/>
            <ac:spMk id="38" creationId="{00000000-0000-0000-0000-000000000000}"/>
          </ac:spMkLst>
        </pc:spChg>
        <pc:spChg chg="del">
          <ac:chgData name="Vallés I Fernández, Albert" userId="S::avallesf@minsait.com::d322623e-56a6-4fe8-9877-6ce24cb0791b" providerId="AD" clId="Web-{7AF0E70B-6C38-4E72-8BF6-9B723F072A68}" dt="2021-06-23T13:37:16.240" v="49"/>
          <ac:spMkLst>
            <pc:docMk/>
            <pc:sldMk cId="416295926" sldId="498"/>
            <ac:spMk id="39" creationId="{00000000-0000-0000-0000-000000000000}"/>
          </ac:spMkLst>
        </pc:spChg>
        <pc:spChg chg="del">
          <ac:chgData name="Vallés I Fernández, Albert" userId="S::avallesf@minsait.com::d322623e-56a6-4fe8-9877-6ce24cb0791b" providerId="AD" clId="Web-{7AF0E70B-6C38-4E72-8BF6-9B723F072A68}" dt="2021-06-23T13:34:18.565" v="12"/>
          <ac:spMkLst>
            <pc:docMk/>
            <pc:sldMk cId="416295926" sldId="498"/>
            <ac:spMk id="42" creationId="{00000000-0000-0000-0000-000000000000}"/>
          </ac:spMkLst>
        </pc:spChg>
        <pc:spChg chg="del mod">
          <ac:chgData name="Vallés I Fernández, Albert" userId="S::avallesf@minsait.com::d322623e-56a6-4fe8-9877-6ce24cb0791b" providerId="AD" clId="Web-{7AF0E70B-6C38-4E72-8BF6-9B723F072A68}" dt="2021-06-23T13:34:24.456" v="20"/>
          <ac:spMkLst>
            <pc:docMk/>
            <pc:sldMk cId="416295926" sldId="498"/>
            <ac:spMk id="43" creationId="{00000000-0000-0000-0000-000000000000}"/>
          </ac:spMkLst>
        </pc:spChg>
        <pc:spChg chg="mod">
          <ac:chgData name="Vallés I Fernández, Albert" userId="S::avallesf@minsait.com::d322623e-56a6-4fe8-9877-6ce24cb0791b" providerId="AD" clId="Web-{7AF0E70B-6C38-4E72-8BF6-9B723F072A68}" dt="2021-06-23T13:40:54.697" v="90" actId="1076"/>
          <ac:spMkLst>
            <pc:docMk/>
            <pc:sldMk cId="416295926" sldId="498"/>
            <ac:spMk id="96" creationId="{00000000-0000-0000-0000-000000000000}"/>
          </ac:spMkLst>
        </pc:spChg>
        <pc:spChg chg="mod">
          <ac:chgData name="Vallés I Fernández, Albert" userId="S::avallesf@minsait.com::d322623e-56a6-4fe8-9877-6ce24cb0791b" providerId="AD" clId="Web-{7AF0E70B-6C38-4E72-8BF6-9B723F072A68}" dt="2021-06-23T13:37:38.881" v="51" actId="20577"/>
          <ac:spMkLst>
            <pc:docMk/>
            <pc:sldMk cId="416295926" sldId="498"/>
            <ac:spMk id="97" creationId="{00000000-0000-0000-0000-000000000000}"/>
          </ac:spMkLst>
        </pc:spChg>
        <pc:spChg chg="mod">
          <ac:chgData name="Vallés I Fernández, Albert" userId="S::avallesf@minsait.com::d322623e-56a6-4fe8-9877-6ce24cb0791b" providerId="AD" clId="Web-{7AF0E70B-6C38-4E72-8BF6-9B723F072A68}" dt="2021-06-23T13:41:41.792" v="100" actId="20577"/>
          <ac:spMkLst>
            <pc:docMk/>
            <pc:sldMk cId="416295926" sldId="498"/>
            <ac:spMk id="102" creationId="{00000000-0000-0000-0000-000000000000}"/>
          </ac:spMkLst>
        </pc:spChg>
        <pc:spChg chg="mod">
          <ac:chgData name="Vallés I Fernández, Albert" userId="S::avallesf@minsait.com::d322623e-56a6-4fe8-9877-6ce24cb0791b" providerId="AD" clId="Web-{7AF0E70B-6C38-4E72-8BF6-9B723F072A68}" dt="2021-06-23T13:41:13.510" v="92" actId="1076"/>
          <ac:spMkLst>
            <pc:docMk/>
            <pc:sldMk cId="416295926" sldId="498"/>
            <ac:spMk id="103" creationId="{00000000-0000-0000-0000-000000000000}"/>
          </ac:spMkLst>
        </pc:spChg>
        <pc:spChg chg="mod">
          <ac:chgData name="Vallés I Fernández, Albert" userId="S::avallesf@minsait.com::d322623e-56a6-4fe8-9877-6ce24cb0791b" providerId="AD" clId="Web-{7AF0E70B-6C38-4E72-8BF6-9B723F072A68}" dt="2021-06-23T13:39:17.524" v="72" actId="20577"/>
          <ac:spMkLst>
            <pc:docMk/>
            <pc:sldMk cId="416295926" sldId="498"/>
            <ac:spMk id="105" creationId="{00000000-0000-0000-0000-000000000000}"/>
          </ac:spMkLst>
        </pc:spChg>
        <pc:spChg chg="mod">
          <ac:chgData name="Vallés I Fernández, Albert" userId="S::avallesf@minsait.com::d322623e-56a6-4fe8-9877-6ce24cb0791b" providerId="AD" clId="Web-{7AF0E70B-6C38-4E72-8BF6-9B723F072A68}" dt="2021-06-23T13:41:37.932" v="98" actId="20577"/>
          <ac:spMkLst>
            <pc:docMk/>
            <pc:sldMk cId="416295926" sldId="498"/>
            <ac:spMk id="109" creationId="{00000000-0000-0000-0000-000000000000}"/>
          </ac:spMkLst>
        </pc:spChg>
        <pc:spChg chg="mod">
          <ac:chgData name="Vallés I Fernández, Albert" userId="S::avallesf@minsait.com::d322623e-56a6-4fe8-9877-6ce24cb0791b" providerId="AD" clId="Web-{7AF0E70B-6C38-4E72-8BF6-9B723F072A68}" dt="2021-06-23T13:42:20.480" v="107" actId="20577"/>
          <ac:spMkLst>
            <pc:docMk/>
            <pc:sldMk cId="416295926" sldId="498"/>
            <ac:spMk id="110" creationId="{00000000-0000-0000-0000-000000000000}"/>
          </ac:spMkLst>
        </pc:spChg>
        <pc:spChg chg="del mod">
          <ac:chgData name="Vallés I Fernández, Albert" userId="S::avallesf@minsait.com::d322623e-56a6-4fe8-9877-6ce24cb0791b" providerId="AD" clId="Web-{7AF0E70B-6C38-4E72-8BF6-9B723F072A68}" dt="2021-06-23T13:40:23.759" v="80"/>
          <ac:spMkLst>
            <pc:docMk/>
            <pc:sldMk cId="416295926" sldId="498"/>
            <ac:spMk id="111" creationId="{00000000-0000-0000-0000-000000000000}"/>
          </ac:spMkLst>
        </pc:spChg>
        <pc:spChg chg="mod">
          <ac:chgData name="Vallés I Fernández, Albert" userId="S::avallesf@minsait.com::d322623e-56a6-4fe8-9877-6ce24cb0791b" providerId="AD" clId="Web-{7AF0E70B-6C38-4E72-8BF6-9B723F072A68}" dt="2021-06-23T13:41:34.995" v="96" actId="20577"/>
          <ac:spMkLst>
            <pc:docMk/>
            <pc:sldMk cId="416295926" sldId="498"/>
            <ac:spMk id="112" creationId="{00000000-0000-0000-0000-000000000000}"/>
          </ac:spMkLst>
        </pc:spChg>
        <pc:spChg chg="mod">
          <ac:chgData name="Vallés I Fernández, Albert" userId="S::avallesf@minsait.com::d322623e-56a6-4fe8-9877-6ce24cb0791b" providerId="AD" clId="Web-{7AF0E70B-6C38-4E72-8BF6-9B723F072A68}" dt="2021-06-23T13:35:00.613" v="34" actId="20577"/>
          <ac:spMkLst>
            <pc:docMk/>
            <pc:sldMk cId="416295926" sldId="498"/>
            <ac:spMk id="113" creationId="{00000000-0000-0000-0000-000000000000}"/>
          </ac:spMkLst>
        </pc:spChg>
        <pc:spChg chg="mod">
          <ac:chgData name="Vallés I Fernández, Albert" userId="S::avallesf@minsait.com::d322623e-56a6-4fe8-9877-6ce24cb0791b" providerId="AD" clId="Web-{7AF0E70B-6C38-4E72-8BF6-9B723F072A68}" dt="2021-06-23T13:35:25.145" v="35" actId="20577"/>
          <ac:spMkLst>
            <pc:docMk/>
            <pc:sldMk cId="416295926" sldId="498"/>
            <ac:spMk id="114" creationId="{00000000-0000-0000-0000-000000000000}"/>
          </ac:spMkLst>
        </pc:spChg>
        <pc:spChg chg="add del mod">
          <ac:chgData name="Vallés I Fernández, Albert" userId="S::avallesf@minsait.com::d322623e-56a6-4fe8-9877-6ce24cb0791b" providerId="AD" clId="Web-{7AF0E70B-6C38-4E72-8BF6-9B723F072A68}" dt="2021-06-23T13:40:38.962" v="86"/>
          <ac:spMkLst>
            <pc:docMk/>
            <pc:sldMk cId="416295926" sldId="498"/>
            <ac:spMk id="117" creationId="{00000000-0000-0000-0000-000000000000}"/>
          </ac:spMkLst>
        </pc:spChg>
      </pc:sldChg>
      <pc:sldChg chg="new del">
        <pc:chgData name="Vallés I Fernández, Albert" userId="S::avallesf@minsait.com::d322623e-56a6-4fe8-9877-6ce24cb0791b" providerId="AD" clId="Web-{7AF0E70B-6C38-4E72-8BF6-9B723F072A68}" dt="2021-06-23T13:30:37.452" v="1"/>
        <pc:sldMkLst>
          <pc:docMk/>
          <pc:sldMk cId="1403105751" sldId="504"/>
        </pc:sldMkLst>
      </pc:sldChg>
    </pc:docChg>
  </pc:docChgLst>
  <pc:docChgLst>
    <pc:chgData name="Bordas González, David" userId="S::dbordas@minsait.com::b2d37a1d-4b02-4e5d-9727-88e83667a775" providerId="AD" clId="Web-{1301544C-079E-419F-AC71-0C2890C0C3B7}"/>
    <pc:docChg chg="addSld delSld">
      <pc:chgData name="Bordas González, David" userId="S::dbordas@minsait.com::b2d37a1d-4b02-4e5d-9727-88e83667a775" providerId="AD" clId="Web-{1301544C-079E-419F-AC71-0C2890C0C3B7}" dt="2021-01-21T18:06:58.103" v="1"/>
      <pc:docMkLst>
        <pc:docMk/>
      </pc:docMkLst>
      <pc:sldChg chg="add del replId">
        <pc:chgData name="Bordas González, David" userId="S::dbordas@minsait.com::b2d37a1d-4b02-4e5d-9727-88e83667a775" providerId="AD" clId="Web-{1301544C-079E-419F-AC71-0C2890C0C3B7}" dt="2021-01-21T18:06:58.103" v="1"/>
        <pc:sldMkLst>
          <pc:docMk/>
          <pc:sldMk cId="1761449720" sldId="467"/>
        </pc:sldMkLst>
      </pc:sldChg>
    </pc:docChg>
  </pc:docChgLst>
  <pc:docChgLst>
    <pc:chgData name="Vallés Muñío, Guillermo" userId="S::gvalles@minsait.com::e42b044c-145b-4eb6-a22e-2361eadb577f" providerId="AD" clId="Web-{E31AF4EF-5626-4A6E-81E6-D2572A810CE2}"/>
    <pc:docChg chg="modSld">
      <pc:chgData name="Vallés Muñío, Guillermo" userId="S::gvalles@minsait.com::e42b044c-145b-4eb6-a22e-2361eadb577f" providerId="AD" clId="Web-{E31AF4EF-5626-4A6E-81E6-D2572A810CE2}" dt="2021-06-28T12:28:41.817" v="0"/>
      <pc:docMkLst>
        <pc:docMk/>
      </pc:docMkLst>
      <pc:sldChg chg="delSp">
        <pc:chgData name="Vallés Muñío, Guillermo" userId="S::gvalles@minsait.com::e42b044c-145b-4eb6-a22e-2361eadb577f" providerId="AD" clId="Web-{E31AF4EF-5626-4A6E-81E6-D2572A810CE2}" dt="2021-06-28T12:28:41.817" v="0"/>
        <pc:sldMkLst>
          <pc:docMk/>
          <pc:sldMk cId="1043126645" sldId="482"/>
        </pc:sldMkLst>
        <pc:spChg chg="del">
          <ac:chgData name="Vallés Muñío, Guillermo" userId="S::gvalles@minsait.com::e42b044c-145b-4eb6-a22e-2361eadb577f" providerId="AD" clId="Web-{E31AF4EF-5626-4A6E-81E6-D2572A810CE2}" dt="2021-06-28T12:28:41.817" v="0"/>
          <ac:spMkLst>
            <pc:docMk/>
            <pc:sldMk cId="1043126645" sldId="482"/>
            <ac:spMk id="31" creationId="{00000000-0000-0000-0000-000000000000}"/>
          </ac:spMkLst>
        </pc:spChg>
      </pc:sldChg>
    </pc:docChg>
  </pc:docChgLst>
  <pc:docChgLst>
    <pc:chgData name="Marín Daniel, Marcos" userId="S::mmarind@eservicios.indra.es::865c3132-1d6f-4385-b8a6-6bc46c5da955" providerId="AD" clId="Web-{90F672CB-D395-4950-BF76-896C4B83B8F8}"/>
    <pc:docChg chg="modSld">
      <pc:chgData name="Marín Daniel, Marcos" userId="S::mmarind@eservicios.indra.es::865c3132-1d6f-4385-b8a6-6bc46c5da955" providerId="AD" clId="Web-{90F672CB-D395-4950-BF76-896C4B83B8F8}" dt="2021-07-01T14:42:01.224" v="16" actId="20577"/>
      <pc:docMkLst>
        <pc:docMk/>
      </pc:docMkLst>
      <pc:sldChg chg="modSp">
        <pc:chgData name="Marín Daniel, Marcos" userId="S::mmarind@eservicios.indra.es::865c3132-1d6f-4385-b8a6-6bc46c5da955" providerId="AD" clId="Web-{90F672CB-D395-4950-BF76-896C4B83B8F8}" dt="2021-07-01T14:42:01.224" v="16" actId="20577"/>
        <pc:sldMkLst>
          <pc:docMk/>
          <pc:sldMk cId="3746400210" sldId="495"/>
        </pc:sldMkLst>
        <pc:spChg chg="mod">
          <ac:chgData name="Marín Daniel, Marcos" userId="S::mmarind@eservicios.indra.es::865c3132-1d6f-4385-b8a6-6bc46c5da955" providerId="AD" clId="Web-{90F672CB-D395-4950-BF76-896C4B83B8F8}" dt="2021-07-01T14:42:01.224" v="16" actId="20577"/>
          <ac:spMkLst>
            <pc:docMk/>
            <pc:sldMk cId="3746400210" sldId="495"/>
            <ac:spMk id="111" creationId="{00000000-0000-0000-0000-000000000000}"/>
          </ac:spMkLst>
        </pc:spChg>
      </pc:sldChg>
    </pc:docChg>
  </pc:docChgLst>
  <pc:docChgLst>
    <pc:chgData name="Rebaque Hernández, Alejandro" userId="S::arebaque@minsait.com::3e264f20-ce3c-4a46-b2ec-51c3c308b018" providerId="AD" clId="Web-{458F0956-BA9C-4938-8B9A-92A2D5167E64}"/>
    <pc:docChg chg="modSld">
      <pc:chgData name="Rebaque Hernández, Alejandro" userId="S::arebaque@minsait.com::3e264f20-ce3c-4a46-b2ec-51c3c308b018" providerId="AD" clId="Web-{458F0956-BA9C-4938-8B9A-92A2D5167E64}" dt="2021-06-21T08:55:22.171" v="268" actId="20577"/>
      <pc:docMkLst>
        <pc:docMk/>
      </pc:docMkLst>
      <pc:sldChg chg="addSp delSp modSp">
        <pc:chgData name="Rebaque Hernández, Alejandro" userId="S::arebaque@minsait.com::3e264f20-ce3c-4a46-b2ec-51c3c308b018" providerId="AD" clId="Web-{458F0956-BA9C-4938-8B9A-92A2D5167E64}" dt="2021-06-21T08:55:22.171" v="268" actId="20577"/>
        <pc:sldMkLst>
          <pc:docMk/>
          <pc:sldMk cId="3695170186" sldId="485"/>
        </pc:sldMkLst>
        <pc:spChg chg="mod">
          <ac:chgData name="Rebaque Hernández, Alejandro" userId="S::arebaque@minsait.com::3e264f20-ce3c-4a46-b2ec-51c3c308b018" providerId="AD" clId="Web-{458F0956-BA9C-4938-8B9A-92A2D5167E64}" dt="2021-06-21T08:47:41.240" v="224" actId="1076"/>
          <ac:spMkLst>
            <pc:docMk/>
            <pc:sldMk cId="3695170186" sldId="485"/>
            <ac:spMk id="29" creationId="{00000000-0000-0000-0000-000000000000}"/>
          </ac:spMkLst>
        </pc:spChg>
        <pc:spChg chg="add del mod">
          <ac:chgData name="Rebaque Hernández, Alejandro" userId="S::arebaque@minsait.com::3e264f20-ce3c-4a46-b2ec-51c3c308b018" providerId="AD" clId="Web-{458F0956-BA9C-4938-8B9A-92A2D5167E64}" dt="2021-06-21T08:36:31.211" v="12"/>
          <ac:spMkLst>
            <pc:docMk/>
            <pc:sldMk cId="3695170186" sldId="485"/>
            <ac:spMk id="30" creationId="{090A3C6A-29D5-4AF1-9243-A20982263A67}"/>
          </ac:spMkLst>
        </pc:spChg>
        <pc:spChg chg="add mod">
          <ac:chgData name="Rebaque Hernández, Alejandro" userId="S::arebaque@minsait.com::3e264f20-ce3c-4a46-b2ec-51c3c308b018" providerId="AD" clId="Web-{458F0956-BA9C-4938-8B9A-92A2D5167E64}" dt="2021-06-21T08:47:47.115" v="225" actId="1076"/>
          <ac:spMkLst>
            <pc:docMk/>
            <pc:sldMk cId="3695170186" sldId="485"/>
            <ac:spMk id="31" creationId="{7796213A-8BEC-48C5-8800-871952BC6CB4}"/>
          </ac:spMkLst>
        </pc:spChg>
        <pc:spChg chg="add del">
          <ac:chgData name="Rebaque Hernández, Alejandro" userId="S::arebaque@minsait.com::3e264f20-ce3c-4a46-b2ec-51c3c308b018" providerId="AD" clId="Web-{458F0956-BA9C-4938-8B9A-92A2D5167E64}" dt="2021-06-21T08:48:09.631" v="231"/>
          <ac:spMkLst>
            <pc:docMk/>
            <pc:sldMk cId="3695170186" sldId="485"/>
            <ac:spMk id="33" creationId="{6F49C563-FC95-4EDC-9F40-38536792710C}"/>
          </ac:spMkLst>
        </pc:spChg>
        <pc:spChg chg="add mod">
          <ac:chgData name="Rebaque Hernández, Alejandro" userId="S::arebaque@minsait.com::3e264f20-ce3c-4a46-b2ec-51c3c308b018" providerId="AD" clId="Web-{458F0956-BA9C-4938-8B9A-92A2D5167E64}" dt="2021-06-21T08:50:05.414" v="251" actId="20577"/>
          <ac:spMkLst>
            <pc:docMk/>
            <pc:sldMk cId="3695170186" sldId="485"/>
            <ac:spMk id="34" creationId="{3F2A8E2F-6B21-4E0A-80EE-BC5CBEF477D0}"/>
          </ac:spMkLst>
        </pc:spChg>
        <pc:spChg chg="mod">
          <ac:chgData name="Rebaque Hernández, Alejandro" userId="S::arebaque@minsait.com::3e264f20-ce3c-4a46-b2ec-51c3c308b018" providerId="AD" clId="Web-{458F0956-BA9C-4938-8B9A-92A2D5167E64}" dt="2021-06-21T08:47:56.959" v="228" actId="1076"/>
          <ac:spMkLst>
            <pc:docMk/>
            <pc:sldMk cId="3695170186" sldId="485"/>
            <ac:spMk id="96" creationId="{00000000-0000-0000-0000-000000000000}"/>
          </ac:spMkLst>
        </pc:spChg>
        <pc:spChg chg="mod">
          <ac:chgData name="Rebaque Hernández, Alejandro" userId="S::arebaque@minsait.com::3e264f20-ce3c-4a46-b2ec-51c3c308b018" providerId="AD" clId="Web-{458F0956-BA9C-4938-8B9A-92A2D5167E64}" dt="2021-06-21T08:46:47.457" v="212" actId="1076"/>
          <ac:spMkLst>
            <pc:docMk/>
            <pc:sldMk cId="3695170186" sldId="485"/>
            <ac:spMk id="102" creationId="{00000000-0000-0000-0000-000000000000}"/>
          </ac:spMkLst>
        </pc:spChg>
        <pc:spChg chg="mod">
          <ac:chgData name="Rebaque Hernández, Alejandro" userId="S::arebaque@minsait.com::3e264f20-ce3c-4a46-b2ec-51c3c308b018" providerId="AD" clId="Web-{458F0956-BA9C-4938-8B9A-92A2D5167E64}" dt="2021-06-21T08:46:39.692" v="211" actId="1076"/>
          <ac:spMkLst>
            <pc:docMk/>
            <pc:sldMk cId="3695170186" sldId="485"/>
            <ac:spMk id="103" creationId="{00000000-0000-0000-0000-000000000000}"/>
          </ac:spMkLst>
        </pc:spChg>
        <pc:spChg chg="mod">
          <ac:chgData name="Rebaque Hernández, Alejandro" userId="S::arebaque@minsait.com::3e264f20-ce3c-4a46-b2ec-51c3c308b018" providerId="AD" clId="Web-{458F0956-BA9C-4938-8B9A-92A2D5167E64}" dt="2021-06-21T08:47:03.286" v="214" actId="1076"/>
          <ac:spMkLst>
            <pc:docMk/>
            <pc:sldMk cId="3695170186" sldId="485"/>
            <ac:spMk id="109" creationId="{00000000-0000-0000-0000-000000000000}"/>
          </ac:spMkLst>
        </pc:spChg>
        <pc:spChg chg="mod">
          <ac:chgData name="Rebaque Hernández, Alejandro" userId="S::arebaque@minsait.com::3e264f20-ce3c-4a46-b2ec-51c3c308b018" providerId="AD" clId="Web-{458F0956-BA9C-4938-8B9A-92A2D5167E64}" dt="2021-06-21T08:55:22.171" v="268" actId="20577"/>
          <ac:spMkLst>
            <pc:docMk/>
            <pc:sldMk cId="3695170186" sldId="485"/>
            <ac:spMk id="110" creationId="{00000000-0000-0000-0000-000000000000}"/>
          </ac:spMkLst>
        </pc:spChg>
        <pc:spChg chg="mod">
          <ac:chgData name="Rebaque Hernández, Alejandro" userId="S::arebaque@minsait.com::3e264f20-ce3c-4a46-b2ec-51c3c308b018" providerId="AD" clId="Web-{458F0956-BA9C-4938-8B9A-92A2D5167E64}" dt="2021-06-21T08:48:02.287" v="229" actId="1076"/>
          <ac:spMkLst>
            <pc:docMk/>
            <pc:sldMk cId="3695170186" sldId="485"/>
            <ac:spMk id="111" creationId="{00000000-0000-0000-0000-000000000000}"/>
          </ac:spMkLst>
        </pc:spChg>
        <pc:spChg chg="mod">
          <ac:chgData name="Rebaque Hernández, Alejandro" userId="S::arebaque@minsait.com::3e264f20-ce3c-4a46-b2ec-51c3c308b018" providerId="AD" clId="Web-{458F0956-BA9C-4938-8B9A-92A2D5167E64}" dt="2021-06-21T08:47:25.083" v="221" actId="20577"/>
          <ac:spMkLst>
            <pc:docMk/>
            <pc:sldMk cId="3695170186" sldId="485"/>
            <ac:spMk id="113" creationId="{00000000-0000-0000-0000-000000000000}"/>
          </ac:spMkLst>
        </pc:spChg>
        <pc:spChg chg="mod">
          <ac:chgData name="Rebaque Hernández, Alejandro" userId="S::arebaque@minsait.com::3e264f20-ce3c-4a46-b2ec-51c3c308b018" providerId="AD" clId="Web-{458F0956-BA9C-4938-8B9A-92A2D5167E64}" dt="2021-06-21T08:42:10.155" v="121" actId="20577"/>
          <ac:spMkLst>
            <pc:docMk/>
            <pc:sldMk cId="3695170186" sldId="485"/>
            <ac:spMk id="114" creationId="{00000000-0000-0000-0000-000000000000}"/>
          </ac:spMkLst>
        </pc:spChg>
        <pc:spChg chg="mod">
          <ac:chgData name="Rebaque Hernández, Alejandro" userId="S::arebaque@minsait.com::3e264f20-ce3c-4a46-b2ec-51c3c308b018" providerId="AD" clId="Web-{458F0956-BA9C-4938-8B9A-92A2D5167E64}" dt="2021-06-21T08:47:52.896" v="226" actId="1076"/>
          <ac:spMkLst>
            <pc:docMk/>
            <pc:sldMk cId="3695170186" sldId="485"/>
            <ac:spMk id="117" creationId="{00000000-0000-0000-0000-000000000000}"/>
          </ac:spMkLst>
        </pc:spChg>
      </pc:sldChg>
    </pc:docChg>
  </pc:docChgLst>
  <pc:docChgLst>
    <pc:chgData name="Moreno Valero, Juan Andrés" userId="S::jamvalero@minsait.com::c2a29a12-9d48-4ccc-b16d-de0b4daa98fc" providerId="AD" clId="Web-{6AAC3FD2-0097-4B6D-AB10-4897C19A03DC}"/>
    <pc:docChg chg="modSld">
      <pc:chgData name="Moreno Valero, Juan Andrés" userId="S::jamvalero@minsait.com::c2a29a12-9d48-4ccc-b16d-de0b4daa98fc" providerId="AD" clId="Web-{6AAC3FD2-0097-4B6D-AB10-4897C19A03DC}" dt="2021-07-02T07:55:07.734" v="756" actId="20577"/>
      <pc:docMkLst>
        <pc:docMk/>
      </pc:docMkLst>
      <pc:sldChg chg="delSp modSp">
        <pc:chgData name="Moreno Valero, Juan Andrés" userId="S::jamvalero@minsait.com::c2a29a12-9d48-4ccc-b16d-de0b4daa98fc" providerId="AD" clId="Web-{6AAC3FD2-0097-4B6D-AB10-4897C19A03DC}" dt="2021-07-02T07:55:07.734" v="756" actId="20577"/>
        <pc:sldMkLst>
          <pc:docMk/>
          <pc:sldMk cId="3693349192" sldId="467"/>
        </pc:sldMkLst>
        <pc:spChg chg="del">
          <ac:chgData name="Moreno Valero, Juan Andrés" userId="S::jamvalero@minsait.com::c2a29a12-9d48-4ccc-b16d-de0b4daa98fc" providerId="AD" clId="Web-{6AAC3FD2-0097-4B6D-AB10-4897C19A03DC}" dt="2021-07-02T07:28:57.422" v="0"/>
          <ac:spMkLst>
            <pc:docMk/>
            <pc:sldMk cId="3693349192" sldId="467"/>
            <ac:spMk id="26" creationId="{00000000-0000-0000-0000-000000000000}"/>
          </ac:spMkLst>
        </pc:spChg>
        <pc:spChg chg="mod">
          <ac:chgData name="Moreno Valero, Juan Andrés" userId="S::jamvalero@minsait.com::c2a29a12-9d48-4ccc-b16d-de0b4daa98fc" providerId="AD" clId="Web-{6AAC3FD2-0097-4B6D-AB10-4897C19A03DC}" dt="2021-07-02T07:54:58.703" v="751" actId="20577"/>
          <ac:spMkLst>
            <pc:docMk/>
            <pc:sldMk cId="3693349192" sldId="467"/>
            <ac:spMk id="37" creationId="{E4530058-C2FA-384F-825E-F61EC4296641}"/>
          </ac:spMkLst>
        </pc:spChg>
        <pc:spChg chg="mod">
          <ac:chgData name="Moreno Valero, Juan Andrés" userId="S::jamvalero@minsait.com::c2a29a12-9d48-4ccc-b16d-de0b4daa98fc" providerId="AD" clId="Web-{6AAC3FD2-0097-4B6D-AB10-4897C19A03DC}" dt="2021-07-02T07:42:45.282" v="442" actId="20577"/>
          <ac:spMkLst>
            <pc:docMk/>
            <pc:sldMk cId="3693349192" sldId="467"/>
            <ac:spMk id="41" creationId="{0F4E0202-A252-624B-BDF1-C6AE5E8A25DE}"/>
          </ac:spMkLst>
        </pc:spChg>
        <pc:spChg chg="mod">
          <ac:chgData name="Moreno Valero, Juan Andrés" userId="S::jamvalero@minsait.com::c2a29a12-9d48-4ccc-b16d-de0b4daa98fc" providerId="AD" clId="Web-{6AAC3FD2-0097-4B6D-AB10-4897C19A03DC}" dt="2021-07-02T07:35:14.133" v="250" actId="1076"/>
          <ac:spMkLst>
            <pc:docMk/>
            <pc:sldMk cId="3693349192" sldId="467"/>
            <ac:spMk id="44" creationId="{920CDAA3-74D2-6940-8900-4AABDD5BE40B}"/>
          </ac:spMkLst>
        </pc:spChg>
        <pc:spChg chg="mod">
          <ac:chgData name="Moreno Valero, Juan Andrés" userId="S::jamvalero@minsait.com::c2a29a12-9d48-4ccc-b16d-de0b4daa98fc" providerId="AD" clId="Web-{6AAC3FD2-0097-4B6D-AB10-4897C19A03DC}" dt="2021-07-02T07:55:07.734" v="756" actId="20577"/>
          <ac:spMkLst>
            <pc:docMk/>
            <pc:sldMk cId="3693349192" sldId="467"/>
            <ac:spMk id="45" creationId="{1813E8C3-18D9-0B4B-8FCA-406B39785552}"/>
          </ac:spMkLst>
        </pc:spChg>
        <pc:spChg chg="mod">
          <ac:chgData name="Moreno Valero, Juan Andrés" userId="S::jamvalero@minsait.com::c2a29a12-9d48-4ccc-b16d-de0b4daa98fc" providerId="AD" clId="Web-{6AAC3FD2-0097-4B6D-AB10-4897C19A03DC}" dt="2021-07-02T07:36:06.680" v="269" actId="14100"/>
          <ac:spMkLst>
            <pc:docMk/>
            <pc:sldMk cId="3693349192" sldId="467"/>
            <ac:spMk id="51" creationId="{AB2E014F-704F-3649-A8CA-79AC24262337}"/>
          </ac:spMkLst>
        </pc:spChg>
        <pc:spChg chg="mod">
          <ac:chgData name="Moreno Valero, Juan Andrés" userId="S::jamvalero@minsait.com::c2a29a12-9d48-4ccc-b16d-de0b4daa98fc" providerId="AD" clId="Web-{6AAC3FD2-0097-4B6D-AB10-4897C19A03DC}" dt="2021-07-02T07:37:33.120" v="321" actId="20577"/>
          <ac:spMkLst>
            <pc:docMk/>
            <pc:sldMk cId="3693349192" sldId="467"/>
            <ac:spMk id="53" creationId="{AB2E014F-704F-3649-A8CA-79AC24262337}"/>
          </ac:spMkLst>
        </pc:spChg>
        <pc:spChg chg="mod">
          <ac:chgData name="Moreno Valero, Juan Andrés" userId="S::jamvalero@minsait.com::c2a29a12-9d48-4ccc-b16d-de0b4daa98fc" providerId="AD" clId="Web-{6AAC3FD2-0097-4B6D-AB10-4897C19A03DC}" dt="2021-07-02T07:37:38.276" v="322" actId="1076"/>
          <ac:spMkLst>
            <pc:docMk/>
            <pc:sldMk cId="3693349192" sldId="467"/>
            <ac:spMk id="55" creationId="{BF1684E3-CE8A-1E4E-B964-0132E29D63C2}"/>
          </ac:spMkLst>
        </pc:spChg>
        <pc:spChg chg="mod">
          <ac:chgData name="Moreno Valero, Juan Andrés" userId="S::jamvalero@minsait.com::c2a29a12-9d48-4ccc-b16d-de0b4daa98fc" providerId="AD" clId="Web-{6AAC3FD2-0097-4B6D-AB10-4897C19A03DC}" dt="2021-07-02T07:35:02.617" v="248" actId="1076"/>
          <ac:spMkLst>
            <pc:docMk/>
            <pc:sldMk cId="3693349192" sldId="467"/>
            <ac:spMk id="73" creationId="{592FED21-684F-1C48-9233-F269DFEF0F10}"/>
          </ac:spMkLst>
        </pc:spChg>
      </pc:sldChg>
    </pc:docChg>
  </pc:docChgLst>
  <pc:docChgLst>
    <pc:chgData name="García Núñez, Alejandro" userId="S::agnunez@minsait.com::556fe94a-aefa-4dbf-a98e-6b0138dab432" providerId="AD" clId="Web-{E143E721-8E63-4076-ABC0-45221E1DBD85}"/>
    <pc:docChg chg="modSld">
      <pc:chgData name="García Núñez, Alejandro" userId="S::agnunez@minsait.com::556fe94a-aefa-4dbf-a98e-6b0138dab432" providerId="AD" clId="Web-{E143E721-8E63-4076-ABC0-45221E1DBD85}" dt="2021-07-02T06:55:04.037" v="2" actId="20577"/>
      <pc:docMkLst>
        <pc:docMk/>
      </pc:docMkLst>
      <pc:sldChg chg="modSp">
        <pc:chgData name="García Núñez, Alejandro" userId="S::agnunez@minsait.com::556fe94a-aefa-4dbf-a98e-6b0138dab432" providerId="AD" clId="Web-{E143E721-8E63-4076-ABC0-45221E1DBD85}" dt="2021-07-02T06:55:04.037" v="2" actId="20577"/>
        <pc:sldMkLst>
          <pc:docMk/>
          <pc:sldMk cId="2313760765" sldId="486"/>
        </pc:sldMkLst>
        <pc:spChg chg="mod">
          <ac:chgData name="García Núñez, Alejandro" userId="S::agnunez@minsait.com::556fe94a-aefa-4dbf-a98e-6b0138dab432" providerId="AD" clId="Web-{E143E721-8E63-4076-ABC0-45221E1DBD85}" dt="2021-07-02T06:55:00.724" v="1" actId="20577"/>
          <ac:spMkLst>
            <pc:docMk/>
            <pc:sldMk cId="2313760765" sldId="486"/>
            <ac:spMk id="111" creationId="{00000000-0000-0000-0000-000000000000}"/>
          </ac:spMkLst>
        </pc:spChg>
        <pc:spChg chg="mod">
          <ac:chgData name="García Núñez, Alejandro" userId="S::agnunez@minsait.com::556fe94a-aefa-4dbf-a98e-6b0138dab432" providerId="AD" clId="Web-{E143E721-8E63-4076-ABC0-45221E1DBD85}" dt="2021-07-02T06:55:04.037" v="2" actId="20577"/>
          <ac:spMkLst>
            <pc:docMk/>
            <pc:sldMk cId="2313760765" sldId="486"/>
            <ac:spMk id="117" creationId="{00000000-0000-0000-0000-000000000000}"/>
          </ac:spMkLst>
        </pc:spChg>
      </pc:sldChg>
    </pc:docChg>
  </pc:docChgLst>
  <pc:docChgLst>
    <pc:chgData name="Bordas González, David" userId="S::dbordas@minsait.com::b2d37a1d-4b02-4e5d-9727-88e83667a775" providerId="AD" clId="Web-{191DF725-8E2A-4C65-9D59-DAA26F576D1C}"/>
    <pc:docChg chg="modSld">
      <pc:chgData name="Bordas González, David" userId="S::dbordas@minsait.com::b2d37a1d-4b02-4e5d-9727-88e83667a775" providerId="AD" clId="Web-{191DF725-8E2A-4C65-9D59-DAA26F576D1C}" dt="2021-09-14T14:33:43.875" v="2" actId="20577"/>
      <pc:docMkLst>
        <pc:docMk/>
      </pc:docMkLst>
      <pc:sldChg chg="modSp">
        <pc:chgData name="Bordas González, David" userId="S::dbordas@minsait.com::b2d37a1d-4b02-4e5d-9727-88e83667a775" providerId="AD" clId="Web-{191DF725-8E2A-4C65-9D59-DAA26F576D1C}" dt="2021-09-14T14:33:43.875" v="2" actId="20577"/>
        <pc:sldMkLst>
          <pc:docMk/>
          <pc:sldMk cId="3449828524" sldId="515"/>
        </pc:sldMkLst>
        <pc:spChg chg="mod">
          <ac:chgData name="Bordas González, David" userId="S::dbordas@minsait.com::b2d37a1d-4b02-4e5d-9727-88e83667a775" providerId="AD" clId="Web-{191DF725-8E2A-4C65-9D59-DAA26F576D1C}" dt="2021-09-14T14:33:43.875" v="2" actId="20577"/>
          <ac:spMkLst>
            <pc:docMk/>
            <pc:sldMk cId="3449828524" sldId="515"/>
            <ac:spMk id="97" creationId="{00000000-0000-0000-0000-000000000000}"/>
          </ac:spMkLst>
        </pc:spChg>
      </pc:sldChg>
    </pc:docChg>
  </pc:docChgLst>
  <pc:docChgLst>
    <pc:chgData name="Salgado Llamas, Ruben" userId="S::rsalgado@minsait.com::0ccbcfe8-bab1-4018-bc0b-193fb1a95030" providerId="AD" clId="Web-{5C9AA7C2-1F79-4C40-BC57-1E0881FBFB9E}"/>
    <pc:docChg chg="addSld delSld modSld">
      <pc:chgData name="Salgado Llamas, Ruben" userId="S::rsalgado@minsait.com::0ccbcfe8-bab1-4018-bc0b-193fb1a95030" providerId="AD" clId="Web-{5C9AA7C2-1F79-4C40-BC57-1E0881FBFB9E}" dt="2021-07-01T16:17:14.013" v="806" actId="20577"/>
      <pc:docMkLst>
        <pc:docMk/>
      </pc:docMkLst>
      <pc:sldChg chg="addSp modSp">
        <pc:chgData name="Salgado Llamas, Ruben" userId="S::rsalgado@minsait.com::0ccbcfe8-bab1-4018-bc0b-193fb1a95030" providerId="AD" clId="Web-{5C9AA7C2-1F79-4C40-BC57-1E0881FBFB9E}" dt="2021-07-01T16:17:14.013" v="806" actId="20577"/>
        <pc:sldMkLst>
          <pc:docMk/>
          <pc:sldMk cId="4068798995" sldId="509"/>
        </pc:sldMkLst>
        <pc:spChg chg="mod">
          <ac:chgData name="Salgado Llamas, Ruben" userId="S::rsalgado@minsait.com::0ccbcfe8-bab1-4018-bc0b-193fb1a95030" providerId="AD" clId="Web-{5C9AA7C2-1F79-4C40-BC57-1E0881FBFB9E}" dt="2021-07-01T16:12:54.913" v="651" actId="20577"/>
          <ac:spMkLst>
            <pc:docMk/>
            <pc:sldMk cId="4068798995" sldId="509"/>
            <ac:spMk id="27" creationId="{00000000-0000-0000-0000-000000000000}"/>
          </ac:spMkLst>
        </pc:spChg>
        <pc:spChg chg="mod">
          <ac:chgData name="Salgado Llamas, Ruben" userId="S::rsalgado@minsait.com::0ccbcfe8-bab1-4018-bc0b-193fb1a95030" providerId="AD" clId="Web-{5C9AA7C2-1F79-4C40-BC57-1E0881FBFB9E}" dt="2021-07-01T16:08:52.783" v="510" actId="20577"/>
          <ac:spMkLst>
            <pc:docMk/>
            <pc:sldMk cId="4068798995" sldId="509"/>
            <ac:spMk id="28" creationId="{00000000-0000-0000-0000-000000000000}"/>
          </ac:spMkLst>
        </pc:spChg>
        <pc:spChg chg="mod">
          <ac:chgData name="Salgado Llamas, Ruben" userId="S::rsalgado@minsait.com::0ccbcfe8-bab1-4018-bc0b-193fb1a95030" providerId="AD" clId="Web-{5C9AA7C2-1F79-4C40-BC57-1E0881FBFB9E}" dt="2021-07-01T16:00:30.600" v="176" actId="20577"/>
          <ac:spMkLst>
            <pc:docMk/>
            <pc:sldMk cId="4068798995" sldId="509"/>
            <ac:spMk id="29" creationId="{00000000-0000-0000-0000-000000000000}"/>
          </ac:spMkLst>
        </pc:spChg>
        <pc:spChg chg="mod">
          <ac:chgData name="Salgado Llamas, Ruben" userId="S::rsalgado@minsait.com::0ccbcfe8-bab1-4018-bc0b-193fb1a95030" providerId="AD" clId="Web-{5C9AA7C2-1F79-4C40-BC57-1E0881FBFB9E}" dt="2021-07-01T15:51:43.870" v="6" actId="20577"/>
          <ac:spMkLst>
            <pc:docMk/>
            <pc:sldMk cId="4068798995" sldId="509"/>
            <ac:spMk id="32" creationId="{00000000-0000-0000-0000-000000000000}"/>
          </ac:spMkLst>
        </pc:spChg>
        <pc:spChg chg="add mod">
          <ac:chgData name="Salgado Llamas, Ruben" userId="S::rsalgado@minsait.com::0ccbcfe8-bab1-4018-bc0b-193fb1a95030" providerId="AD" clId="Web-{5C9AA7C2-1F79-4C40-BC57-1E0881FBFB9E}" dt="2021-07-01T16:16:54.247" v="803" actId="20577"/>
          <ac:spMkLst>
            <pc:docMk/>
            <pc:sldMk cId="4068798995" sldId="509"/>
            <ac:spMk id="33" creationId="{60EA8698-DD08-44F3-8A55-218E1ED11A7B}"/>
          </ac:spMkLst>
        </pc:spChg>
        <pc:spChg chg="add mod">
          <ac:chgData name="Salgado Llamas, Ruben" userId="S::rsalgado@minsait.com::0ccbcfe8-bab1-4018-bc0b-193fb1a95030" providerId="AD" clId="Web-{5C9AA7C2-1F79-4C40-BC57-1E0881FBFB9E}" dt="2021-07-01T16:17:14.013" v="806" actId="20577"/>
          <ac:spMkLst>
            <pc:docMk/>
            <pc:sldMk cId="4068798995" sldId="509"/>
            <ac:spMk id="34" creationId="{ACB4C92A-D919-4DB4-9240-2392CEB546E8}"/>
          </ac:spMkLst>
        </pc:spChg>
        <pc:spChg chg="mod">
          <ac:chgData name="Salgado Llamas, Ruben" userId="S::rsalgado@minsait.com::0ccbcfe8-bab1-4018-bc0b-193fb1a95030" providerId="AD" clId="Web-{5C9AA7C2-1F79-4C40-BC57-1E0881FBFB9E}" dt="2021-07-01T16:13:46.243" v="656" actId="1076"/>
          <ac:spMkLst>
            <pc:docMk/>
            <pc:sldMk cId="4068798995" sldId="509"/>
            <ac:spMk id="38" creationId="{00000000-0000-0000-0000-000000000000}"/>
          </ac:spMkLst>
        </pc:spChg>
        <pc:spChg chg="mod">
          <ac:chgData name="Salgado Llamas, Ruben" userId="S::rsalgado@minsait.com::0ccbcfe8-bab1-4018-bc0b-193fb1a95030" providerId="AD" clId="Web-{5C9AA7C2-1F79-4C40-BC57-1E0881FBFB9E}" dt="2021-07-01T16:13:46.289" v="657" actId="1076"/>
          <ac:spMkLst>
            <pc:docMk/>
            <pc:sldMk cId="4068798995" sldId="509"/>
            <ac:spMk id="39" creationId="{00000000-0000-0000-0000-000000000000}"/>
          </ac:spMkLst>
        </pc:spChg>
        <pc:spChg chg="mod">
          <ac:chgData name="Salgado Llamas, Ruben" userId="S::rsalgado@minsait.com::0ccbcfe8-bab1-4018-bc0b-193fb1a95030" providerId="AD" clId="Web-{5C9AA7C2-1F79-4C40-BC57-1E0881FBFB9E}" dt="2021-07-01T16:13:38.742" v="654" actId="1076"/>
          <ac:spMkLst>
            <pc:docMk/>
            <pc:sldMk cId="4068798995" sldId="509"/>
            <ac:spMk id="42" creationId="{00000000-0000-0000-0000-000000000000}"/>
          </ac:spMkLst>
        </pc:spChg>
        <pc:spChg chg="mod">
          <ac:chgData name="Salgado Llamas, Ruben" userId="S::rsalgado@minsait.com::0ccbcfe8-bab1-4018-bc0b-193fb1a95030" providerId="AD" clId="Web-{5C9AA7C2-1F79-4C40-BC57-1E0881FBFB9E}" dt="2021-07-01T16:13:38.805" v="655" actId="1076"/>
          <ac:spMkLst>
            <pc:docMk/>
            <pc:sldMk cId="4068798995" sldId="509"/>
            <ac:spMk id="43" creationId="{00000000-0000-0000-0000-000000000000}"/>
          </ac:spMkLst>
        </pc:spChg>
      </pc:sldChg>
      <pc:sldChg chg="add del replId">
        <pc:chgData name="Salgado Llamas, Ruben" userId="S::rsalgado@minsait.com::0ccbcfe8-bab1-4018-bc0b-193fb1a95030" providerId="AD" clId="Web-{5C9AA7C2-1F79-4C40-BC57-1E0881FBFB9E}" dt="2021-07-01T16:14:09.181" v="659"/>
        <pc:sldMkLst>
          <pc:docMk/>
          <pc:sldMk cId="1511014453" sldId="510"/>
        </pc:sldMkLst>
      </pc:sldChg>
    </pc:docChg>
  </pc:docChgLst>
  <pc:docChgLst>
    <pc:chgData name="García Núñez, Alejandro" userId="S::agnunez@minsait.com::556fe94a-aefa-4dbf-a98e-6b0138dab432" providerId="AD" clId="Web-{4A9C50D7-EB9F-47BF-8B9A-07AF9DFB1F33}"/>
    <pc:docChg chg="modSld">
      <pc:chgData name="García Núñez, Alejandro" userId="S::agnunez@minsait.com::556fe94a-aefa-4dbf-a98e-6b0138dab432" providerId="AD" clId="Web-{4A9C50D7-EB9F-47BF-8B9A-07AF9DFB1F33}" dt="2021-07-01T08:24:29.847" v="192" actId="20577"/>
      <pc:docMkLst>
        <pc:docMk/>
      </pc:docMkLst>
      <pc:sldChg chg="modSp">
        <pc:chgData name="García Núñez, Alejandro" userId="S::agnunez@minsait.com::556fe94a-aefa-4dbf-a98e-6b0138dab432" providerId="AD" clId="Web-{4A9C50D7-EB9F-47BF-8B9A-07AF9DFB1F33}" dt="2021-07-01T08:24:29.847" v="192" actId="20577"/>
        <pc:sldMkLst>
          <pc:docMk/>
          <pc:sldMk cId="2313760765" sldId="486"/>
        </pc:sldMkLst>
        <pc:spChg chg="mod">
          <ac:chgData name="García Núñez, Alejandro" userId="S::agnunez@minsait.com::556fe94a-aefa-4dbf-a98e-6b0138dab432" providerId="AD" clId="Web-{4A9C50D7-EB9F-47BF-8B9A-07AF9DFB1F33}" dt="2021-07-01T08:24:29.847" v="192" actId="20577"/>
          <ac:spMkLst>
            <pc:docMk/>
            <pc:sldMk cId="2313760765" sldId="486"/>
            <ac:spMk id="97" creationId="{00000000-0000-0000-0000-000000000000}"/>
          </ac:spMkLst>
        </pc:spChg>
      </pc:sldChg>
    </pc:docChg>
  </pc:docChgLst>
  <pc:docChgLst>
    <pc:chgData name="Castilla Carbonell, Xavier" userId="S::xcastilla@minsait.com::e5176976-8f18-4923-8367-170d027b8bde" providerId="AD" clId="Web-{458B0673-03F1-9B47-9C94-7BB6A94A8C53}"/>
    <pc:docChg chg="modSld">
      <pc:chgData name="Castilla Carbonell, Xavier" userId="S::xcastilla@minsait.com::e5176976-8f18-4923-8367-170d027b8bde" providerId="AD" clId="Web-{458B0673-03F1-9B47-9C94-7BB6A94A8C53}" dt="2021-07-14T08:20:10.754" v="418" actId="20577"/>
      <pc:docMkLst>
        <pc:docMk/>
      </pc:docMkLst>
      <pc:sldChg chg="modSp">
        <pc:chgData name="Castilla Carbonell, Xavier" userId="S::xcastilla@minsait.com::e5176976-8f18-4923-8367-170d027b8bde" providerId="AD" clId="Web-{458B0673-03F1-9B47-9C94-7BB6A94A8C53}" dt="2021-07-14T08:20:10.754" v="418" actId="20577"/>
        <pc:sldMkLst>
          <pc:docMk/>
          <pc:sldMk cId="1899941628" sldId="489"/>
        </pc:sldMkLst>
        <pc:spChg chg="mod">
          <ac:chgData name="Castilla Carbonell, Xavier" userId="S::xcastilla@minsait.com::e5176976-8f18-4923-8367-170d027b8bde" providerId="AD" clId="Web-{458B0673-03F1-9B47-9C94-7BB6A94A8C53}" dt="2021-07-14T08:12:56.450" v="93" actId="20577"/>
          <ac:spMkLst>
            <pc:docMk/>
            <pc:sldMk cId="1899941628" sldId="489"/>
            <ac:spMk id="27" creationId="{00000000-0000-0000-0000-000000000000}"/>
          </ac:spMkLst>
        </pc:spChg>
        <pc:spChg chg="mod">
          <ac:chgData name="Castilla Carbonell, Xavier" userId="S::xcastilla@minsait.com::e5176976-8f18-4923-8367-170d027b8bde" providerId="AD" clId="Web-{458B0673-03F1-9B47-9C94-7BB6A94A8C53}" dt="2021-07-14T08:19:20.111" v="399" actId="20577"/>
          <ac:spMkLst>
            <pc:docMk/>
            <pc:sldMk cId="1899941628" sldId="489"/>
            <ac:spMk id="28" creationId="{00000000-0000-0000-0000-000000000000}"/>
          </ac:spMkLst>
        </pc:spChg>
        <pc:spChg chg="mod">
          <ac:chgData name="Castilla Carbonell, Xavier" userId="S::xcastilla@minsait.com::e5176976-8f18-4923-8367-170d027b8bde" providerId="AD" clId="Web-{458B0673-03F1-9B47-9C94-7BB6A94A8C53}" dt="2021-07-14T08:17:34.011" v="293" actId="20577"/>
          <ac:spMkLst>
            <pc:docMk/>
            <pc:sldMk cId="1899941628" sldId="489"/>
            <ac:spMk id="42" creationId="{00000000-0000-0000-0000-000000000000}"/>
          </ac:spMkLst>
        </pc:spChg>
        <pc:spChg chg="mod">
          <ac:chgData name="Castilla Carbonell, Xavier" userId="S::xcastilla@minsait.com::e5176976-8f18-4923-8367-170d027b8bde" providerId="AD" clId="Web-{458B0673-03F1-9B47-9C94-7BB6A94A8C53}" dt="2021-07-14T08:20:10.754" v="418" actId="20577"/>
          <ac:spMkLst>
            <pc:docMk/>
            <pc:sldMk cId="1899941628" sldId="489"/>
            <ac:spMk id="110"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4C9E29-12F9-4F8C-B8EE-0F3C06465B89}" type="datetimeFigureOut">
              <a:rPr lang="en-US" smtClean="0"/>
              <a:t>9/14/2021</a:t>
            </a:fld>
            <a:endParaRPr lang="en-U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B48B2F-CDFC-46B4-AA08-090D7B71216C}" type="slidenum">
              <a:rPr lang="en-US" smtClean="0"/>
              <a:t>‹Nº›</a:t>
            </a:fld>
            <a:endParaRPr lang="en-US"/>
          </a:p>
        </p:txBody>
      </p:sp>
    </p:spTree>
    <p:extLst>
      <p:ext uri="{BB962C8B-B14F-4D97-AF65-F5344CB8AC3E}">
        <p14:creationId xmlns:p14="http://schemas.microsoft.com/office/powerpoint/2010/main" val="3182030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1</a:t>
            </a:fld>
            <a:endParaRPr lang="es-ES" sz="1200" b="0" strike="noStrike" spc="-1">
              <a:latin typeface="Times New Roman"/>
            </a:endParaRPr>
          </a:p>
        </p:txBody>
      </p:sp>
    </p:spTree>
    <p:extLst>
      <p:ext uri="{BB962C8B-B14F-4D97-AF65-F5344CB8AC3E}">
        <p14:creationId xmlns:p14="http://schemas.microsoft.com/office/powerpoint/2010/main" val="13376419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10</a:t>
            </a:fld>
            <a:endParaRPr lang="es-ES" sz="1200" b="0" strike="noStrike" spc="-1">
              <a:latin typeface="Times New Roman"/>
            </a:endParaRPr>
          </a:p>
        </p:txBody>
      </p:sp>
    </p:spTree>
    <p:extLst>
      <p:ext uri="{BB962C8B-B14F-4D97-AF65-F5344CB8AC3E}">
        <p14:creationId xmlns:p14="http://schemas.microsoft.com/office/powerpoint/2010/main" val="22851732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11</a:t>
            </a:fld>
            <a:endParaRPr lang="es-ES" sz="1200" b="0" strike="noStrike" spc="-1">
              <a:latin typeface="Times New Roman"/>
            </a:endParaRPr>
          </a:p>
        </p:txBody>
      </p:sp>
    </p:spTree>
    <p:extLst>
      <p:ext uri="{BB962C8B-B14F-4D97-AF65-F5344CB8AC3E}">
        <p14:creationId xmlns:p14="http://schemas.microsoft.com/office/powerpoint/2010/main" val="3501299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12</a:t>
            </a:fld>
            <a:endParaRPr lang="es-ES" sz="1200" b="0" strike="noStrike" spc="-1">
              <a:latin typeface="Times New Roman"/>
            </a:endParaRPr>
          </a:p>
        </p:txBody>
      </p:sp>
    </p:spTree>
    <p:extLst>
      <p:ext uri="{BB962C8B-B14F-4D97-AF65-F5344CB8AC3E}">
        <p14:creationId xmlns:p14="http://schemas.microsoft.com/office/powerpoint/2010/main" val="777230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13</a:t>
            </a:fld>
            <a:endParaRPr lang="es-ES" sz="1200" b="0" strike="noStrike" spc="-1">
              <a:latin typeface="Times New Roman"/>
            </a:endParaRPr>
          </a:p>
        </p:txBody>
      </p:sp>
    </p:spTree>
    <p:extLst>
      <p:ext uri="{BB962C8B-B14F-4D97-AF65-F5344CB8AC3E}">
        <p14:creationId xmlns:p14="http://schemas.microsoft.com/office/powerpoint/2010/main" val="1068937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14</a:t>
            </a:fld>
            <a:endParaRPr lang="es-ES" sz="1200" b="0" strike="noStrike" spc="-1">
              <a:latin typeface="Times New Roman"/>
            </a:endParaRPr>
          </a:p>
        </p:txBody>
      </p:sp>
    </p:spTree>
    <p:extLst>
      <p:ext uri="{BB962C8B-B14F-4D97-AF65-F5344CB8AC3E}">
        <p14:creationId xmlns:p14="http://schemas.microsoft.com/office/powerpoint/2010/main" val="8095193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15</a:t>
            </a:fld>
            <a:endParaRPr lang="es-ES" sz="1200" b="0" strike="noStrike" spc="-1">
              <a:latin typeface="Times New Roman"/>
            </a:endParaRPr>
          </a:p>
        </p:txBody>
      </p:sp>
    </p:spTree>
    <p:extLst>
      <p:ext uri="{BB962C8B-B14F-4D97-AF65-F5344CB8AC3E}">
        <p14:creationId xmlns:p14="http://schemas.microsoft.com/office/powerpoint/2010/main" val="2181187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16</a:t>
            </a:fld>
            <a:endParaRPr lang="es-ES" sz="1200" b="0" strike="noStrike" spc="-1">
              <a:latin typeface="Times New Roman"/>
            </a:endParaRPr>
          </a:p>
        </p:txBody>
      </p:sp>
    </p:spTree>
    <p:extLst>
      <p:ext uri="{BB962C8B-B14F-4D97-AF65-F5344CB8AC3E}">
        <p14:creationId xmlns:p14="http://schemas.microsoft.com/office/powerpoint/2010/main" val="12191842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17</a:t>
            </a:fld>
            <a:endParaRPr lang="es-ES" sz="1200" b="0" strike="noStrike" spc="-1">
              <a:latin typeface="Times New Roman"/>
            </a:endParaRPr>
          </a:p>
        </p:txBody>
      </p:sp>
    </p:spTree>
    <p:extLst>
      <p:ext uri="{BB962C8B-B14F-4D97-AF65-F5344CB8AC3E}">
        <p14:creationId xmlns:p14="http://schemas.microsoft.com/office/powerpoint/2010/main" val="32885887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18</a:t>
            </a:fld>
            <a:endParaRPr lang="es-ES" sz="1200" b="0" strike="noStrike" spc="-1">
              <a:latin typeface="Times New Roman"/>
            </a:endParaRPr>
          </a:p>
        </p:txBody>
      </p:sp>
    </p:spTree>
    <p:extLst>
      <p:ext uri="{BB962C8B-B14F-4D97-AF65-F5344CB8AC3E}">
        <p14:creationId xmlns:p14="http://schemas.microsoft.com/office/powerpoint/2010/main" val="31332088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19</a:t>
            </a:fld>
            <a:endParaRPr lang="es-ES" sz="1200" b="0" strike="noStrike" spc="-1">
              <a:latin typeface="Times New Roman"/>
            </a:endParaRPr>
          </a:p>
        </p:txBody>
      </p:sp>
    </p:spTree>
    <p:extLst>
      <p:ext uri="{BB962C8B-B14F-4D97-AF65-F5344CB8AC3E}">
        <p14:creationId xmlns:p14="http://schemas.microsoft.com/office/powerpoint/2010/main" val="927633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9618ED2F-3505-3F42-8461-D9A5D6FDF823}" type="slidenum">
              <a:rPr lang="es-ES" smtClean="0"/>
              <a:t>2</a:t>
            </a:fld>
            <a:endParaRPr lang="es-ES"/>
          </a:p>
        </p:txBody>
      </p:sp>
    </p:spTree>
    <p:extLst>
      <p:ext uri="{BB962C8B-B14F-4D97-AF65-F5344CB8AC3E}">
        <p14:creationId xmlns:p14="http://schemas.microsoft.com/office/powerpoint/2010/main" val="3926896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marL="0" marR="0" lvl="0" indent="0" algn="r" defTabSz="913790" rtl="0" eaLnBrk="1" fontAlgn="auto" latinLnBrk="0" hangingPunct="1">
              <a:lnSpc>
                <a:spcPct val="100000"/>
              </a:lnSpc>
              <a:spcBef>
                <a:spcPts val="0"/>
              </a:spcBef>
              <a:spcAft>
                <a:spcPts val="0"/>
              </a:spcAft>
              <a:buClrTx/>
              <a:buSzTx/>
              <a:buFontTx/>
              <a:buNone/>
              <a:tabLst/>
              <a:defRPr/>
            </a:pPr>
            <a:fld id="{9618ED2F-3505-3F42-8461-D9A5D6FDF823}"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3790" rtl="0" eaLnBrk="1" fontAlgn="auto" latinLnBrk="0" hangingPunct="1">
                <a:lnSpc>
                  <a:spcPct val="100000"/>
                </a:lnSpc>
                <a:spcBef>
                  <a:spcPts val="0"/>
                </a:spcBef>
                <a:spcAft>
                  <a:spcPts val="0"/>
                </a:spcAft>
                <a:buClrTx/>
                <a:buSzTx/>
                <a:buFontTx/>
                <a:buNone/>
                <a:tabLst/>
                <a:defRPr/>
              </a:pPr>
              <a:t>20</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96012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21</a:t>
            </a:fld>
            <a:endParaRPr lang="es-ES" sz="1200" b="0" strike="noStrike" spc="-1">
              <a:latin typeface="Times New Roman"/>
            </a:endParaRPr>
          </a:p>
        </p:txBody>
      </p:sp>
    </p:spTree>
    <p:extLst>
      <p:ext uri="{BB962C8B-B14F-4D97-AF65-F5344CB8AC3E}">
        <p14:creationId xmlns:p14="http://schemas.microsoft.com/office/powerpoint/2010/main" val="39494453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22</a:t>
            </a:fld>
            <a:endParaRPr lang="es-ES" sz="1200" b="0" strike="noStrike" spc="-1">
              <a:latin typeface="Times New Roman"/>
            </a:endParaRPr>
          </a:p>
        </p:txBody>
      </p:sp>
    </p:spTree>
    <p:extLst>
      <p:ext uri="{BB962C8B-B14F-4D97-AF65-F5344CB8AC3E}">
        <p14:creationId xmlns:p14="http://schemas.microsoft.com/office/powerpoint/2010/main" val="15389201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23</a:t>
            </a:fld>
            <a:endParaRPr lang="es-ES" sz="1200" b="0" strike="noStrike" spc="-1">
              <a:latin typeface="Times New Roman"/>
            </a:endParaRPr>
          </a:p>
        </p:txBody>
      </p:sp>
    </p:spTree>
    <p:extLst>
      <p:ext uri="{BB962C8B-B14F-4D97-AF65-F5344CB8AC3E}">
        <p14:creationId xmlns:p14="http://schemas.microsoft.com/office/powerpoint/2010/main" val="5660037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24</a:t>
            </a:fld>
            <a:endParaRPr lang="es-ES" sz="1200" b="0" strike="noStrike" spc="-1">
              <a:latin typeface="Times New Roman"/>
            </a:endParaRPr>
          </a:p>
        </p:txBody>
      </p:sp>
    </p:spTree>
    <p:extLst>
      <p:ext uri="{BB962C8B-B14F-4D97-AF65-F5344CB8AC3E}">
        <p14:creationId xmlns:p14="http://schemas.microsoft.com/office/powerpoint/2010/main" val="28632635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25</a:t>
            </a:fld>
            <a:endParaRPr lang="es-ES" sz="1200" b="0" strike="noStrike" spc="-1">
              <a:latin typeface="Times New Roman"/>
            </a:endParaRPr>
          </a:p>
        </p:txBody>
      </p:sp>
    </p:spTree>
    <p:extLst>
      <p:ext uri="{BB962C8B-B14F-4D97-AF65-F5344CB8AC3E}">
        <p14:creationId xmlns:p14="http://schemas.microsoft.com/office/powerpoint/2010/main" val="12862873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26</a:t>
            </a:fld>
            <a:endParaRPr lang="es-ES" sz="1200" b="0" strike="noStrike" spc="-1">
              <a:latin typeface="Times New Roman"/>
            </a:endParaRPr>
          </a:p>
        </p:txBody>
      </p:sp>
    </p:spTree>
    <p:extLst>
      <p:ext uri="{BB962C8B-B14F-4D97-AF65-F5344CB8AC3E}">
        <p14:creationId xmlns:p14="http://schemas.microsoft.com/office/powerpoint/2010/main" val="9498950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27</a:t>
            </a:fld>
            <a:endParaRPr lang="es-ES" sz="1200" b="0" strike="noStrike" spc="-1">
              <a:latin typeface="Times New Roman"/>
            </a:endParaRPr>
          </a:p>
        </p:txBody>
      </p:sp>
    </p:spTree>
    <p:extLst>
      <p:ext uri="{BB962C8B-B14F-4D97-AF65-F5344CB8AC3E}">
        <p14:creationId xmlns:p14="http://schemas.microsoft.com/office/powerpoint/2010/main" val="42426547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28</a:t>
            </a:fld>
            <a:endParaRPr lang="es-ES" sz="1200" b="0" strike="noStrike" spc="-1">
              <a:latin typeface="Times New Roman"/>
            </a:endParaRPr>
          </a:p>
        </p:txBody>
      </p:sp>
    </p:spTree>
    <p:extLst>
      <p:ext uri="{BB962C8B-B14F-4D97-AF65-F5344CB8AC3E}">
        <p14:creationId xmlns:p14="http://schemas.microsoft.com/office/powerpoint/2010/main" val="31546370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29</a:t>
            </a:fld>
            <a:endParaRPr lang="es-ES" sz="1200" b="0" strike="noStrike" spc="-1">
              <a:latin typeface="Times New Roman"/>
            </a:endParaRPr>
          </a:p>
        </p:txBody>
      </p:sp>
    </p:spTree>
    <p:extLst>
      <p:ext uri="{BB962C8B-B14F-4D97-AF65-F5344CB8AC3E}">
        <p14:creationId xmlns:p14="http://schemas.microsoft.com/office/powerpoint/2010/main" val="11443660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9618ED2F-3505-3F42-8461-D9A5D6FDF823}" type="slidenum">
              <a:rPr lang="es-ES" smtClean="0"/>
              <a:t>3</a:t>
            </a:fld>
            <a:endParaRPr lang="es-ES"/>
          </a:p>
        </p:txBody>
      </p:sp>
    </p:spTree>
    <p:extLst>
      <p:ext uri="{BB962C8B-B14F-4D97-AF65-F5344CB8AC3E}">
        <p14:creationId xmlns:p14="http://schemas.microsoft.com/office/powerpoint/2010/main" val="27334192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30</a:t>
            </a:fld>
            <a:endParaRPr lang="es-ES" sz="1200" b="0" strike="noStrike" spc="-1">
              <a:latin typeface="Times New Roman"/>
            </a:endParaRPr>
          </a:p>
        </p:txBody>
      </p:sp>
    </p:spTree>
    <p:extLst>
      <p:ext uri="{BB962C8B-B14F-4D97-AF65-F5344CB8AC3E}">
        <p14:creationId xmlns:p14="http://schemas.microsoft.com/office/powerpoint/2010/main" val="7039998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31</a:t>
            </a:fld>
            <a:endParaRPr lang="es-ES" sz="1200" b="0" strike="noStrike" spc="-1">
              <a:latin typeface="Times New Roman"/>
            </a:endParaRPr>
          </a:p>
        </p:txBody>
      </p:sp>
    </p:spTree>
    <p:extLst>
      <p:ext uri="{BB962C8B-B14F-4D97-AF65-F5344CB8AC3E}">
        <p14:creationId xmlns:p14="http://schemas.microsoft.com/office/powerpoint/2010/main" val="28517681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32</a:t>
            </a:fld>
            <a:endParaRPr lang="es-ES" sz="1200" b="0" strike="noStrike" spc="-1">
              <a:latin typeface="Times New Roman"/>
            </a:endParaRPr>
          </a:p>
        </p:txBody>
      </p:sp>
    </p:spTree>
    <p:extLst>
      <p:ext uri="{BB962C8B-B14F-4D97-AF65-F5344CB8AC3E}">
        <p14:creationId xmlns:p14="http://schemas.microsoft.com/office/powerpoint/2010/main" val="4258736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PlaceHolder 1"/>
          <p:cNvSpPr>
            <a:spLocks noGrp="1" noRot="1" noChangeAspect="1"/>
          </p:cNvSpPr>
          <p:nvPr>
            <p:ph type="sldImg"/>
          </p:nvPr>
        </p:nvSpPr>
        <p:spPr>
          <a:xfrm>
            <a:off x="685800" y="1143000"/>
            <a:ext cx="5484813" cy="3084513"/>
          </a:xfrm>
          <a:prstGeom prst="rect">
            <a:avLst/>
          </a:prstGeom>
        </p:spPr>
      </p:sp>
      <p:sp>
        <p:nvSpPr>
          <p:cNvPr id="63" name="PlaceHolder 2"/>
          <p:cNvSpPr>
            <a:spLocks noGrp="1"/>
          </p:cNvSpPr>
          <p:nvPr>
            <p:ph type="body"/>
          </p:nvPr>
        </p:nvSpPr>
        <p:spPr>
          <a:xfrm>
            <a:off x="685800" y="4400640"/>
            <a:ext cx="5484960" cy="3598920"/>
          </a:xfrm>
          <a:prstGeom prst="rect">
            <a:avLst/>
          </a:prstGeom>
        </p:spPr>
        <p:txBody>
          <a:bodyPr lIns="0" tIns="0" rIns="0" bIns="0">
            <a:noAutofit/>
          </a:bodyPr>
          <a:lstStyle/>
          <a:p>
            <a:endParaRPr lang="es-ES" sz="2000" b="0" strike="noStrike" spc="-1">
              <a:latin typeface="Arial"/>
            </a:endParaRPr>
          </a:p>
        </p:txBody>
      </p:sp>
      <p:sp>
        <p:nvSpPr>
          <p:cNvPr id="64" name="Marcador de número de diapositiva 3"/>
          <p:cNvSpPr/>
          <p:nvPr/>
        </p:nvSpPr>
        <p:spPr>
          <a:xfrm>
            <a:off x="3884760" y="8685360"/>
            <a:ext cx="2970360" cy="4572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b">
            <a:noAutofit/>
          </a:bodyPr>
          <a:lstStyle/>
          <a:p>
            <a:pPr algn="r">
              <a:lnSpc>
                <a:spcPct val="100000"/>
              </a:lnSpc>
            </a:pPr>
            <a:fld id="{702BA53E-7FFC-4F63-9769-F3814F3F8BD1}" type="slidenum">
              <a:rPr lang="es-ES" sz="1200" b="0" strike="noStrike" spc="-1">
                <a:solidFill>
                  <a:srgbClr val="000000"/>
                </a:solidFill>
                <a:latin typeface="+mn-lt"/>
                <a:ea typeface="+mn-ea"/>
              </a:rPr>
              <a:t>4</a:t>
            </a:fld>
            <a:endParaRPr lang="es-ES" sz="1200" b="0" strike="noStrike" spc="-1">
              <a:latin typeface="Arial"/>
            </a:endParaRPr>
          </a:p>
        </p:txBody>
      </p:sp>
    </p:spTree>
    <p:extLst>
      <p:ext uri="{BB962C8B-B14F-4D97-AF65-F5344CB8AC3E}">
        <p14:creationId xmlns:p14="http://schemas.microsoft.com/office/powerpoint/2010/main" val="24224211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marL="0" marR="0" lvl="0" indent="0" algn="r" defTabSz="913790" rtl="0" eaLnBrk="1" fontAlgn="auto" latinLnBrk="0" hangingPunct="1">
              <a:lnSpc>
                <a:spcPct val="100000"/>
              </a:lnSpc>
              <a:spcBef>
                <a:spcPts val="0"/>
              </a:spcBef>
              <a:spcAft>
                <a:spcPts val="0"/>
              </a:spcAft>
              <a:buClrTx/>
              <a:buSzTx/>
              <a:buFontTx/>
              <a:buNone/>
              <a:tabLst/>
              <a:defRPr/>
            </a:pPr>
            <a:fld id="{9618ED2F-3505-3F42-8461-D9A5D6FDF823}"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3790" rtl="0" eaLnBrk="1" fontAlgn="auto" latinLnBrk="0" hangingPunct="1">
                <a:lnSpc>
                  <a:spcPct val="100000"/>
                </a:lnSpc>
                <a:spcBef>
                  <a:spcPts val="0"/>
                </a:spcBef>
                <a:spcAft>
                  <a:spcPts val="0"/>
                </a:spcAft>
                <a:buClrTx/>
                <a:buSzTx/>
                <a:buFontTx/>
                <a:buNone/>
                <a:tabLst/>
                <a:defRPr/>
              </a:pPr>
              <a:t>5</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19770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9618ED2F-3505-3F42-8461-D9A5D6FDF823}" type="slidenum">
              <a:rPr lang="es-ES" smtClean="0"/>
              <a:t>6</a:t>
            </a:fld>
            <a:endParaRPr lang="es-ES"/>
          </a:p>
        </p:txBody>
      </p:sp>
    </p:spTree>
    <p:extLst>
      <p:ext uri="{BB962C8B-B14F-4D97-AF65-F5344CB8AC3E}">
        <p14:creationId xmlns:p14="http://schemas.microsoft.com/office/powerpoint/2010/main" val="1532220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7</a:t>
            </a:fld>
            <a:endParaRPr lang="es-ES" sz="1200" b="0" strike="noStrike" spc="-1">
              <a:latin typeface="Times New Roman"/>
            </a:endParaRPr>
          </a:p>
        </p:txBody>
      </p:sp>
    </p:spTree>
    <p:extLst>
      <p:ext uri="{BB962C8B-B14F-4D97-AF65-F5344CB8AC3E}">
        <p14:creationId xmlns:p14="http://schemas.microsoft.com/office/powerpoint/2010/main" val="949166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8</a:t>
            </a:fld>
            <a:endParaRPr lang="es-ES" sz="1200" b="0" strike="noStrike" spc="-1">
              <a:latin typeface="Times New Roman"/>
            </a:endParaRPr>
          </a:p>
        </p:txBody>
      </p:sp>
    </p:spTree>
    <p:extLst>
      <p:ext uri="{BB962C8B-B14F-4D97-AF65-F5344CB8AC3E}">
        <p14:creationId xmlns:p14="http://schemas.microsoft.com/office/powerpoint/2010/main" val="6955038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PlaceHolder 1"/>
          <p:cNvSpPr>
            <a:spLocks noGrp="1" noRot="1" noChangeAspect="1"/>
          </p:cNvSpPr>
          <p:nvPr>
            <p:ph type="sldImg"/>
          </p:nvPr>
        </p:nvSpPr>
        <p:spPr>
          <a:xfrm>
            <a:off x="685800" y="1143000"/>
            <a:ext cx="5486400" cy="3086100"/>
          </a:xfrm>
          <a:prstGeom prst="rect">
            <a:avLst/>
          </a:prstGeom>
        </p:spPr>
      </p:sp>
      <p:sp>
        <p:nvSpPr>
          <p:cNvPr id="125" name="PlaceHolder 2"/>
          <p:cNvSpPr>
            <a:spLocks noGrp="1"/>
          </p:cNvSpPr>
          <p:nvPr>
            <p:ph type="body"/>
          </p:nvPr>
        </p:nvSpPr>
        <p:spPr>
          <a:xfrm>
            <a:off x="685800" y="4400640"/>
            <a:ext cx="5486040" cy="3600000"/>
          </a:xfrm>
          <a:prstGeom prst="rect">
            <a:avLst/>
          </a:prstGeom>
        </p:spPr>
        <p:txBody>
          <a:bodyPr>
            <a:noAutofit/>
          </a:bodyPr>
          <a:lstStyle/>
          <a:p>
            <a:endParaRPr lang="es-ES" sz="2000" b="0" strike="noStrike" spc="-1">
              <a:latin typeface="Arial"/>
            </a:endParaRPr>
          </a:p>
        </p:txBody>
      </p:sp>
      <p:sp>
        <p:nvSpPr>
          <p:cNvPr id="126" name="Marcador de número de diapositiva 3_0"/>
          <p:cNvSpPr txBox="1"/>
          <p:nvPr/>
        </p:nvSpPr>
        <p:spPr>
          <a:xfrm>
            <a:off x="3884760" y="8685360"/>
            <a:ext cx="2971440" cy="458280"/>
          </a:xfrm>
          <a:prstGeom prst="rect">
            <a:avLst/>
          </a:prstGeom>
          <a:noFill/>
          <a:ln w="0">
            <a:noFill/>
          </a:ln>
        </p:spPr>
        <p:txBody>
          <a:bodyPr anchor="b">
            <a:noAutofit/>
          </a:bodyPr>
          <a:lstStyle/>
          <a:p>
            <a:pPr algn="r">
              <a:lnSpc>
                <a:spcPct val="100000"/>
              </a:lnSpc>
            </a:pPr>
            <a:fld id="{4CE3ED41-CB99-470F-9F05-B576F106338F}" type="slidenum">
              <a:rPr lang="es-ES" sz="1200" b="0" strike="noStrike" spc="-1">
                <a:solidFill>
                  <a:srgbClr val="000000"/>
                </a:solidFill>
                <a:latin typeface="+mn-lt"/>
                <a:ea typeface="+mn-ea"/>
              </a:rPr>
              <a:t>9</a:t>
            </a:fld>
            <a:endParaRPr lang="es-ES" sz="1200" b="0" strike="noStrike" spc="-1">
              <a:latin typeface="Times New Roman"/>
            </a:endParaRPr>
          </a:p>
        </p:txBody>
      </p:sp>
    </p:spTree>
    <p:extLst>
      <p:ext uri="{BB962C8B-B14F-4D97-AF65-F5344CB8AC3E}">
        <p14:creationId xmlns:p14="http://schemas.microsoft.com/office/powerpoint/2010/main" val="7620516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0.xml"/><Relationship Id="rId7" Type="http://schemas.openxmlformats.org/officeDocument/2006/relationships/image" Target="../media/image4.png"/><Relationship Id="rId2" Type="http://schemas.openxmlformats.org/officeDocument/2006/relationships/tags" Target="../tags/tag69.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3.emf"/><Relationship Id="rId2" Type="http://schemas.openxmlformats.org/officeDocument/2006/relationships/tags" Target="../tags/tag71.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8.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3.emf"/><Relationship Id="rId2" Type="http://schemas.openxmlformats.org/officeDocument/2006/relationships/tags" Target="../tags/tag75.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emf"/><Relationship Id="rId2" Type="http://schemas.openxmlformats.org/officeDocument/2006/relationships/tags" Target="../tags/tag79.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2.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3.emf"/><Relationship Id="rId2" Type="http://schemas.openxmlformats.org/officeDocument/2006/relationships/tags" Target="../tags/tag83.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3.emf"/><Relationship Id="rId2" Type="http://schemas.openxmlformats.org/officeDocument/2006/relationships/tags" Target="../tags/tag87.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3.emf"/><Relationship Id="rId2" Type="http://schemas.openxmlformats.org/officeDocument/2006/relationships/tags" Target="../tags/tag91.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49.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3.emf"/><Relationship Id="rId2" Type="http://schemas.openxmlformats.org/officeDocument/2006/relationships/tags" Target="../tags/tag97.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9.xml"/><Relationship Id="rId1" Type="http://schemas.openxmlformats.org/officeDocument/2006/relationships/vmlDrawing" Target="../drawings/vmlDrawing51.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xml"/><Relationship Id="rId7" Type="http://schemas.openxmlformats.org/officeDocument/2006/relationships/image" Target="../media/image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2.xml"/><Relationship Id="rId7" Type="http://schemas.openxmlformats.org/officeDocument/2006/relationships/image" Target="../media/image4.png"/><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3.emf"/><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3.emf"/><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3.emf"/><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3.emf"/><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3.emf"/><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3.emf"/><Relationship Id="rId2" Type="http://schemas.openxmlformats.org/officeDocument/2006/relationships/tags" Target="../tags/tag57.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3.emf"/><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3.vml"/><Relationship Id="rId6" Type="http://schemas.openxmlformats.org/officeDocument/2006/relationships/image" Target="../media/image5.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3.emf"/><Relationship Id="rId2" Type="http://schemas.openxmlformats.org/officeDocument/2006/relationships/tags" Target="../tags/tag65.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3.emf"/><Relationship Id="rId2" Type="http://schemas.openxmlformats.org/officeDocument/2006/relationships/tags" Target="../tags/tag67.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 Portada Fot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4"/>
            <a:ext cx="12192000" cy="6877415"/>
          </a:xfrm>
          <a:prstGeom prst="rect">
            <a:avLst/>
          </a:prstGeom>
        </p:spPr>
        <p:txBody>
          <a:bodyPr anchor="t"/>
          <a:lstStyle>
            <a:lvl1pPr marL="0" indent="0" algn="ctr">
              <a:buNone/>
              <a:defRPr>
                <a:latin typeface="Arial" panose="020B0604020202020204" pitchFamily="34" charset="0"/>
              </a:defRPr>
            </a:lvl1pPr>
          </a:lstStyle>
          <a:p>
            <a:r>
              <a:rPr lang="es-ES"/>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2" y="383588"/>
            <a:ext cx="3725333" cy="214776"/>
          </a:xfrm>
          <a:prstGeom prst="rect">
            <a:avLst/>
          </a:prstGeom>
        </p:spPr>
        <p:txBody>
          <a:bodyPr lIns="0" tIns="0" rIns="0" bIns="0"/>
          <a:lstStyle>
            <a:lvl1pPr marL="0" indent="0">
              <a:buNone/>
              <a:defRPr sz="1866">
                <a:latin typeface="Arial" panose="020B0604020202020204" pitchFamily="34" charset="0"/>
              </a:defRPr>
            </a:lvl1pPr>
          </a:lstStyle>
          <a:p>
            <a:r>
              <a:rPr lang="es-ES"/>
              <a:t>Editar el subtitulo de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689241"/>
            <a:ext cx="3725333" cy="159485"/>
          </a:xfrm>
          <a:prstGeom prst="rect">
            <a:avLst/>
          </a:prstGeom>
        </p:spPr>
        <p:txBody>
          <a:bodyPr lIns="0" tIns="0" rIns="0" bIns="0"/>
          <a:lstStyle>
            <a:lvl1pPr marL="0" indent="0">
              <a:buNone/>
              <a:defRPr sz="1333">
                <a:latin typeface="Arial" panose="020B0604020202020204" pitchFamily="34" charset="0"/>
              </a:defRPr>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atin typeface="Arial" panose="020B0604020202020204" pitchFamily="34" charset="0"/>
              </a:defRPr>
            </a:lvl1pPr>
          </a:lstStyle>
          <a:p>
            <a:r>
              <a:rPr lang="es-ES"/>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539954" y="2873081"/>
            <a:ext cx="6626810" cy="1648341"/>
          </a:xfrm>
          <a:prstGeom prst="rect">
            <a:avLst/>
          </a:prstGeom>
        </p:spPr>
        <p:txBody>
          <a:bodyPr vert="horz" lIns="0" tIns="0" rIns="0" bIns="0" rtlCol="0" anchor="t">
            <a:noAutofit/>
          </a:bodyPr>
          <a:lstStyle>
            <a:lvl1pPr>
              <a:defRPr sz="5997">
                <a:latin typeface="Georgia" panose="02040502050405020303" pitchFamily="18" charset="0"/>
              </a:defRPr>
            </a:lvl1pPr>
          </a:lstStyle>
          <a:p>
            <a:r>
              <a:rPr lang="es-ES"/>
              <a:t>Haga clic para el título principal</a:t>
            </a:r>
            <a:endParaRPr lang="en-US"/>
          </a:p>
        </p:txBody>
      </p:sp>
    </p:spTree>
    <p:extLst>
      <p:ext uri="{BB962C8B-B14F-4D97-AF65-F5344CB8AC3E}">
        <p14:creationId xmlns:p14="http://schemas.microsoft.com/office/powerpoint/2010/main" val="28168728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5" name="Imagen 14"/>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2231655-E814-554D-A77B-76AE9E4B8F36}"/>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28742217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 Portada foto 2">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0"/>
            <a:ext cx="12192000" cy="6858000"/>
          </a:xfrm>
          <a:prstGeom prst="rect">
            <a:avLst/>
          </a:prstGeom>
        </p:spPr>
        <p:txBody>
          <a:bodyPr anchor="t"/>
          <a:lstStyle>
            <a:lvl1pPr marL="0" indent="0" algn="ctr">
              <a:buNone/>
              <a:defRPr>
                <a:latin typeface="Arial" panose="020B0604020202020204" pitchFamily="34" charset="0"/>
              </a:defRPr>
            </a:lvl1pPr>
          </a:lstStyle>
          <a:p>
            <a:r>
              <a:rPr lang="es-ES"/>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1" y="3311240"/>
            <a:ext cx="4842163" cy="248041"/>
          </a:xfrm>
          <a:prstGeom prst="rect">
            <a:avLst/>
          </a:prstGeom>
        </p:spPr>
        <p:txBody>
          <a:bodyPr lIns="0" tIns="0" rIns="0" bIns="0"/>
          <a:lstStyle>
            <a:lvl1pPr marL="0" indent="0">
              <a:buNone/>
              <a:defRPr sz="1866">
                <a:latin typeface="Arial" panose="020B0604020202020204" pitchFamily="34" charset="0"/>
              </a:defRPr>
            </a:lvl1pPr>
          </a:lstStyle>
          <a:p>
            <a:r>
              <a:rPr lang="es-ES"/>
              <a:t>Editar el subtitulo de la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3743044"/>
            <a:ext cx="3725333" cy="159485"/>
          </a:xfrm>
          <a:prstGeom prst="rect">
            <a:avLst/>
          </a:prstGeom>
        </p:spPr>
        <p:txBody>
          <a:bodyPr lIns="0" tIns="0" rIns="0" bIns="0"/>
          <a:lstStyle>
            <a:lvl1pPr marL="0" indent="0">
              <a:buNone/>
              <a:defRPr sz="1333">
                <a:latin typeface="Arial" panose="020B0604020202020204" pitchFamily="34" charset="0"/>
              </a:defRPr>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382577"/>
            <a:ext cx="1799167" cy="639233"/>
          </a:xfrm>
          <a:prstGeom prst="rect">
            <a:avLst/>
          </a:prstGeom>
        </p:spPr>
        <p:txBody>
          <a:bodyPr anchor="ctr"/>
          <a:lstStyle>
            <a:lvl1pPr marL="0" indent="0" algn="ctr">
              <a:buNone/>
              <a:defRPr sz="1333">
                <a:latin typeface="Arial" panose="020B0604020202020204" pitchFamily="34" charset="0"/>
              </a:defRPr>
            </a:lvl1pPr>
          </a:lstStyle>
          <a:p>
            <a:r>
              <a:rPr lang="es-ES"/>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49675" y="1421649"/>
            <a:ext cx="7563994" cy="1648341"/>
          </a:xfrm>
          <a:prstGeom prst="rect">
            <a:avLst/>
          </a:prstGeom>
        </p:spPr>
        <p:txBody>
          <a:bodyPr vert="horz" lIns="0" tIns="0" rIns="0" bIns="0" rtlCol="0" anchor="t">
            <a:noAutofit/>
          </a:bodyPr>
          <a:lstStyle>
            <a:lvl1pPr>
              <a:defRPr sz="5330">
                <a:latin typeface="Georgia" panose="02040502050405020303" pitchFamily="18" charset="0"/>
              </a:defRPr>
            </a:lvl1pPr>
          </a:lstStyle>
          <a:p>
            <a:r>
              <a:rPr lang="es-ES"/>
              <a:t>Haga clic para el título principal</a:t>
            </a:r>
            <a:endParaRPr lang="en-US"/>
          </a:p>
        </p:txBody>
      </p:sp>
    </p:spTree>
    <p:extLst>
      <p:ext uri="{BB962C8B-B14F-4D97-AF65-F5344CB8AC3E}">
        <p14:creationId xmlns:p14="http://schemas.microsoft.com/office/powerpoint/2010/main" val="400163330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4" y="4414944"/>
            <a:ext cx="5651500" cy="290408"/>
          </a:xfrm>
          <a:prstGeom prst="rect">
            <a:avLst/>
          </a:prstGeom>
        </p:spPr>
        <p:txBody>
          <a:bodyPr lIns="0" tIns="0" rIns="0" bIns="0"/>
          <a:lstStyle>
            <a:lvl1pPr marL="0" indent="0">
              <a:buNone/>
              <a:defRPr sz="1800">
                <a:latin typeface="Arial" panose="020B0604020202020204" pitchFamily="34" charset="0"/>
              </a:defRPr>
            </a:lvl1pPr>
          </a:lstStyle>
          <a:p>
            <a:r>
              <a:rPr lang="es-ES"/>
              <a:t>Editar el subtitulo de la presentación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2428697"/>
            <a:ext cx="6310745" cy="1648341"/>
          </a:xfrm>
          <a:prstGeom prst="rect">
            <a:avLst/>
          </a:prstGeom>
        </p:spPr>
        <p:txBody>
          <a:bodyPr vert="horz" lIns="0" tIns="0" rIns="0" bIns="0" rtlCol="0" anchor="t">
            <a:noAutofit/>
          </a:bodyPr>
          <a:lstStyle>
            <a:lvl1pPr>
              <a:defRPr sz="4400">
                <a:latin typeface="Georgia" panose="02040502050405020303" pitchFamily="18" charset="0"/>
              </a:defRPr>
            </a:lvl1pPr>
          </a:lstStyle>
          <a:p>
            <a:r>
              <a:rPr lang="es-ES"/>
              <a:t>Haga clic para </a:t>
            </a:r>
            <a:br>
              <a:rPr lang="es-ES"/>
            </a:br>
            <a:r>
              <a:rPr lang="es-ES"/>
              <a:t>el título principal</a:t>
            </a:r>
            <a:endParaRPr lang="en-US"/>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4" y="4853097"/>
            <a:ext cx="5651500" cy="199445"/>
          </a:xfrm>
          <a:prstGeom prst="rect">
            <a:avLst/>
          </a:prstGeom>
        </p:spPr>
        <p:txBody>
          <a:bodyPr lIns="0" tIns="0" rIns="0" bIns="0"/>
          <a:lstStyle>
            <a:lvl1pPr marL="0" indent="0">
              <a:buNone/>
              <a:defRPr sz="1600">
                <a:latin typeface="Arial" panose="020B0604020202020204" pitchFamily="34" charset="0"/>
              </a:defRPr>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atin typeface="Arial" panose="020B0604020202020204" pitchFamily="34" charset="0"/>
              </a:defRPr>
            </a:lvl1pPr>
          </a:lstStyle>
          <a:p>
            <a:r>
              <a:rPr lang="es-ES"/>
              <a:t>Logo cliente</a:t>
            </a:r>
          </a:p>
        </p:txBody>
      </p:sp>
      <p:pic>
        <p:nvPicPr>
          <p:cNvPr id="7" name="Imagen 6">
            <a:extLst>
              <a:ext uri="{FF2B5EF4-FFF2-40B4-BE49-F238E27FC236}">
                <a16:creationId xmlns:a16="http://schemas.microsoft.com/office/drawing/2014/main" id="{DB9B7611-A75B-714A-9D2A-408948DB3B58}"/>
              </a:ext>
            </a:extLst>
          </p:cNvPr>
          <p:cNvPicPr>
            <a:picLocks noChangeAspect="1"/>
          </p:cNvPicPr>
          <p:nvPr/>
        </p:nvPicPr>
        <p:blipFill>
          <a:blip r:embed="rId2"/>
          <a:stretch>
            <a:fillRect/>
          </a:stretch>
        </p:blipFill>
        <p:spPr>
          <a:xfrm>
            <a:off x="8085668" y="6337302"/>
            <a:ext cx="1444604" cy="176283"/>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p:nvPicPr>
        <p:blipFill>
          <a:blip r:embed="rId3"/>
          <a:stretch>
            <a:fillRect/>
          </a:stretch>
        </p:blipFill>
        <p:spPr>
          <a:xfrm>
            <a:off x="385014" y="6118996"/>
            <a:ext cx="1795156" cy="356183"/>
          </a:xfrm>
          <a:prstGeom prst="rect">
            <a:avLst/>
          </a:prstGeom>
        </p:spPr>
      </p:pic>
      <p:grpSp>
        <p:nvGrpSpPr>
          <p:cNvPr id="11" name="Grupo 10">
            <a:extLst>
              <a:ext uri="{FF2B5EF4-FFF2-40B4-BE49-F238E27FC236}">
                <a16:creationId xmlns:a16="http://schemas.microsoft.com/office/drawing/2014/main" id="{72D46510-3BCB-3746-AD05-84A58DE8C86D}"/>
              </a:ext>
            </a:extLst>
          </p:cNvPr>
          <p:cNvGrpSpPr/>
          <p:nvPr/>
        </p:nvGrpSpPr>
        <p:grpSpPr>
          <a:xfrm>
            <a:off x="6846376" y="1346032"/>
            <a:ext cx="2093250" cy="3698006"/>
            <a:chOff x="4700634" y="1022350"/>
            <a:chExt cx="1569938" cy="2774950"/>
          </a:xfrm>
          <a:solidFill>
            <a:schemeClr val="accent2"/>
          </a:solidFill>
        </p:grpSpPr>
        <p:sp>
          <p:nvSpPr>
            <p:cNvPr id="12" name="Rectángulo 6">
              <a:extLst>
                <a:ext uri="{FF2B5EF4-FFF2-40B4-BE49-F238E27FC236}">
                  <a16:creationId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3" name="Rectángulo 12">
              <a:extLst>
                <a:ext uri="{FF2B5EF4-FFF2-40B4-BE49-F238E27FC236}">
                  <a16:creationId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4" name="Rectángulo 13">
              <a:extLst>
                <a:ext uri="{FF2B5EF4-FFF2-40B4-BE49-F238E27FC236}">
                  <a16:creationId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5" name="Rectángulo 14">
              <a:extLst>
                <a:ext uri="{FF2B5EF4-FFF2-40B4-BE49-F238E27FC236}">
                  <a16:creationId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grpSp>
        <p:nvGrpSpPr>
          <p:cNvPr id="16" name="Grupo 15">
            <a:extLst>
              <a:ext uri="{FF2B5EF4-FFF2-40B4-BE49-F238E27FC236}">
                <a16:creationId xmlns:a16="http://schemas.microsoft.com/office/drawing/2014/main" id="{EB2B45F2-8D32-A344-93BE-979FC74FCFB7}"/>
              </a:ext>
            </a:extLst>
          </p:cNvPr>
          <p:cNvGrpSpPr/>
          <p:nvPr/>
        </p:nvGrpSpPr>
        <p:grpSpPr>
          <a:xfrm>
            <a:off x="8154785" y="1346032"/>
            <a:ext cx="2093250" cy="3698006"/>
            <a:chOff x="4700634" y="1022350"/>
            <a:chExt cx="1569938" cy="2774950"/>
          </a:xfrm>
          <a:solidFill>
            <a:schemeClr val="tx2"/>
          </a:solidFill>
        </p:grpSpPr>
        <p:sp>
          <p:nvSpPr>
            <p:cNvPr id="17" name="Rectángulo 6">
              <a:extLst>
                <a:ext uri="{FF2B5EF4-FFF2-40B4-BE49-F238E27FC236}">
                  <a16:creationId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8" name="Rectángulo 17">
              <a:extLst>
                <a:ext uri="{FF2B5EF4-FFF2-40B4-BE49-F238E27FC236}">
                  <a16:creationId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9" name="Rectángulo 18">
              <a:extLst>
                <a:ext uri="{FF2B5EF4-FFF2-40B4-BE49-F238E27FC236}">
                  <a16:creationId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20" name="Rectángulo 19">
              <a:extLst>
                <a:ext uri="{FF2B5EF4-FFF2-40B4-BE49-F238E27FC236}">
                  <a16:creationId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grpSp>
        <p:nvGrpSpPr>
          <p:cNvPr id="21" name="Grupo 20">
            <a:extLst>
              <a:ext uri="{FF2B5EF4-FFF2-40B4-BE49-F238E27FC236}">
                <a16:creationId xmlns:a16="http://schemas.microsoft.com/office/drawing/2014/main" id="{C733D58C-D2A1-9040-B07D-82C6EAEF6E32}"/>
              </a:ext>
            </a:extLst>
          </p:cNvPr>
          <p:cNvGrpSpPr/>
          <p:nvPr/>
        </p:nvGrpSpPr>
        <p:grpSpPr>
          <a:xfrm>
            <a:off x="9463196" y="1346032"/>
            <a:ext cx="2093250" cy="3698006"/>
            <a:chOff x="4700634" y="1022350"/>
            <a:chExt cx="1569938" cy="2774950"/>
          </a:xfrm>
          <a:solidFill>
            <a:schemeClr val="accent5"/>
          </a:solidFill>
        </p:grpSpPr>
        <p:sp>
          <p:nvSpPr>
            <p:cNvPr id="22" name="Rectángulo 6">
              <a:extLst>
                <a:ext uri="{FF2B5EF4-FFF2-40B4-BE49-F238E27FC236}">
                  <a16:creationId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23" name="Rectángulo 22">
              <a:extLst>
                <a:ext uri="{FF2B5EF4-FFF2-40B4-BE49-F238E27FC236}">
                  <a16:creationId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24" name="Rectángulo 23">
              <a:extLst>
                <a:ext uri="{FF2B5EF4-FFF2-40B4-BE49-F238E27FC236}">
                  <a16:creationId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25" name="Rectángulo 24">
              <a:extLst>
                <a:ext uri="{FF2B5EF4-FFF2-40B4-BE49-F238E27FC236}">
                  <a16:creationId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Tree>
    <p:extLst>
      <p:ext uri="{BB962C8B-B14F-4D97-AF65-F5344CB8AC3E}">
        <p14:creationId xmlns:p14="http://schemas.microsoft.com/office/powerpoint/2010/main" val="221542214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336000" y="645587"/>
            <a:ext cx="11017800" cy="863601"/>
          </a:xfrm>
          <a:prstGeom prst="rect">
            <a:avLst/>
          </a:prstGeom>
        </p:spPr>
        <p:txBody>
          <a:bodyPr lIns="0" tIns="0" rIns="0" bIns="0"/>
          <a:lstStyle>
            <a:lvl1pPr>
              <a:defRPr sz="2798">
                <a:latin typeface="Georgia" panose="02040502050405020303" pitchFamily="18" charset="0"/>
              </a:defRPr>
            </a:lvl1pPr>
          </a:lstStyle>
          <a:p>
            <a:r>
              <a:rPr lang="es-ES"/>
              <a:t>Índice</a:t>
            </a:r>
          </a:p>
        </p:txBody>
      </p:sp>
      <p:sp>
        <p:nvSpPr>
          <p:cNvPr id="4" name="Forma libre 3">
            <a:extLst>
              <a:ext uri="{FF2B5EF4-FFF2-40B4-BE49-F238E27FC236}">
                <a16:creationId xmlns:a16="http://schemas.microsoft.com/office/drawing/2014/main" id="{F6C55DCE-A9B0-2243-80CD-2F30EC5EF5A4}"/>
              </a:ext>
            </a:extLst>
          </p:cNvPr>
          <p:cNvSpPr/>
          <p:nvPr/>
        </p:nvSpPr>
        <p:spPr>
          <a:xfrm>
            <a:off x="4328250" y="2232949"/>
            <a:ext cx="7939453"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00D88BD8-9E72-844D-A3E4-A145CC1FC878}"/>
              </a:ext>
            </a:extLst>
          </p:cNvPr>
          <p:cNvSpPr/>
          <p:nvPr/>
        </p:nvSpPr>
        <p:spPr>
          <a:xfrm>
            <a:off x="2796363" y="894269"/>
            <a:ext cx="7956155"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6" name="Forma libre 5">
            <a:extLst>
              <a:ext uri="{FF2B5EF4-FFF2-40B4-BE49-F238E27FC236}">
                <a16:creationId xmlns:a16="http://schemas.microsoft.com/office/drawing/2014/main" id="{95D2642E-B667-424F-952B-3431D2440BB5}"/>
              </a:ext>
            </a:extLst>
          </p:cNvPr>
          <p:cNvSpPr/>
          <p:nvPr/>
        </p:nvSpPr>
        <p:spPr>
          <a:xfrm>
            <a:off x="-92286" y="20016"/>
            <a:ext cx="8259460"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9" name="Imagen 8"/>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3" name="Marcador de texto 2"/>
          <p:cNvSpPr>
            <a:spLocks noGrp="1"/>
          </p:cNvSpPr>
          <p:nvPr>
            <p:ph type="body" sz="quarter" idx="10" hasCustomPrompt="1"/>
          </p:nvPr>
        </p:nvSpPr>
        <p:spPr>
          <a:xfrm>
            <a:off x="336000" y="2444755"/>
            <a:ext cx="5760000" cy="3577167"/>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Capítulo</a:t>
            </a:r>
          </a:p>
          <a:p>
            <a:pPr lvl="0"/>
            <a:endParaRPr lang="es-ES"/>
          </a:p>
          <a:p>
            <a:pPr lvl="0"/>
            <a:endParaRPr lang="es-ES"/>
          </a:p>
        </p:txBody>
      </p:sp>
      <p:sp>
        <p:nvSpPr>
          <p:cNvPr id="10"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Tree>
    <p:extLst>
      <p:ext uri="{BB962C8B-B14F-4D97-AF65-F5344CB8AC3E}">
        <p14:creationId xmlns:p14="http://schemas.microsoft.com/office/powerpoint/2010/main" val="2026949675"/>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04837" y="712437"/>
            <a:ext cx="7553833" cy="714581"/>
          </a:xfrm>
          <a:prstGeom prst="rect">
            <a:avLst/>
          </a:prstGeom>
        </p:spPr>
        <p:txBody>
          <a:bodyPr vert="horz" lIns="0" tIns="0" rIns="0" bIns="0" rtlCol="0" anchor="t">
            <a:noAutofit/>
          </a:bodyPr>
          <a:lstStyle>
            <a:lvl1pPr>
              <a:defRPr sz="5330" b="0" i="0">
                <a:solidFill>
                  <a:schemeClr val="tx1"/>
                </a:solidFill>
                <a:latin typeface="Georgia" panose="02040502050405020303" pitchFamily="18" charset="0"/>
              </a:defRPr>
            </a:lvl1pPr>
          </a:lstStyle>
          <a:p>
            <a:r>
              <a:rPr lang="es-ES"/>
              <a:t>Gracias!</a:t>
            </a:r>
            <a:endParaRPr lang="en-US"/>
          </a:p>
        </p:txBody>
      </p:sp>
      <p:sp>
        <p:nvSpPr>
          <p:cNvPr id="3" name="Rectángulo 3">
            <a:extLst>
              <a:ext uri="{FF2B5EF4-FFF2-40B4-BE49-F238E27FC236}">
                <a16:creationId xmlns:a16="http://schemas.microsoft.com/office/drawing/2014/main" id="{A1E39811-A34B-AD46-8ACC-A06DB4D267D0}"/>
              </a:ext>
            </a:extLst>
          </p:cNvPr>
          <p:cNvSpPr/>
          <p:nvPr/>
        </p:nvSpPr>
        <p:spPr>
          <a:xfrm>
            <a:off x="7744691" y="3699164"/>
            <a:ext cx="2575779" cy="38100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4" name="Rectángulo 4">
            <a:extLst>
              <a:ext uri="{FF2B5EF4-FFF2-40B4-BE49-F238E27FC236}">
                <a16:creationId xmlns:a16="http://schemas.microsoft.com/office/drawing/2014/main" id="{A3F9223B-685F-2843-9227-57F23C3FCEB4}"/>
              </a:ext>
            </a:extLst>
          </p:cNvPr>
          <p:cNvSpPr/>
          <p:nvPr/>
        </p:nvSpPr>
        <p:spPr>
          <a:xfrm>
            <a:off x="10128451" y="2715495"/>
            <a:ext cx="1010606" cy="4793673"/>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Rectángulo 8">
            <a:extLst>
              <a:ext uri="{FF2B5EF4-FFF2-40B4-BE49-F238E27FC236}">
                <a16:creationId xmlns:a16="http://schemas.microsoft.com/office/drawing/2014/main" id="{3E974AAD-8F9B-2E42-A5FB-13D764EAA100}"/>
              </a:ext>
            </a:extLst>
          </p:cNvPr>
          <p:cNvSpPr/>
          <p:nvPr/>
        </p:nvSpPr>
        <p:spPr>
          <a:xfrm>
            <a:off x="10992544" y="1288475"/>
            <a:ext cx="1383028" cy="6220692"/>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pic>
        <p:nvPicPr>
          <p:cNvPr id="6" name="Imagen 5"/>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7"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Tree>
    <p:extLst>
      <p:ext uri="{BB962C8B-B14F-4D97-AF65-F5344CB8AC3E}">
        <p14:creationId xmlns:p14="http://schemas.microsoft.com/office/powerpoint/2010/main" val="113878376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1592921"/>
            <a:ext cx="6951931"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5" name="Imagen 14"/>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B101F9E-64AF-FC48-B2A1-F70779554AB4}"/>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3"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165628263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1592921"/>
            <a:ext cx="693807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5" name="Imagen 14"/>
          <p:cNvPicPr>
            <a:picLocks noChangeAspect="1"/>
          </p:cNvPicPr>
          <p:nvPr/>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78611A90-5661-7849-85C4-60F38E37590D}"/>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70484247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5" name="Imagen 14"/>
          <p:cNvPicPr>
            <a:picLocks noChangeAspect="1"/>
          </p:cNvPicPr>
          <p:nvPr/>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57625A35-6F69-D543-BA04-C64550EF3B02}"/>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19945314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5" name="Imagen 14"/>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6E4C2C5-0D36-E34C-9E34-75AB96E1F27C}"/>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382870670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5" name="Imagen 14"/>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2231655-E814-554D-A77B-76AE9E4B8F36}"/>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17723349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5" name="Imagen 14"/>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23CE7FB-CF5A-CA42-B78E-69EC6A848FB0}"/>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1653231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5" name="Imagen 14"/>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23CE7FB-CF5A-CA42-B78E-69EC6A848FB0}"/>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253590273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5" name="Imagen 14"/>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881361F9-92A8-6949-BEF9-77B573EB2B51}"/>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178333484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5" name="Imagen 14"/>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4E9E540-B7BF-4344-8072-B7008201BE20}"/>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314819390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60C3CE1-1E28-6546-9D6D-A09B9CDA1994}"/>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1"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230438676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4" name="Imagen 13"/>
          <p:cNvPicPr>
            <a:picLocks noChangeAspect="1"/>
          </p:cNvPicPr>
          <p:nvPr/>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DEC9B28E-6B7A-0E4E-B90F-9C217C75299E}"/>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1"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94752101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5" name="Imagen 14"/>
          <p:cNvPicPr>
            <a:picLocks noChangeAspect="1"/>
          </p:cNvPicPr>
          <p:nvPr/>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9D1119D-7D51-D44F-94AB-E6DA2AD81F78}"/>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1"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34760612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3" y="1592921"/>
            <a:ext cx="6818927"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1B5AB55-B564-F54E-A43A-49F65087AAEE}"/>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1"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41673591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3" name="Imagen 12"/>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F48F91E-AAFB-524A-95AE-FEB5DBF353FA}"/>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100496947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FC254CD5-68FD-894C-AC6F-D3DF03A43FEB}"/>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1"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58083275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8F0CE16-977C-DF45-B8D7-297950F18BFA}"/>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1"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277841545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2E0AD7B-150C-EB41-978F-26BBDF5F4223}"/>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1"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2253860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5" name="Imagen 14"/>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881361F9-92A8-6949-BEF9-77B573EB2B51}"/>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12512478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7" name="Imagen 16"/>
          <p:cNvPicPr>
            <a:picLocks noChangeAspect="1"/>
          </p:cNvPicPr>
          <p:nvPr/>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Tree>
    <p:extLst>
      <p:ext uri="{BB962C8B-B14F-4D97-AF65-F5344CB8AC3E}">
        <p14:creationId xmlns:p14="http://schemas.microsoft.com/office/powerpoint/2010/main" val="3042960671"/>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bg1"/>
                </a:solidFill>
                <a:latin typeface="Georgia" panose="02040502050405020303" pitchFamily="18" charset="0"/>
              </a:defRPr>
            </a:lvl1pPr>
          </a:lstStyle>
          <a:p>
            <a:r>
              <a:rPr lang="es-ES"/>
              <a:t>Haga clic para un texto destacado o una idea principal</a:t>
            </a:r>
            <a:endParaRPr lang="en-US"/>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Arial" panose="020B0604020202020204" pitchFamily="34" charset="0"/>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Nº›</a:t>
            </a:fld>
            <a:endParaRPr kumimoji="0" lang="es-ES" sz="1066" b="0" i="0" u="none" strike="noStrike" kern="1200" cap="none" spc="0" normalizeH="0" baseline="0" noProof="0">
              <a:ln>
                <a:noFill/>
              </a:ln>
              <a:solidFill>
                <a:srgbClr val="1A3B47"/>
              </a:solidFill>
              <a:effectLst/>
              <a:uLnTx/>
              <a:uFillTx/>
              <a:latin typeface="Arial" panose="020B0604020202020204" pitchFamily="34" charset="0"/>
              <a:ea typeface="+mn-ea"/>
              <a:cs typeface="+mn-cs"/>
            </a:endParaRPr>
          </a:p>
        </p:txBody>
      </p:sp>
      <p:pic>
        <p:nvPicPr>
          <p:cNvPr id="15" name="Imagen 14"/>
          <p:cNvPicPr>
            <a:picLocks noChangeAspect="1"/>
          </p:cNvPicPr>
          <p:nvPr/>
        </p:nvPicPr>
        <p:blipFill>
          <a:blip r:embed="rId2">
            <a:lum/>
          </a:blip>
          <a:stretch>
            <a:fillRect/>
          </a:stretch>
        </p:blipFill>
        <p:spPr>
          <a:xfrm>
            <a:off x="8887258" y="6540533"/>
            <a:ext cx="1145182" cy="248840"/>
          </a:xfrm>
          <a:prstGeom prst="rect">
            <a:avLst/>
          </a:prstGeom>
        </p:spPr>
      </p:pic>
      <p:sp>
        <p:nvSpPr>
          <p:cNvPr id="17"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Tree>
    <p:extLst>
      <p:ext uri="{BB962C8B-B14F-4D97-AF65-F5344CB8AC3E}">
        <p14:creationId xmlns:p14="http://schemas.microsoft.com/office/powerpoint/2010/main" val="2742433854"/>
      </p:ext>
    </p:extLst>
  </p:cSld>
  <p:clrMapOvr>
    <a:overrideClrMapping bg1="dk1" tx1="lt1" bg2="dk2" tx2="lt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7"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2" name="Imagen 11"/>
          <p:cNvPicPr>
            <a:picLocks noChangeAspect="1"/>
          </p:cNvPicPr>
          <p:nvPr/>
        </p:nvPicPr>
        <p:blipFill>
          <a:blip r:embed="rId2">
            <a:lum bright="100000" contrast="-70000"/>
          </a:blip>
          <a:stretch>
            <a:fillRect/>
          </a:stretch>
        </p:blipFill>
        <p:spPr>
          <a:xfrm>
            <a:off x="8887258" y="6540533"/>
            <a:ext cx="1145182" cy="248840"/>
          </a:xfrm>
          <a:prstGeom prst="rect">
            <a:avLst/>
          </a:prstGeom>
        </p:spPr>
      </p:pic>
      <p:pic>
        <p:nvPicPr>
          <p:cNvPr id="15" name="Imagen 14">
            <a:extLst>
              <a:ext uri="{FF2B5EF4-FFF2-40B4-BE49-F238E27FC236}">
                <a16:creationId xmlns:a16="http://schemas.microsoft.com/office/drawing/2014/main" id="{A3612F95-8251-5349-ABFE-8A62EF3295EE}"/>
              </a:ext>
            </a:extLst>
          </p:cNvPr>
          <p:cNvPicPr>
            <a:picLocks noChangeAspect="1"/>
          </p:cNvPicPr>
          <p:nvPr/>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4252670944"/>
      </p:ext>
    </p:extLst>
  </p:cSld>
  <p:clrMapOvr>
    <a:overrideClrMapping bg1="dk1" tx1="lt1" bg2="dk2" tx2="lt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bg1"/>
                </a:solidFill>
                <a:latin typeface="Georgia" panose="02040502050405020303" pitchFamily="18" charset="0"/>
              </a:defRPr>
            </a:lvl1pPr>
          </a:lstStyle>
          <a:p>
            <a:r>
              <a:rPr lang="es-ES"/>
              <a:t>Haga clic para un texto destacado o una idea principal</a:t>
            </a:r>
            <a:endParaRPr lang="en-US"/>
          </a:p>
        </p:txBody>
      </p:sp>
      <p:sp>
        <p:nvSpPr>
          <p:cNvPr id="14"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Arial" panose="020B0604020202020204" pitchFamily="34" charset="0"/>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Nº›</a:t>
            </a:fld>
            <a:endParaRPr kumimoji="0" lang="es-ES" sz="1066" b="0" i="0" u="none" strike="noStrike" kern="1200" cap="none" spc="0" normalizeH="0" baseline="0" noProof="0">
              <a:ln>
                <a:noFill/>
              </a:ln>
              <a:solidFill>
                <a:srgbClr val="1A3B47"/>
              </a:solidFill>
              <a:effectLst/>
              <a:uLnTx/>
              <a:uFillTx/>
              <a:latin typeface="Arial" panose="020B0604020202020204" pitchFamily="34" charset="0"/>
              <a:ea typeface="+mn-ea"/>
              <a:cs typeface="+mn-cs"/>
            </a:endParaRPr>
          </a:p>
        </p:txBody>
      </p:sp>
      <p:pic>
        <p:nvPicPr>
          <p:cNvPr id="18" name="Imagen 17"/>
          <p:cNvPicPr>
            <a:picLocks noChangeAspect="1"/>
          </p:cNvPicPr>
          <p:nvPr/>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Tree>
    <p:extLst>
      <p:ext uri="{BB962C8B-B14F-4D97-AF65-F5344CB8AC3E}">
        <p14:creationId xmlns:p14="http://schemas.microsoft.com/office/powerpoint/2010/main" val="345566558"/>
      </p:ext>
    </p:extLst>
  </p:cSld>
  <p:clrMapOvr>
    <a:overrideClrMapping bg1="dk1" tx1="lt1" bg2="dk2" tx2="lt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3821618708"/>
      </p:ext>
    </p:extLst>
  </p:cSld>
  <p:clrMapOvr>
    <a:overrideClrMapping bg1="dk1" tx1="lt1" bg2="dk2" tx2="lt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1314344990"/>
      </p:ext>
    </p:extLst>
  </p:cSld>
  <p:clrMapOvr>
    <a:overrideClrMapping bg1="dk1" tx1="lt1" bg2="dk2" tx2="lt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121833530"/>
      </p:ext>
    </p:extLst>
  </p:cSld>
  <p:clrMapOvr>
    <a:overrideClrMapping bg1="dk1" tx1="lt1" bg2="dk2" tx2="lt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146847077"/>
      </p:ext>
    </p:extLst>
  </p:cSld>
  <p:clrMapOvr>
    <a:overrideClrMapping bg1="dk1" tx1="lt1" bg2="dk2" tx2="lt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34147" name="Diapositiva de think-cell" r:id="rId5" imgW="270" imgH="270" progId="TCLayout.ActiveDocument.1">
                  <p:embed/>
                </p:oleObj>
              </mc:Choice>
              <mc:Fallback>
                <p:oleObj name="Diapositiva de think-cell" r:id="rId5" imgW="270" imgH="270" progId="TCLayout.ActiveDocument.1">
                  <p:embed/>
                  <p:pic>
                    <p:nvPicPr>
                      <p:cNvPr id="4" name="Objeto 3"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3" name="Rectángulo 2"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a:endParaRPr>
          </a:p>
        </p:txBody>
      </p:sp>
      <p:sp>
        <p:nvSpPr>
          <p:cNvPr id="2" name="Rectángulo 1">
            <a:extLst>
              <a:ext uri="{FF2B5EF4-FFF2-40B4-BE49-F238E27FC236}">
                <a16:creationId xmlns:a16="http://schemas.microsoft.com/office/drawing/2014/main" id="{810E9B03-F7C3-9F47-9D4A-723840648AC5}"/>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pic>
        <p:nvPicPr>
          <p:cNvPr id="19" name="Imagen 18">
            <a:extLst>
              <a:ext uri="{FF2B5EF4-FFF2-40B4-BE49-F238E27FC236}">
                <a16:creationId xmlns:a16="http://schemas.microsoft.com/office/drawing/2014/main" id="{A3612F95-8251-5349-ABFE-8A62EF3295EE}"/>
              </a:ext>
            </a:extLst>
          </p:cNvPr>
          <p:cNvPicPr>
            <a:picLocks noChangeAspect="1"/>
          </p:cNvPicPr>
          <p:nvPr/>
        </p:nvPicPr>
        <p:blipFill>
          <a:blip r:embed="rId7"/>
          <a:stretch>
            <a:fillRect/>
          </a:stretch>
        </p:blipFill>
        <p:spPr>
          <a:xfrm>
            <a:off x="336001" y="6505495"/>
            <a:ext cx="859201" cy="170476"/>
          </a:xfrm>
          <a:prstGeom prst="rect">
            <a:avLst/>
          </a:prstGeom>
        </p:spPr>
      </p:pic>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6" name="Imagen 15"/>
          <p:cNvPicPr>
            <a:picLocks noChangeAspect="1"/>
          </p:cNvPicPr>
          <p:nvPr/>
        </p:nvPicPr>
        <p:blipFill>
          <a:blip r:embed="rId8">
            <a:lum bright="100000" contrast="-70000"/>
          </a:blip>
          <a:stretch>
            <a:fillRect/>
          </a:stretch>
        </p:blipFill>
        <p:spPr>
          <a:xfrm>
            <a:off x="8887258" y="6540533"/>
            <a:ext cx="1145182" cy="248840"/>
          </a:xfrm>
          <a:prstGeom prst="rect">
            <a:avLst/>
          </a:prstGeom>
        </p:spPr>
      </p:pic>
    </p:spTree>
    <p:extLst>
      <p:ext uri="{BB962C8B-B14F-4D97-AF65-F5344CB8AC3E}">
        <p14:creationId xmlns:p14="http://schemas.microsoft.com/office/powerpoint/2010/main" val="1384387970"/>
      </p:ext>
    </p:extLst>
  </p:cSld>
  <p:clrMapOvr>
    <a:overrideClrMapping bg1="dk1" tx1="lt1" bg2="dk2" tx2="lt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35171"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11" name="Imagen 10"/>
          <p:cNvPicPr>
            <a:picLocks noChangeAspect="1"/>
          </p:cNvPicPr>
          <p:nvPr/>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4495706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5" name="Imagen 14"/>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4E9E540-B7BF-4344-8072-B7008201BE20}"/>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68834042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3619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265236800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37219"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18" name="Imagen 17"/>
          <p:cNvPicPr>
            <a:picLocks noChangeAspect="1"/>
          </p:cNvPicPr>
          <p:nvPr/>
        </p:nvPicPr>
        <p:blipFill>
          <a:blip r:embed="rId7">
            <a:lum/>
          </a:blip>
          <a:stretch>
            <a:fillRect/>
          </a:stretch>
        </p:blipFill>
        <p:spPr>
          <a:xfrm>
            <a:off x="8887258" y="6540533"/>
            <a:ext cx="1145182" cy="248840"/>
          </a:xfrm>
          <a:prstGeom prst="rect">
            <a:avLst/>
          </a:prstGeom>
        </p:spPr>
      </p:pic>
      <p:sp>
        <p:nvSpPr>
          <p:cNvPr id="19"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20"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95138385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38243"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204506358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39267"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11" name="Imagen 10"/>
          <p:cNvPicPr>
            <a:picLocks noChangeAspect="1"/>
          </p:cNvPicPr>
          <p:nvPr/>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365367888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40291"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367581383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4131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11" name="Imagen 10"/>
          <p:cNvPicPr>
            <a:picLocks noChangeAspect="1"/>
          </p:cNvPicPr>
          <p:nvPr/>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216922809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42339"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159599412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43363"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11" name="Imagen 10"/>
          <p:cNvPicPr>
            <a:picLocks noChangeAspect="1"/>
          </p:cNvPicPr>
          <p:nvPr/>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8985101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44387"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290883050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45411"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11" name="Imagen 10"/>
          <p:cNvPicPr>
            <a:picLocks noChangeAspect="1"/>
          </p:cNvPicPr>
          <p:nvPr/>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39798657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60C3CE1-1E28-6546-9D6D-A09B9CDA1994}"/>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1"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72590231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4643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a:defRPr kumimoji="0" lang="es-ES" sz="1000" u="none" strike="noStrike" cap="none" spc="0" normalizeH="0" baseline="0" dirty="0">
                <a:ln>
                  <a:noFill/>
                </a:ln>
                <a:solidFill>
                  <a:srgbClr val="1A3B47"/>
                </a:solidFill>
                <a:effectLst/>
                <a:uLnTx/>
                <a:uFillTx/>
                <a:latin typeface="+mn-lt"/>
                <a:cs typeface="Arial" panose="020B0604020202020204" pitchFamily="34" charset="0"/>
              </a:defRPr>
            </a:lvl1pPr>
          </a:lstStyle>
          <a:p>
            <a:pPr marL="0" marR="0" lvl="0" indent="0" algn="just" defTabSz="1124825" fontAlgn="auto">
              <a:lnSpc>
                <a:spcPct val="100000"/>
              </a:lnSpc>
              <a:spcBef>
                <a:spcPct val="20000"/>
              </a:spcBef>
              <a:spcAft>
                <a:spcPts val="0"/>
              </a:spcAft>
              <a:buClr>
                <a:srgbClr val="3D3935">
                  <a:lumMod val="75000"/>
                </a:srgbClr>
              </a:buClr>
              <a:buSzTx/>
              <a:buNone/>
              <a:tabLst/>
            </a:pPr>
            <a:r>
              <a:rPr lang="es-ES"/>
              <a:t>Editar el estilo de texto del patrón</a:t>
            </a:r>
          </a:p>
        </p:txBody>
      </p:sp>
      <p:grpSp>
        <p:nvGrpSpPr>
          <p:cNvPr id="7" name="Grupo 6"/>
          <p:cNvGrpSpPr/>
          <p:nvPr/>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244775765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Sin nada">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47459" name="Diapositiva de think-cell" r:id="rId5" imgW="270" imgH="270" progId="TCLayout.ActiveDocument.1">
                  <p:embed/>
                </p:oleObj>
              </mc:Choice>
              <mc:Fallback>
                <p:oleObj name="Diapositiva de think-cell" r:id="rId5" imgW="270" imgH="270" progId="TCLayout.ActiveDocument.1">
                  <p:embed/>
                  <p:pic>
                    <p:nvPicPr>
                      <p:cNvPr id="4" name="Objeto 3"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5"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spTree>
    <p:extLst>
      <p:ext uri="{BB962C8B-B14F-4D97-AF65-F5344CB8AC3E}">
        <p14:creationId xmlns:p14="http://schemas.microsoft.com/office/powerpoint/2010/main" val="94713324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48483"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1" name="Imagen 10"/>
          <p:cNvPicPr>
            <a:picLocks noChangeAspect="1"/>
          </p:cNvPicPr>
          <p:nvPr userDrawn="1"/>
        </p:nvPicPr>
        <p:blipFill>
          <a:blip r:embed="rId7">
            <a:lum/>
          </a:blip>
          <a:stretch>
            <a:fillRect/>
          </a:stretch>
        </p:blipFill>
        <p:spPr>
          <a:xfrm>
            <a:off x="8887255" y="6540533"/>
            <a:ext cx="1145183"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321252635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57" y="3190459"/>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3" y="3533831"/>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9" y="3750355"/>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553833"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2</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3" name="Imagen 12"/>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AF48F91E-AAFB-524A-95AE-FEB5DBF353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182957878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50531"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latin typeface="Arial" panose="020B0604020202020204" pitchFamily="34" charset="0"/>
                <a:cs typeface="Arial" panose="020B0604020202020204" pitchFamily="34" charset="0"/>
              </a:rPr>
              <a:pPr algn="r"/>
              <a:t>‹Nº›</a:t>
            </a:fld>
            <a:endParaRPr lang="es-ES" sz="1067">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382383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5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052607"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4" y="1503237"/>
            <a:ext cx="3734647" cy="2021839"/>
          </a:xfrm>
          <a:prstGeom prst="rect">
            <a:avLst/>
          </a:prstGeom>
        </p:spPr>
        <p:txBody>
          <a:bodyPr/>
          <a:lstStyle>
            <a:lvl1pPr marL="0" indent="0" algn="ctr">
              <a:buNone/>
              <a:defRPr sz="16000">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881361F9-92A8-6949-BEF9-77B573EB2B51}"/>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178847514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052607"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4" y="1503237"/>
            <a:ext cx="3734647" cy="2021839"/>
          </a:xfrm>
          <a:prstGeom prst="rect">
            <a:avLst/>
          </a:prstGeom>
        </p:spPr>
        <p:txBody>
          <a:bodyPr/>
          <a:lstStyle>
            <a:lvl1pPr marL="0" indent="0" algn="ctr">
              <a:buNone/>
              <a:defRPr sz="16000">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26E4C2C5-0D36-E34C-9E34-75AB96E1F27C}"/>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34690089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4" name="Imagen 13"/>
          <p:cNvPicPr>
            <a:picLocks noChangeAspect="1"/>
          </p:cNvPicPr>
          <p:nvPr/>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DEC9B28E-6B7A-0E4E-B90F-9C217C75299E}"/>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1"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12384391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5" name="Imagen 14"/>
          <p:cNvPicPr>
            <a:picLocks noChangeAspect="1"/>
          </p:cNvPicPr>
          <p:nvPr/>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9D1119D-7D51-D44F-94AB-E6DA2AD81F78}"/>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1"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28261894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3" y="1592921"/>
            <a:ext cx="6818927"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1B5AB55-B564-F54E-A43A-49F65087AAEE}"/>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1"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17418371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3" name="Imagen 12"/>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F48F91E-AAFB-524A-95AE-FEB5DBF353FA}"/>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13805526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FC254CD5-68FD-894C-AC6F-D3DF03A43FEB}"/>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1"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31166162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 Portada foto 2">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0"/>
            <a:ext cx="12192000" cy="6858000"/>
          </a:xfrm>
          <a:prstGeom prst="rect">
            <a:avLst/>
          </a:prstGeom>
        </p:spPr>
        <p:txBody>
          <a:bodyPr anchor="t"/>
          <a:lstStyle>
            <a:lvl1pPr marL="0" indent="0" algn="ctr">
              <a:buNone/>
              <a:defRPr>
                <a:latin typeface="Arial" panose="020B0604020202020204" pitchFamily="34" charset="0"/>
              </a:defRPr>
            </a:lvl1pPr>
          </a:lstStyle>
          <a:p>
            <a:r>
              <a:rPr lang="es-ES"/>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1" y="3311240"/>
            <a:ext cx="4842163" cy="248041"/>
          </a:xfrm>
          <a:prstGeom prst="rect">
            <a:avLst/>
          </a:prstGeom>
        </p:spPr>
        <p:txBody>
          <a:bodyPr lIns="0" tIns="0" rIns="0" bIns="0"/>
          <a:lstStyle>
            <a:lvl1pPr marL="0" indent="0">
              <a:buNone/>
              <a:defRPr sz="1866">
                <a:latin typeface="Arial" panose="020B0604020202020204" pitchFamily="34" charset="0"/>
              </a:defRPr>
            </a:lvl1pPr>
          </a:lstStyle>
          <a:p>
            <a:r>
              <a:rPr lang="es-ES"/>
              <a:t>Editar el subtitulo de la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3743044"/>
            <a:ext cx="3725333" cy="159485"/>
          </a:xfrm>
          <a:prstGeom prst="rect">
            <a:avLst/>
          </a:prstGeom>
        </p:spPr>
        <p:txBody>
          <a:bodyPr lIns="0" tIns="0" rIns="0" bIns="0"/>
          <a:lstStyle>
            <a:lvl1pPr marL="0" indent="0">
              <a:buNone/>
              <a:defRPr sz="1333">
                <a:latin typeface="Arial" panose="020B0604020202020204" pitchFamily="34" charset="0"/>
              </a:defRPr>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382577"/>
            <a:ext cx="1799167" cy="639233"/>
          </a:xfrm>
          <a:prstGeom prst="rect">
            <a:avLst/>
          </a:prstGeom>
        </p:spPr>
        <p:txBody>
          <a:bodyPr anchor="ctr"/>
          <a:lstStyle>
            <a:lvl1pPr marL="0" indent="0" algn="ctr">
              <a:buNone/>
              <a:defRPr sz="1333">
                <a:latin typeface="Arial" panose="020B0604020202020204" pitchFamily="34" charset="0"/>
              </a:defRPr>
            </a:lvl1pPr>
          </a:lstStyle>
          <a:p>
            <a:r>
              <a:rPr lang="es-ES"/>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49675" y="1421649"/>
            <a:ext cx="7563994" cy="1648341"/>
          </a:xfrm>
          <a:prstGeom prst="rect">
            <a:avLst/>
          </a:prstGeom>
        </p:spPr>
        <p:txBody>
          <a:bodyPr vert="horz" lIns="0" tIns="0" rIns="0" bIns="0" rtlCol="0" anchor="t">
            <a:noAutofit/>
          </a:bodyPr>
          <a:lstStyle>
            <a:lvl1pPr>
              <a:defRPr sz="5330">
                <a:latin typeface="Georgia" panose="02040502050405020303" pitchFamily="18" charset="0"/>
              </a:defRPr>
            </a:lvl1pPr>
          </a:lstStyle>
          <a:p>
            <a:r>
              <a:rPr lang="es-ES"/>
              <a:t>Haga clic para el título principal</a:t>
            </a:r>
            <a:endParaRPr lang="en-US"/>
          </a:p>
        </p:txBody>
      </p:sp>
    </p:spTree>
    <p:extLst>
      <p:ext uri="{BB962C8B-B14F-4D97-AF65-F5344CB8AC3E}">
        <p14:creationId xmlns:p14="http://schemas.microsoft.com/office/powerpoint/2010/main" val="36637038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8F0CE16-977C-DF45-B8D7-297950F18BFA}"/>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1"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2804636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Forma libre 16">
            <a:extLst>
              <a:ext uri="{FF2B5EF4-FFF2-40B4-BE49-F238E27FC236}">
                <a16:creationId xmlns:a16="http://schemas.microsoft.com/office/drawing/2014/main" id="{4610843F-8FF6-844B-B9EE-71F1C7B08FAC}"/>
              </a:ext>
            </a:extLst>
          </p:cNvPr>
          <p:cNvSpPr/>
          <p:nvPr/>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93EB5CC0-893F-7E43-ABEC-FF257A4D7B5E}"/>
              </a:ext>
            </a:extLst>
          </p:cNvPr>
          <p:cNvSpPr/>
          <p:nvPr/>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2E0AD7B-150C-EB41-978F-26BBDF5F4223}"/>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1"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1944430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7" name="Imagen 16"/>
          <p:cNvPicPr>
            <a:picLocks noChangeAspect="1"/>
          </p:cNvPicPr>
          <p:nvPr/>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Tree>
    <p:extLst>
      <p:ext uri="{BB962C8B-B14F-4D97-AF65-F5344CB8AC3E}">
        <p14:creationId xmlns:p14="http://schemas.microsoft.com/office/powerpoint/2010/main" val="2709232537"/>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bg1"/>
                </a:solidFill>
                <a:latin typeface="Georgia" panose="02040502050405020303" pitchFamily="18" charset="0"/>
              </a:defRPr>
            </a:lvl1pPr>
          </a:lstStyle>
          <a:p>
            <a:r>
              <a:rPr lang="es-ES"/>
              <a:t>Haga clic para un texto destacado o una idea principal</a:t>
            </a:r>
            <a:endParaRPr lang="en-US"/>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Arial" panose="020B0604020202020204" pitchFamily="34" charset="0"/>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Nº›</a:t>
            </a:fld>
            <a:endParaRPr kumimoji="0" lang="es-ES" sz="1066" b="0" i="0" u="none" strike="noStrike" kern="1200" cap="none" spc="0" normalizeH="0" baseline="0" noProof="0">
              <a:ln>
                <a:noFill/>
              </a:ln>
              <a:solidFill>
                <a:srgbClr val="1A3B47"/>
              </a:solidFill>
              <a:effectLst/>
              <a:uLnTx/>
              <a:uFillTx/>
              <a:latin typeface="Arial" panose="020B0604020202020204" pitchFamily="34" charset="0"/>
              <a:ea typeface="+mn-ea"/>
              <a:cs typeface="+mn-cs"/>
            </a:endParaRPr>
          </a:p>
        </p:txBody>
      </p:sp>
      <p:pic>
        <p:nvPicPr>
          <p:cNvPr id="15" name="Imagen 14"/>
          <p:cNvPicPr>
            <a:picLocks noChangeAspect="1"/>
          </p:cNvPicPr>
          <p:nvPr/>
        </p:nvPicPr>
        <p:blipFill>
          <a:blip r:embed="rId2">
            <a:lum/>
          </a:blip>
          <a:stretch>
            <a:fillRect/>
          </a:stretch>
        </p:blipFill>
        <p:spPr>
          <a:xfrm>
            <a:off x="8887258" y="6540533"/>
            <a:ext cx="1145182" cy="248840"/>
          </a:xfrm>
          <a:prstGeom prst="rect">
            <a:avLst/>
          </a:prstGeom>
        </p:spPr>
      </p:pic>
      <p:sp>
        <p:nvSpPr>
          <p:cNvPr id="17"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Tree>
    <p:extLst>
      <p:ext uri="{BB962C8B-B14F-4D97-AF65-F5344CB8AC3E}">
        <p14:creationId xmlns:p14="http://schemas.microsoft.com/office/powerpoint/2010/main" val="184923202"/>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7"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2" name="Imagen 11"/>
          <p:cNvPicPr>
            <a:picLocks noChangeAspect="1"/>
          </p:cNvPicPr>
          <p:nvPr/>
        </p:nvPicPr>
        <p:blipFill>
          <a:blip r:embed="rId2">
            <a:lum bright="100000" contrast="-70000"/>
          </a:blip>
          <a:stretch>
            <a:fillRect/>
          </a:stretch>
        </p:blipFill>
        <p:spPr>
          <a:xfrm>
            <a:off x="8887258" y="6540533"/>
            <a:ext cx="1145182" cy="248840"/>
          </a:xfrm>
          <a:prstGeom prst="rect">
            <a:avLst/>
          </a:prstGeom>
        </p:spPr>
      </p:pic>
      <p:pic>
        <p:nvPicPr>
          <p:cNvPr id="15" name="Imagen 14">
            <a:extLst>
              <a:ext uri="{FF2B5EF4-FFF2-40B4-BE49-F238E27FC236}">
                <a16:creationId xmlns:a16="http://schemas.microsoft.com/office/drawing/2014/main" id="{A3612F95-8251-5349-ABFE-8A62EF3295EE}"/>
              </a:ext>
            </a:extLst>
          </p:cNvPr>
          <p:cNvPicPr>
            <a:picLocks noChangeAspect="1"/>
          </p:cNvPicPr>
          <p:nvPr/>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3167390161"/>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bg1"/>
                </a:solidFill>
                <a:latin typeface="Georgia" panose="02040502050405020303" pitchFamily="18" charset="0"/>
              </a:defRPr>
            </a:lvl1pPr>
          </a:lstStyle>
          <a:p>
            <a:r>
              <a:rPr lang="es-ES"/>
              <a:t>Haga clic para un texto destacado o una idea principal</a:t>
            </a:r>
            <a:endParaRPr lang="en-US"/>
          </a:p>
        </p:txBody>
      </p:sp>
      <p:sp>
        <p:nvSpPr>
          <p:cNvPr id="14"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Arial" panose="020B0604020202020204" pitchFamily="34" charset="0"/>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Nº›</a:t>
            </a:fld>
            <a:endParaRPr kumimoji="0" lang="es-ES" sz="1066" b="0" i="0" u="none" strike="noStrike" kern="1200" cap="none" spc="0" normalizeH="0" baseline="0" noProof="0">
              <a:ln>
                <a:noFill/>
              </a:ln>
              <a:solidFill>
                <a:srgbClr val="1A3B47"/>
              </a:solidFill>
              <a:effectLst/>
              <a:uLnTx/>
              <a:uFillTx/>
              <a:latin typeface="Arial" panose="020B0604020202020204" pitchFamily="34" charset="0"/>
              <a:ea typeface="+mn-ea"/>
              <a:cs typeface="+mn-cs"/>
            </a:endParaRPr>
          </a:p>
        </p:txBody>
      </p:sp>
      <p:pic>
        <p:nvPicPr>
          <p:cNvPr id="18" name="Imagen 17"/>
          <p:cNvPicPr>
            <a:picLocks noChangeAspect="1"/>
          </p:cNvPicPr>
          <p:nvPr/>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Tree>
    <p:extLst>
      <p:ext uri="{BB962C8B-B14F-4D97-AF65-F5344CB8AC3E}">
        <p14:creationId xmlns:p14="http://schemas.microsoft.com/office/powerpoint/2010/main" val="1296289051"/>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18876800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901385918"/>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1311136346"/>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4" name="Imagen 13"/>
          <p:cNvPicPr>
            <a:picLocks noChangeAspect="1"/>
          </p:cNvPicPr>
          <p:nvPr/>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728067624"/>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4" y="4414944"/>
            <a:ext cx="5651500" cy="290408"/>
          </a:xfrm>
          <a:prstGeom prst="rect">
            <a:avLst/>
          </a:prstGeom>
        </p:spPr>
        <p:txBody>
          <a:bodyPr lIns="0" tIns="0" rIns="0" bIns="0"/>
          <a:lstStyle>
            <a:lvl1pPr marL="0" indent="0">
              <a:buNone/>
              <a:defRPr sz="1800">
                <a:latin typeface="Arial" panose="020B0604020202020204" pitchFamily="34" charset="0"/>
              </a:defRPr>
            </a:lvl1pPr>
          </a:lstStyle>
          <a:p>
            <a:r>
              <a:rPr lang="es-ES"/>
              <a:t>Editar el subtitulo de la presentación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2428697"/>
            <a:ext cx="6310745" cy="1648341"/>
          </a:xfrm>
          <a:prstGeom prst="rect">
            <a:avLst/>
          </a:prstGeom>
        </p:spPr>
        <p:txBody>
          <a:bodyPr vert="horz" lIns="0" tIns="0" rIns="0" bIns="0" rtlCol="0" anchor="t">
            <a:noAutofit/>
          </a:bodyPr>
          <a:lstStyle>
            <a:lvl1pPr>
              <a:defRPr sz="4400">
                <a:latin typeface="Georgia" panose="02040502050405020303" pitchFamily="18" charset="0"/>
              </a:defRPr>
            </a:lvl1pPr>
          </a:lstStyle>
          <a:p>
            <a:r>
              <a:rPr lang="es-ES"/>
              <a:t>Haga clic para </a:t>
            </a:r>
            <a:br>
              <a:rPr lang="es-ES"/>
            </a:br>
            <a:r>
              <a:rPr lang="es-ES"/>
              <a:t>el título principal</a:t>
            </a:r>
            <a:endParaRPr lang="en-US"/>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4" y="4853097"/>
            <a:ext cx="5651500" cy="199445"/>
          </a:xfrm>
          <a:prstGeom prst="rect">
            <a:avLst/>
          </a:prstGeom>
        </p:spPr>
        <p:txBody>
          <a:bodyPr lIns="0" tIns="0" rIns="0" bIns="0"/>
          <a:lstStyle>
            <a:lvl1pPr marL="0" indent="0">
              <a:buNone/>
              <a:defRPr sz="1600">
                <a:latin typeface="Arial" panose="020B0604020202020204" pitchFamily="34" charset="0"/>
              </a:defRPr>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atin typeface="Arial" panose="020B0604020202020204" pitchFamily="34" charset="0"/>
              </a:defRPr>
            </a:lvl1pPr>
          </a:lstStyle>
          <a:p>
            <a:r>
              <a:rPr lang="es-ES"/>
              <a:t>Logo cliente</a:t>
            </a:r>
          </a:p>
        </p:txBody>
      </p:sp>
      <p:pic>
        <p:nvPicPr>
          <p:cNvPr id="7" name="Imagen 6">
            <a:extLst>
              <a:ext uri="{FF2B5EF4-FFF2-40B4-BE49-F238E27FC236}">
                <a16:creationId xmlns:a16="http://schemas.microsoft.com/office/drawing/2014/main" id="{DB9B7611-A75B-714A-9D2A-408948DB3B58}"/>
              </a:ext>
            </a:extLst>
          </p:cNvPr>
          <p:cNvPicPr>
            <a:picLocks noChangeAspect="1"/>
          </p:cNvPicPr>
          <p:nvPr/>
        </p:nvPicPr>
        <p:blipFill>
          <a:blip r:embed="rId2"/>
          <a:stretch>
            <a:fillRect/>
          </a:stretch>
        </p:blipFill>
        <p:spPr>
          <a:xfrm>
            <a:off x="8085668" y="6337302"/>
            <a:ext cx="1444604" cy="176283"/>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p:nvPicPr>
        <p:blipFill>
          <a:blip r:embed="rId3"/>
          <a:stretch>
            <a:fillRect/>
          </a:stretch>
        </p:blipFill>
        <p:spPr>
          <a:xfrm>
            <a:off x="385014" y="6118996"/>
            <a:ext cx="1795156" cy="356183"/>
          </a:xfrm>
          <a:prstGeom prst="rect">
            <a:avLst/>
          </a:prstGeom>
        </p:spPr>
      </p:pic>
      <p:grpSp>
        <p:nvGrpSpPr>
          <p:cNvPr id="11" name="Grupo 10">
            <a:extLst>
              <a:ext uri="{FF2B5EF4-FFF2-40B4-BE49-F238E27FC236}">
                <a16:creationId xmlns:a16="http://schemas.microsoft.com/office/drawing/2014/main" id="{72D46510-3BCB-3746-AD05-84A58DE8C86D}"/>
              </a:ext>
            </a:extLst>
          </p:cNvPr>
          <p:cNvGrpSpPr/>
          <p:nvPr/>
        </p:nvGrpSpPr>
        <p:grpSpPr>
          <a:xfrm>
            <a:off x="6846376" y="1346032"/>
            <a:ext cx="2093250" cy="3698006"/>
            <a:chOff x="4700634" y="1022350"/>
            <a:chExt cx="1569938" cy="2774950"/>
          </a:xfrm>
          <a:solidFill>
            <a:schemeClr val="accent2"/>
          </a:solidFill>
        </p:grpSpPr>
        <p:sp>
          <p:nvSpPr>
            <p:cNvPr id="12" name="Rectángulo 6">
              <a:extLst>
                <a:ext uri="{FF2B5EF4-FFF2-40B4-BE49-F238E27FC236}">
                  <a16:creationId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3" name="Rectángulo 12">
              <a:extLst>
                <a:ext uri="{FF2B5EF4-FFF2-40B4-BE49-F238E27FC236}">
                  <a16:creationId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4" name="Rectángulo 13">
              <a:extLst>
                <a:ext uri="{FF2B5EF4-FFF2-40B4-BE49-F238E27FC236}">
                  <a16:creationId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5" name="Rectángulo 14">
              <a:extLst>
                <a:ext uri="{FF2B5EF4-FFF2-40B4-BE49-F238E27FC236}">
                  <a16:creationId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grpSp>
        <p:nvGrpSpPr>
          <p:cNvPr id="16" name="Grupo 15">
            <a:extLst>
              <a:ext uri="{FF2B5EF4-FFF2-40B4-BE49-F238E27FC236}">
                <a16:creationId xmlns:a16="http://schemas.microsoft.com/office/drawing/2014/main" id="{EB2B45F2-8D32-A344-93BE-979FC74FCFB7}"/>
              </a:ext>
            </a:extLst>
          </p:cNvPr>
          <p:cNvGrpSpPr/>
          <p:nvPr/>
        </p:nvGrpSpPr>
        <p:grpSpPr>
          <a:xfrm>
            <a:off x="8154785" y="1346032"/>
            <a:ext cx="2093250" cy="3698006"/>
            <a:chOff x="4700634" y="1022350"/>
            <a:chExt cx="1569938" cy="2774950"/>
          </a:xfrm>
          <a:solidFill>
            <a:schemeClr val="tx2"/>
          </a:solidFill>
        </p:grpSpPr>
        <p:sp>
          <p:nvSpPr>
            <p:cNvPr id="17" name="Rectángulo 6">
              <a:extLst>
                <a:ext uri="{FF2B5EF4-FFF2-40B4-BE49-F238E27FC236}">
                  <a16:creationId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8" name="Rectángulo 17">
              <a:extLst>
                <a:ext uri="{FF2B5EF4-FFF2-40B4-BE49-F238E27FC236}">
                  <a16:creationId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9" name="Rectángulo 18">
              <a:extLst>
                <a:ext uri="{FF2B5EF4-FFF2-40B4-BE49-F238E27FC236}">
                  <a16:creationId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20" name="Rectángulo 19">
              <a:extLst>
                <a:ext uri="{FF2B5EF4-FFF2-40B4-BE49-F238E27FC236}">
                  <a16:creationId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grpSp>
        <p:nvGrpSpPr>
          <p:cNvPr id="21" name="Grupo 20">
            <a:extLst>
              <a:ext uri="{FF2B5EF4-FFF2-40B4-BE49-F238E27FC236}">
                <a16:creationId xmlns:a16="http://schemas.microsoft.com/office/drawing/2014/main" id="{C733D58C-D2A1-9040-B07D-82C6EAEF6E32}"/>
              </a:ext>
            </a:extLst>
          </p:cNvPr>
          <p:cNvGrpSpPr/>
          <p:nvPr/>
        </p:nvGrpSpPr>
        <p:grpSpPr>
          <a:xfrm>
            <a:off x="9463196" y="1346032"/>
            <a:ext cx="2093250" cy="3698006"/>
            <a:chOff x="4700634" y="1022350"/>
            <a:chExt cx="1569938" cy="2774950"/>
          </a:xfrm>
          <a:solidFill>
            <a:schemeClr val="accent5"/>
          </a:solidFill>
        </p:grpSpPr>
        <p:sp>
          <p:nvSpPr>
            <p:cNvPr id="22" name="Rectángulo 6">
              <a:extLst>
                <a:ext uri="{FF2B5EF4-FFF2-40B4-BE49-F238E27FC236}">
                  <a16:creationId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23" name="Rectángulo 22">
              <a:extLst>
                <a:ext uri="{FF2B5EF4-FFF2-40B4-BE49-F238E27FC236}">
                  <a16:creationId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24" name="Rectángulo 23">
              <a:extLst>
                <a:ext uri="{FF2B5EF4-FFF2-40B4-BE49-F238E27FC236}">
                  <a16:creationId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25" name="Rectángulo 24">
              <a:extLst>
                <a:ext uri="{FF2B5EF4-FFF2-40B4-BE49-F238E27FC236}">
                  <a16:creationId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Tree>
    <p:extLst>
      <p:ext uri="{BB962C8B-B14F-4D97-AF65-F5344CB8AC3E}">
        <p14:creationId xmlns:p14="http://schemas.microsoft.com/office/powerpoint/2010/main" val="21611402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ext uri="{D42A27DB-BD31-4B8C-83A1-F6EECF244321}">
                <p14:modId xmlns:p14="http://schemas.microsoft.com/office/powerpoint/2010/main" val="2794356477"/>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1747" name="Diapositiva de think-cell" r:id="rId5" imgW="270" imgH="270" progId="TCLayout.ActiveDocument.1">
                  <p:embed/>
                </p:oleObj>
              </mc:Choice>
              <mc:Fallback>
                <p:oleObj name="Diapositiva de think-cell" r:id="rId5" imgW="270" imgH="270" progId="TCLayout.ActiveDocument.1">
                  <p:embed/>
                  <p:pic>
                    <p:nvPicPr>
                      <p:cNvPr id="4" name="Objeto 3"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3" name="Rectángulo 2"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a:endParaRPr>
          </a:p>
        </p:txBody>
      </p:sp>
      <p:sp>
        <p:nvSpPr>
          <p:cNvPr id="2" name="Rectángulo 1">
            <a:extLst>
              <a:ext uri="{FF2B5EF4-FFF2-40B4-BE49-F238E27FC236}">
                <a16:creationId xmlns:a16="http://schemas.microsoft.com/office/drawing/2014/main" id="{810E9B03-F7C3-9F47-9D4A-723840648AC5}"/>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pic>
        <p:nvPicPr>
          <p:cNvPr id="19" name="Imagen 18">
            <a:extLst>
              <a:ext uri="{FF2B5EF4-FFF2-40B4-BE49-F238E27FC236}">
                <a16:creationId xmlns:a16="http://schemas.microsoft.com/office/drawing/2014/main" id="{A3612F95-8251-5349-ABFE-8A62EF3295EE}"/>
              </a:ext>
            </a:extLst>
          </p:cNvPr>
          <p:cNvPicPr>
            <a:picLocks noChangeAspect="1"/>
          </p:cNvPicPr>
          <p:nvPr/>
        </p:nvPicPr>
        <p:blipFill>
          <a:blip r:embed="rId7"/>
          <a:stretch>
            <a:fillRect/>
          </a:stretch>
        </p:blipFill>
        <p:spPr>
          <a:xfrm>
            <a:off x="336001" y="6505495"/>
            <a:ext cx="859201" cy="170476"/>
          </a:xfrm>
          <a:prstGeom prst="rect">
            <a:avLst/>
          </a:prstGeom>
        </p:spPr>
      </p:pic>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latin typeface="Georgia" panose="02040502050405020303" pitchFamily="18" charset="0"/>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6" name="Imagen 15"/>
          <p:cNvPicPr>
            <a:picLocks noChangeAspect="1"/>
          </p:cNvPicPr>
          <p:nvPr/>
        </p:nvPicPr>
        <p:blipFill>
          <a:blip r:embed="rId8">
            <a:lum bright="100000" contrast="-70000"/>
          </a:blip>
          <a:stretch>
            <a:fillRect/>
          </a:stretch>
        </p:blipFill>
        <p:spPr>
          <a:xfrm>
            <a:off x="8887258" y="6540533"/>
            <a:ext cx="1145182" cy="248840"/>
          </a:xfrm>
          <a:prstGeom prst="rect">
            <a:avLst/>
          </a:prstGeom>
        </p:spPr>
      </p:pic>
    </p:spTree>
    <p:extLst>
      <p:ext uri="{BB962C8B-B14F-4D97-AF65-F5344CB8AC3E}">
        <p14:creationId xmlns:p14="http://schemas.microsoft.com/office/powerpoint/2010/main" val="154773168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4049850168"/>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2771"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11" name="Imagen 10"/>
          <p:cNvPicPr>
            <a:picLocks noChangeAspect="1"/>
          </p:cNvPicPr>
          <p:nvPr/>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20196179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379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30622226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extLst>
              <p:ext uri="{D42A27DB-BD31-4B8C-83A1-F6EECF244321}">
                <p14:modId xmlns:p14="http://schemas.microsoft.com/office/powerpoint/2010/main" val="398904305"/>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4819"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18" name="Imagen 17"/>
          <p:cNvPicPr>
            <a:picLocks noChangeAspect="1"/>
          </p:cNvPicPr>
          <p:nvPr/>
        </p:nvPicPr>
        <p:blipFill>
          <a:blip r:embed="rId7">
            <a:lum/>
          </a:blip>
          <a:stretch>
            <a:fillRect/>
          </a:stretch>
        </p:blipFill>
        <p:spPr>
          <a:xfrm>
            <a:off x="8887258" y="6540533"/>
            <a:ext cx="1145182" cy="248840"/>
          </a:xfrm>
          <a:prstGeom prst="rect">
            <a:avLst/>
          </a:prstGeom>
        </p:spPr>
      </p:pic>
      <p:sp>
        <p:nvSpPr>
          <p:cNvPr id="19"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20"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12089963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5843"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14800723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448233476"/>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6867"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11" name="Imagen 10"/>
          <p:cNvPicPr>
            <a:picLocks noChangeAspect="1"/>
          </p:cNvPicPr>
          <p:nvPr/>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23950874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7891"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27537583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1149081252"/>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891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11" name="Imagen 10"/>
          <p:cNvPicPr>
            <a:picLocks noChangeAspect="1"/>
          </p:cNvPicPr>
          <p:nvPr/>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33549828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9939"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42280792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21537077"/>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0963"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11" name="Imagen 10"/>
          <p:cNvPicPr>
            <a:picLocks noChangeAspect="1"/>
          </p:cNvPicPr>
          <p:nvPr/>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37598131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336000" y="645587"/>
            <a:ext cx="11017800" cy="863601"/>
          </a:xfrm>
          <a:prstGeom prst="rect">
            <a:avLst/>
          </a:prstGeom>
        </p:spPr>
        <p:txBody>
          <a:bodyPr lIns="0" tIns="0" rIns="0" bIns="0"/>
          <a:lstStyle>
            <a:lvl1pPr>
              <a:defRPr sz="2798">
                <a:latin typeface="Georgia" panose="02040502050405020303" pitchFamily="18" charset="0"/>
              </a:defRPr>
            </a:lvl1pPr>
          </a:lstStyle>
          <a:p>
            <a:r>
              <a:rPr lang="es-ES"/>
              <a:t>Índice</a:t>
            </a:r>
          </a:p>
        </p:txBody>
      </p:sp>
      <p:sp>
        <p:nvSpPr>
          <p:cNvPr id="4" name="Forma libre 3">
            <a:extLst>
              <a:ext uri="{FF2B5EF4-FFF2-40B4-BE49-F238E27FC236}">
                <a16:creationId xmlns:a16="http://schemas.microsoft.com/office/drawing/2014/main" id="{F6C55DCE-A9B0-2243-80CD-2F30EC5EF5A4}"/>
              </a:ext>
            </a:extLst>
          </p:cNvPr>
          <p:cNvSpPr/>
          <p:nvPr/>
        </p:nvSpPr>
        <p:spPr>
          <a:xfrm>
            <a:off x="4328250" y="2232949"/>
            <a:ext cx="7939453"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Forma libre 4">
            <a:extLst>
              <a:ext uri="{FF2B5EF4-FFF2-40B4-BE49-F238E27FC236}">
                <a16:creationId xmlns:a16="http://schemas.microsoft.com/office/drawing/2014/main" id="{00D88BD8-9E72-844D-A3E4-A145CC1FC878}"/>
              </a:ext>
            </a:extLst>
          </p:cNvPr>
          <p:cNvSpPr/>
          <p:nvPr/>
        </p:nvSpPr>
        <p:spPr>
          <a:xfrm>
            <a:off x="2796363" y="894269"/>
            <a:ext cx="7956155"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6" name="Forma libre 5">
            <a:extLst>
              <a:ext uri="{FF2B5EF4-FFF2-40B4-BE49-F238E27FC236}">
                <a16:creationId xmlns:a16="http://schemas.microsoft.com/office/drawing/2014/main" id="{95D2642E-B667-424F-952B-3431D2440BB5}"/>
              </a:ext>
            </a:extLst>
          </p:cNvPr>
          <p:cNvSpPr/>
          <p:nvPr/>
        </p:nvSpPr>
        <p:spPr>
          <a:xfrm>
            <a:off x="-92286" y="20016"/>
            <a:ext cx="8259460"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9" name="Imagen 8"/>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3" name="Marcador de texto 2"/>
          <p:cNvSpPr>
            <a:spLocks noGrp="1"/>
          </p:cNvSpPr>
          <p:nvPr>
            <p:ph type="body" sz="quarter" idx="10" hasCustomPrompt="1"/>
          </p:nvPr>
        </p:nvSpPr>
        <p:spPr>
          <a:xfrm>
            <a:off x="336000" y="2444755"/>
            <a:ext cx="5760000" cy="3577167"/>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lvl="0"/>
            <a:r>
              <a:rPr lang="es-ES"/>
              <a:t>Capítulo</a:t>
            </a:r>
          </a:p>
          <a:p>
            <a:pPr lvl="0"/>
            <a:endParaRPr lang="es-ES"/>
          </a:p>
          <a:p>
            <a:pPr lvl="0"/>
            <a:endParaRPr lang="es-ES"/>
          </a:p>
        </p:txBody>
      </p:sp>
      <p:sp>
        <p:nvSpPr>
          <p:cNvPr id="10"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Tree>
    <p:extLst>
      <p:ext uri="{BB962C8B-B14F-4D97-AF65-F5344CB8AC3E}">
        <p14:creationId xmlns:p14="http://schemas.microsoft.com/office/powerpoint/2010/main" val="1687550230"/>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1987"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5949800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991028087"/>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3011"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11" name="Imagen 10"/>
          <p:cNvPicPr>
            <a:picLocks noChangeAspect="1"/>
          </p:cNvPicPr>
          <p:nvPr/>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4043152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403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a:defRPr kumimoji="0" lang="es-ES" sz="1000" u="none" strike="noStrike" cap="none" spc="0" normalizeH="0" baseline="0" dirty="0">
                <a:ln>
                  <a:noFill/>
                </a:ln>
                <a:solidFill>
                  <a:srgbClr val="1A3B47"/>
                </a:solidFill>
                <a:effectLst/>
                <a:uLnTx/>
                <a:uFillTx/>
                <a:latin typeface="+mn-lt"/>
                <a:cs typeface="Arial" panose="020B0604020202020204" pitchFamily="34" charset="0"/>
              </a:defRPr>
            </a:lvl1pPr>
          </a:lstStyle>
          <a:p>
            <a:pPr marL="0" marR="0" lvl="0" indent="0" algn="just" defTabSz="1124825" fontAlgn="auto">
              <a:lnSpc>
                <a:spcPct val="100000"/>
              </a:lnSpc>
              <a:spcBef>
                <a:spcPct val="20000"/>
              </a:spcBef>
              <a:spcAft>
                <a:spcPts val="0"/>
              </a:spcAft>
              <a:buClr>
                <a:srgbClr val="3D3935">
                  <a:lumMod val="75000"/>
                </a:srgbClr>
              </a:buClr>
              <a:buSzTx/>
              <a:buNone/>
              <a:tabLst/>
            </a:pPr>
            <a:r>
              <a:rPr lang="es-ES"/>
              <a:t>Editar el estilo de texto del patrón</a:t>
            </a:r>
          </a:p>
        </p:txBody>
      </p:sp>
      <p:grpSp>
        <p:nvGrpSpPr>
          <p:cNvPr id="7" name="Grupo 6"/>
          <p:cNvGrpSpPr/>
          <p:nvPr/>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4006018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5059"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1" name="Imagen 10"/>
          <p:cNvPicPr>
            <a:picLocks noChangeAspect="1"/>
          </p:cNvPicPr>
          <p:nvPr userDrawn="1"/>
        </p:nvPicPr>
        <p:blipFill>
          <a:blip r:embed="rId7">
            <a:lum/>
          </a:blip>
          <a:stretch>
            <a:fillRect/>
          </a:stretch>
        </p:blipFill>
        <p:spPr>
          <a:xfrm>
            <a:off x="8887255" y="6540533"/>
            <a:ext cx="1145183"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25540431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6083"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Arial" panose="020B0604020202020204" pitchFamily="34" charset="0"/>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latin typeface="Arial" panose="020B0604020202020204" pitchFamily="34" charset="0"/>
                <a:cs typeface="Arial" panose="020B0604020202020204" pitchFamily="34" charset="0"/>
              </a:rPr>
              <a:pPr algn="r"/>
              <a:t>‹Nº›</a:t>
            </a:fld>
            <a:endParaRPr lang="es-ES" sz="1067">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847503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052607"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4" y="1503237"/>
            <a:ext cx="3734647" cy="2021839"/>
          </a:xfrm>
          <a:prstGeom prst="rect">
            <a:avLst/>
          </a:prstGeom>
        </p:spPr>
        <p:txBody>
          <a:bodyPr/>
          <a:lstStyle>
            <a:lvl1pPr marL="0" indent="0" algn="ctr">
              <a:buNone/>
              <a:defRPr sz="16000">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881361F9-92A8-6949-BEF9-77B573EB2B51}"/>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12032879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6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052607"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4" y="1503237"/>
            <a:ext cx="3734647" cy="2021839"/>
          </a:xfrm>
          <a:prstGeom prst="rect">
            <a:avLst/>
          </a:prstGeom>
        </p:spPr>
        <p:txBody>
          <a:bodyPr/>
          <a:lstStyle>
            <a:lvl1pPr marL="0" indent="0" algn="ctr">
              <a:buNone/>
              <a:defRPr sz="16000">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74E9E540-B7BF-4344-8072-B7008201BE2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27380536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 Portada Fot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1"/>
            <a:ext cx="12192000" cy="6877415"/>
          </a:xfrm>
          <a:prstGeom prst="rect">
            <a:avLst/>
          </a:prstGeom>
        </p:spPr>
        <p:txBody>
          <a:bodyPr anchor="t"/>
          <a:lstStyle>
            <a:lvl1pPr marL="0" indent="0" algn="ctr">
              <a:buNone/>
              <a:defRPr/>
            </a:lvl1pPr>
          </a:lstStyle>
          <a:p>
            <a:r>
              <a:rPr lang="es-ES"/>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2" y="383588"/>
            <a:ext cx="3725333" cy="214776"/>
          </a:xfrm>
          <a:prstGeom prst="rect">
            <a:avLst/>
          </a:prstGeom>
        </p:spPr>
        <p:txBody>
          <a:bodyPr lIns="0" tIns="0" rIns="0" bIns="0"/>
          <a:lstStyle>
            <a:lvl1pPr marL="0" indent="0">
              <a:buNone/>
              <a:defRPr sz="1867"/>
            </a:lvl1pPr>
          </a:lstStyle>
          <a:p>
            <a:r>
              <a:rPr lang="es-ES"/>
              <a:t>Editar el subtitulo de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689239"/>
            <a:ext cx="3725333" cy="159485"/>
          </a:xfrm>
          <a:prstGeom prst="rect">
            <a:avLst/>
          </a:prstGeom>
        </p:spPr>
        <p:txBody>
          <a:bodyPr lIns="0" tIns="0" rIns="0" bIns="0"/>
          <a:lstStyle>
            <a:lvl1pPr marL="0" indent="0">
              <a:buNone/>
              <a:defRPr sz="1333"/>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1" y="986368"/>
            <a:ext cx="1799167" cy="639233"/>
          </a:xfrm>
          <a:prstGeom prst="rect">
            <a:avLst/>
          </a:prstGeom>
        </p:spPr>
        <p:txBody>
          <a:bodyPr anchor="ctr"/>
          <a:lstStyle>
            <a:lvl1pPr marL="0" indent="0" algn="ctr">
              <a:buNone/>
              <a:defRPr sz="1333"/>
            </a:lvl1pPr>
          </a:lstStyle>
          <a:p>
            <a:r>
              <a:rPr lang="es-ES"/>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539953" y="2873078"/>
            <a:ext cx="6626811" cy="1648341"/>
          </a:xfrm>
          <a:prstGeom prst="rect">
            <a:avLst/>
          </a:prstGeom>
        </p:spPr>
        <p:txBody>
          <a:bodyPr vert="horz" lIns="0" tIns="0" rIns="0" bIns="0" rtlCol="0" anchor="t">
            <a:noAutofit/>
          </a:bodyPr>
          <a:lstStyle>
            <a:lvl1pPr>
              <a:defRPr sz="6000"/>
            </a:lvl1pPr>
          </a:lstStyle>
          <a:p>
            <a:r>
              <a:rPr lang="es-ES"/>
              <a:t>Haga clic para el título principal</a:t>
            </a:r>
            <a:endParaRPr lang="en-US"/>
          </a:p>
        </p:txBody>
      </p:sp>
    </p:spTree>
    <p:extLst>
      <p:ext uri="{BB962C8B-B14F-4D97-AF65-F5344CB8AC3E}">
        <p14:creationId xmlns:p14="http://schemas.microsoft.com/office/powerpoint/2010/main" val="36713378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Portada foto 2">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0"/>
            <a:ext cx="12192000" cy="6858000"/>
          </a:xfrm>
          <a:prstGeom prst="rect">
            <a:avLst/>
          </a:prstGeom>
        </p:spPr>
        <p:txBody>
          <a:bodyPr anchor="t"/>
          <a:lstStyle>
            <a:lvl1pPr marL="0" indent="0" algn="ctr">
              <a:buNone/>
              <a:defRPr/>
            </a:lvl1pPr>
          </a:lstStyle>
          <a:p>
            <a:r>
              <a:rPr lang="es-ES"/>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1" y="3311237"/>
            <a:ext cx="4842163" cy="248041"/>
          </a:xfrm>
          <a:prstGeom prst="rect">
            <a:avLst/>
          </a:prstGeom>
        </p:spPr>
        <p:txBody>
          <a:bodyPr lIns="0" tIns="0" rIns="0" bIns="0"/>
          <a:lstStyle>
            <a:lvl1pPr marL="0" indent="0">
              <a:buNone/>
              <a:defRPr sz="1867"/>
            </a:lvl1pPr>
          </a:lstStyle>
          <a:p>
            <a:r>
              <a:rPr lang="es-ES"/>
              <a:t>Editar el subtitulo de la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3743044"/>
            <a:ext cx="3725333" cy="159485"/>
          </a:xfrm>
          <a:prstGeom prst="rect">
            <a:avLst/>
          </a:prstGeom>
        </p:spPr>
        <p:txBody>
          <a:bodyPr lIns="0" tIns="0" rIns="0" bIns="0"/>
          <a:lstStyle>
            <a:lvl1pPr marL="0" indent="0">
              <a:buNone/>
              <a:defRPr sz="1333"/>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1" y="382573"/>
            <a:ext cx="1799167" cy="639233"/>
          </a:xfrm>
          <a:prstGeom prst="rect">
            <a:avLst/>
          </a:prstGeom>
        </p:spPr>
        <p:txBody>
          <a:bodyPr anchor="ctr"/>
          <a:lstStyle>
            <a:lvl1pPr marL="0" indent="0" algn="ctr">
              <a:buNone/>
              <a:defRPr sz="1333"/>
            </a:lvl1pPr>
          </a:lstStyle>
          <a:p>
            <a:r>
              <a:rPr lang="es-ES"/>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49674" y="1421648"/>
            <a:ext cx="7563993" cy="1648341"/>
          </a:xfrm>
          <a:prstGeom prst="rect">
            <a:avLst/>
          </a:prstGeom>
        </p:spPr>
        <p:txBody>
          <a:bodyPr vert="horz" lIns="0" tIns="0" rIns="0" bIns="0" rtlCol="0" anchor="t">
            <a:noAutofit/>
          </a:bodyPr>
          <a:lstStyle>
            <a:lvl1pPr>
              <a:defRPr sz="5333"/>
            </a:lvl1pPr>
          </a:lstStyle>
          <a:p>
            <a:r>
              <a:rPr lang="es-ES"/>
              <a:t>Haga clic para el título principal</a:t>
            </a:r>
            <a:endParaRPr lang="en-US"/>
          </a:p>
        </p:txBody>
      </p:sp>
    </p:spTree>
    <p:extLst>
      <p:ext uri="{BB962C8B-B14F-4D97-AF65-F5344CB8AC3E}">
        <p14:creationId xmlns:p14="http://schemas.microsoft.com/office/powerpoint/2010/main" val="56274098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1" y="4414944"/>
            <a:ext cx="5651500" cy="290408"/>
          </a:xfrm>
          <a:prstGeom prst="rect">
            <a:avLst/>
          </a:prstGeom>
        </p:spPr>
        <p:txBody>
          <a:bodyPr lIns="0" tIns="0" rIns="0" bIns="0"/>
          <a:lstStyle>
            <a:lvl1pPr marL="0" indent="0">
              <a:buNone/>
              <a:defRPr sz="1867"/>
            </a:lvl1pPr>
          </a:lstStyle>
          <a:p>
            <a:r>
              <a:rPr lang="es-ES"/>
              <a:t>Editar el subtitulo de la presentación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2428696"/>
            <a:ext cx="6310745" cy="1648341"/>
          </a:xfrm>
          <a:prstGeom prst="rect">
            <a:avLst/>
          </a:prstGeom>
        </p:spPr>
        <p:txBody>
          <a:bodyPr vert="horz" lIns="0" tIns="0" rIns="0" bIns="0" rtlCol="0" anchor="t">
            <a:noAutofit/>
          </a:bodyPr>
          <a:lstStyle>
            <a:lvl1pPr>
              <a:defRPr sz="5333"/>
            </a:lvl1pPr>
          </a:lstStyle>
          <a:p>
            <a:r>
              <a:rPr lang="es-ES"/>
              <a:t>Haga clic para el título principal</a:t>
            </a:r>
            <a:endParaRPr lang="en-US"/>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1" y="4853095"/>
            <a:ext cx="5651500" cy="199445"/>
          </a:xfrm>
          <a:prstGeom prst="rect">
            <a:avLst/>
          </a:prstGeom>
        </p:spPr>
        <p:txBody>
          <a:bodyPr lIns="0" tIns="0" rIns="0" bIns="0"/>
          <a:lstStyle>
            <a:lvl1pPr marL="0" indent="0">
              <a:buNone/>
              <a:defRPr sz="1867"/>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1" y="986368"/>
            <a:ext cx="1799167" cy="639233"/>
          </a:xfrm>
          <a:prstGeom prst="rect">
            <a:avLst/>
          </a:prstGeom>
        </p:spPr>
        <p:txBody>
          <a:bodyPr anchor="ctr"/>
          <a:lstStyle>
            <a:lvl1pPr marL="0" indent="0" algn="ctr">
              <a:buNone/>
              <a:defRPr sz="1333"/>
            </a:lvl1pPr>
          </a:lstStyle>
          <a:p>
            <a:r>
              <a:rPr lang="es-ES"/>
              <a:t>Logo cliente</a:t>
            </a:r>
          </a:p>
        </p:txBody>
      </p:sp>
      <p:pic>
        <p:nvPicPr>
          <p:cNvPr id="7" name="Imagen 6">
            <a:extLst>
              <a:ext uri="{FF2B5EF4-FFF2-40B4-BE49-F238E27FC236}">
                <a16:creationId xmlns:a16="http://schemas.microsoft.com/office/drawing/2014/main" id="{DB9B7611-A75B-714A-9D2A-408948DB3B58}"/>
              </a:ext>
            </a:extLst>
          </p:cNvPr>
          <p:cNvPicPr>
            <a:picLocks noChangeAspect="1"/>
          </p:cNvPicPr>
          <p:nvPr userDrawn="1"/>
        </p:nvPicPr>
        <p:blipFill>
          <a:blip r:embed="rId2"/>
          <a:stretch>
            <a:fillRect/>
          </a:stretch>
        </p:blipFill>
        <p:spPr>
          <a:xfrm>
            <a:off x="8085667" y="6337300"/>
            <a:ext cx="1444604" cy="176283"/>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3"/>
          <a:stretch>
            <a:fillRect/>
          </a:stretch>
        </p:blipFill>
        <p:spPr>
          <a:xfrm>
            <a:off x="385011" y="6118993"/>
            <a:ext cx="1795156" cy="356183"/>
          </a:xfrm>
          <a:prstGeom prst="rect">
            <a:avLst/>
          </a:prstGeom>
        </p:spPr>
      </p:pic>
    </p:spTree>
    <p:extLst>
      <p:ext uri="{BB962C8B-B14F-4D97-AF65-F5344CB8AC3E}">
        <p14:creationId xmlns:p14="http://schemas.microsoft.com/office/powerpoint/2010/main" val="22444427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04837" y="712437"/>
            <a:ext cx="7553833" cy="714581"/>
          </a:xfrm>
          <a:prstGeom prst="rect">
            <a:avLst/>
          </a:prstGeom>
        </p:spPr>
        <p:txBody>
          <a:bodyPr vert="horz" lIns="0" tIns="0" rIns="0" bIns="0" rtlCol="0" anchor="t">
            <a:noAutofit/>
          </a:bodyPr>
          <a:lstStyle>
            <a:lvl1pPr>
              <a:defRPr sz="5330" b="0" i="0">
                <a:solidFill>
                  <a:schemeClr val="tx1"/>
                </a:solidFill>
                <a:latin typeface="Georgia" panose="02040502050405020303" pitchFamily="18" charset="0"/>
              </a:defRPr>
            </a:lvl1pPr>
          </a:lstStyle>
          <a:p>
            <a:r>
              <a:rPr lang="es-ES"/>
              <a:t>Gracias!</a:t>
            </a:r>
            <a:endParaRPr lang="en-US"/>
          </a:p>
        </p:txBody>
      </p:sp>
      <p:sp>
        <p:nvSpPr>
          <p:cNvPr id="3" name="Rectángulo 3">
            <a:extLst>
              <a:ext uri="{FF2B5EF4-FFF2-40B4-BE49-F238E27FC236}">
                <a16:creationId xmlns:a16="http://schemas.microsoft.com/office/drawing/2014/main" id="{A1E39811-A34B-AD46-8ACC-A06DB4D267D0}"/>
              </a:ext>
            </a:extLst>
          </p:cNvPr>
          <p:cNvSpPr/>
          <p:nvPr/>
        </p:nvSpPr>
        <p:spPr>
          <a:xfrm>
            <a:off x="7744691" y="3699164"/>
            <a:ext cx="2575779" cy="38100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4" name="Rectángulo 4">
            <a:extLst>
              <a:ext uri="{FF2B5EF4-FFF2-40B4-BE49-F238E27FC236}">
                <a16:creationId xmlns:a16="http://schemas.microsoft.com/office/drawing/2014/main" id="{A3F9223B-685F-2843-9227-57F23C3FCEB4}"/>
              </a:ext>
            </a:extLst>
          </p:cNvPr>
          <p:cNvSpPr/>
          <p:nvPr/>
        </p:nvSpPr>
        <p:spPr>
          <a:xfrm>
            <a:off x="10128451" y="2715495"/>
            <a:ext cx="1010606" cy="4793673"/>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5" name="Rectángulo 8">
            <a:extLst>
              <a:ext uri="{FF2B5EF4-FFF2-40B4-BE49-F238E27FC236}">
                <a16:creationId xmlns:a16="http://schemas.microsoft.com/office/drawing/2014/main" id="{3E974AAD-8F9B-2E42-A5FB-13D764EAA100}"/>
              </a:ext>
            </a:extLst>
          </p:cNvPr>
          <p:cNvSpPr/>
          <p:nvPr/>
        </p:nvSpPr>
        <p:spPr>
          <a:xfrm>
            <a:off x="10992544" y="1288475"/>
            <a:ext cx="1383028" cy="6220692"/>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pic>
        <p:nvPicPr>
          <p:cNvPr id="6" name="Imagen 5"/>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7"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Tree>
    <p:extLst>
      <p:ext uri="{BB962C8B-B14F-4D97-AF65-F5344CB8AC3E}">
        <p14:creationId xmlns:p14="http://schemas.microsoft.com/office/powerpoint/2010/main" val="22894717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ndice">
    <p:bg>
      <p:bgPr>
        <a:solidFill>
          <a:schemeClr val="bg2"/>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3251" name="Diapositiva de think-cell" r:id="rId4" imgW="270" imgH="270" progId="TCLayout.ActiveDocument.1">
                  <p:embed/>
                </p:oleObj>
              </mc:Choice>
              <mc:Fallback>
                <p:oleObj name="Diapositiva de think-cell" r:id="rId4" imgW="270" imgH="270" progId="TCLayout.ActiveDocument.1">
                  <p:embed/>
                  <p:pic>
                    <p:nvPicPr>
                      <p:cNvPr id="2" name="Objeto 1"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Título 6"/>
          <p:cNvSpPr>
            <a:spLocks noGrp="1"/>
          </p:cNvSpPr>
          <p:nvPr>
            <p:ph type="title" hasCustomPrompt="1"/>
          </p:nvPr>
        </p:nvSpPr>
        <p:spPr>
          <a:xfrm>
            <a:off x="336000" y="645584"/>
            <a:ext cx="11017800" cy="863601"/>
          </a:xfrm>
          <a:prstGeom prst="rect">
            <a:avLst/>
          </a:prstGeom>
        </p:spPr>
        <p:txBody>
          <a:bodyPr lIns="0" tIns="0" rIns="0" bIns="0"/>
          <a:lstStyle>
            <a:lvl1pPr>
              <a:defRPr sz="2667"/>
            </a:lvl1pPr>
          </a:lstStyle>
          <a:p>
            <a:r>
              <a:rPr lang="es-ES"/>
              <a:t>Índice</a:t>
            </a:r>
          </a:p>
        </p:txBody>
      </p:sp>
      <p:sp>
        <p:nvSpPr>
          <p:cNvPr id="4" name="Slide Number Placeholder 5">
            <a:extLst>
              <a:ext uri="{FF2B5EF4-FFF2-40B4-BE49-F238E27FC236}">
                <a16:creationId xmlns:a16="http://schemas.microsoft.com/office/drawing/2014/main" id="{C018B0F5-D5A7-3D44-88C1-EDB81DC7763D}"/>
              </a:ext>
            </a:extLst>
          </p:cNvPr>
          <p:cNvSpPr>
            <a:spLocks noGrp="1"/>
          </p:cNvSpPr>
          <p:nvPr>
            <p:ph type="sldNum" sz="quarter" idx="4"/>
          </p:nvPr>
        </p:nvSpPr>
        <p:spPr>
          <a:xfrm>
            <a:off x="10020299" y="6342714"/>
            <a:ext cx="1291167" cy="134287"/>
          </a:xfrm>
          <a:prstGeom prst="rect">
            <a:avLst/>
          </a:prstGeom>
        </p:spPr>
        <p:txBody>
          <a:bodyPr vert="horz" lIns="0" tIns="0" rIns="0" bIns="0" rtlCol="0" anchor="t"/>
          <a:lstStyle>
            <a:lvl1pPr algn="l">
              <a:defRPr sz="1067">
                <a:solidFill>
                  <a:schemeClr val="tx1"/>
                </a:solidFill>
                <a:latin typeface="Soho Gothic Pro" panose="020B0503030504020204" pitchFamily="34" charset="77"/>
              </a:defRPr>
            </a:lvl1pPr>
          </a:lstStyle>
          <a:p>
            <a:fld id="{A5078871-D93F-4D40-B540-DC74CFDF655C}" type="slidenum">
              <a:rPr lang="es-ES" smtClean="0"/>
              <a:pPr/>
              <a:t>‹Nº›</a:t>
            </a:fld>
            <a:endParaRPr lang="es-ES"/>
          </a:p>
        </p:txBody>
      </p:sp>
      <p:sp>
        <p:nvSpPr>
          <p:cNvPr id="5" name="Forma libre 4">
            <a:extLst>
              <a:ext uri="{FF2B5EF4-FFF2-40B4-BE49-F238E27FC236}">
                <a16:creationId xmlns:a16="http://schemas.microsoft.com/office/drawing/2014/main" id="{F6C55DCE-A9B0-2243-80CD-2F30EC5EF5A4}"/>
              </a:ext>
            </a:extLst>
          </p:cNvPr>
          <p:cNvSpPr/>
          <p:nvPr userDrawn="1"/>
        </p:nvSpPr>
        <p:spPr>
          <a:xfrm>
            <a:off x="4328251" y="2232949"/>
            <a:ext cx="7939453"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6" name="Forma libre 5">
            <a:extLst>
              <a:ext uri="{FF2B5EF4-FFF2-40B4-BE49-F238E27FC236}">
                <a16:creationId xmlns:a16="http://schemas.microsoft.com/office/drawing/2014/main" id="{00D88BD8-9E72-844D-A3E4-A145CC1FC878}"/>
              </a:ext>
            </a:extLst>
          </p:cNvPr>
          <p:cNvSpPr/>
          <p:nvPr userDrawn="1"/>
        </p:nvSpPr>
        <p:spPr>
          <a:xfrm>
            <a:off x="2796363" y="894269"/>
            <a:ext cx="7956155"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8" name="Forma libre 7">
            <a:extLst>
              <a:ext uri="{FF2B5EF4-FFF2-40B4-BE49-F238E27FC236}">
                <a16:creationId xmlns:a16="http://schemas.microsoft.com/office/drawing/2014/main" id="{95D2642E-B667-424F-952B-3431D2440BB5}"/>
              </a:ext>
            </a:extLst>
          </p:cNvPr>
          <p:cNvSpPr/>
          <p:nvPr userDrawn="1"/>
        </p:nvSpPr>
        <p:spPr>
          <a:xfrm>
            <a:off x="-92286" y="20016"/>
            <a:ext cx="8259460"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0" name="Imagen 9"/>
          <p:cNvPicPr>
            <a:picLocks noChangeAspect="1"/>
          </p:cNvPicPr>
          <p:nvPr userDrawn="1"/>
        </p:nvPicPr>
        <p:blipFill>
          <a:blip r:embed="rId6">
            <a:lum bright="100000" contrast="-70000"/>
          </a:blip>
          <a:stretch>
            <a:fillRect/>
          </a:stretch>
        </p:blipFill>
        <p:spPr>
          <a:xfrm>
            <a:off x="8887255" y="6540533"/>
            <a:ext cx="1145183" cy="248840"/>
          </a:xfrm>
          <a:prstGeom prst="rect">
            <a:avLst/>
          </a:prstGeom>
        </p:spPr>
      </p:pic>
      <p:sp>
        <p:nvSpPr>
          <p:cNvPr id="11"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34700186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04834" y="712436"/>
            <a:ext cx="7553833" cy="714581"/>
          </a:xfrm>
          <a:prstGeom prst="rect">
            <a:avLst/>
          </a:prstGeom>
        </p:spPr>
        <p:txBody>
          <a:bodyPr vert="horz" lIns="0" tIns="0" rIns="0" bIns="0" rtlCol="0" anchor="t">
            <a:noAutofit/>
          </a:bodyPr>
          <a:lstStyle>
            <a:lvl1pPr>
              <a:defRPr sz="5333" b="0" i="0">
                <a:solidFill>
                  <a:schemeClr val="tx1"/>
                </a:solidFill>
                <a:latin typeface="Playfair Display" pitchFamily="2" charset="77"/>
              </a:defRPr>
            </a:lvl1pPr>
          </a:lstStyle>
          <a:p>
            <a:r>
              <a:rPr lang="es-ES"/>
              <a:t>Gracias!</a:t>
            </a:r>
            <a:endParaRPr lang="en-US"/>
          </a:p>
        </p:txBody>
      </p:sp>
      <p:sp>
        <p:nvSpPr>
          <p:cNvPr id="3" name="Rectángulo 3">
            <a:extLst>
              <a:ext uri="{FF2B5EF4-FFF2-40B4-BE49-F238E27FC236}">
                <a16:creationId xmlns:a16="http://schemas.microsoft.com/office/drawing/2014/main" id="{A1E39811-A34B-AD46-8ACC-A06DB4D267D0}"/>
              </a:ext>
            </a:extLst>
          </p:cNvPr>
          <p:cNvSpPr/>
          <p:nvPr userDrawn="1"/>
        </p:nvSpPr>
        <p:spPr>
          <a:xfrm>
            <a:off x="7744691" y="3699164"/>
            <a:ext cx="2575779" cy="38100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4" name="Rectángulo 4">
            <a:extLst>
              <a:ext uri="{FF2B5EF4-FFF2-40B4-BE49-F238E27FC236}">
                <a16:creationId xmlns:a16="http://schemas.microsoft.com/office/drawing/2014/main" id="{A3F9223B-685F-2843-9227-57F23C3FCEB4}"/>
              </a:ext>
            </a:extLst>
          </p:cNvPr>
          <p:cNvSpPr/>
          <p:nvPr userDrawn="1"/>
        </p:nvSpPr>
        <p:spPr>
          <a:xfrm>
            <a:off x="10128449" y="2715492"/>
            <a:ext cx="1010607" cy="4793673"/>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5" name="Rectángulo 8">
            <a:extLst>
              <a:ext uri="{FF2B5EF4-FFF2-40B4-BE49-F238E27FC236}">
                <a16:creationId xmlns:a16="http://schemas.microsoft.com/office/drawing/2014/main" id="{3E974AAD-8F9B-2E42-A5FB-13D764EAA100}"/>
              </a:ext>
            </a:extLst>
          </p:cNvPr>
          <p:cNvSpPr/>
          <p:nvPr userDrawn="1"/>
        </p:nvSpPr>
        <p:spPr>
          <a:xfrm>
            <a:off x="10992545" y="1288473"/>
            <a:ext cx="1383028" cy="6220692"/>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pic>
        <p:nvPicPr>
          <p:cNvPr id="6" name="Imagen 5"/>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9" name="Content Placeholder 1">
            <a:extLst>
              <a:ext uri="{FF2B5EF4-FFF2-40B4-BE49-F238E27FC236}">
                <a16:creationId xmlns:a16="http://schemas.microsoft.com/office/drawing/2014/main" id="{7BABB46C-09CD-2843-89FE-636ADB17FE0F}"/>
              </a:ext>
            </a:extLst>
          </p:cNvPr>
          <p:cNvSpPr>
            <a:spLocks noGrp="1"/>
          </p:cNvSpPr>
          <p:nvPr>
            <p:ph sz="quarter" idx="10" hasCustomPrompt="1"/>
          </p:nvPr>
        </p:nvSpPr>
        <p:spPr>
          <a:xfrm>
            <a:off x="336000" y="3770675"/>
            <a:ext cx="5651499" cy="1146764"/>
          </a:xfrm>
          <a:prstGeom prst="rect">
            <a:avLst/>
          </a:prstGeom>
        </p:spPr>
        <p:txBody>
          <a:bodyPr/>
          <a:lstStyle>
            <a:lvl1pPr marL="0" indent="0">
              <a:buNone/>
              <a:defRPr sz="1600"/>
            </a:lvl1pPr>
          </a:lstStyle>
          <a:p>
            <a:pPr marL="0" indent="0">
              <a:buNone/>
            </a:pPr>
            <a:r>
              <a:rPr lang="en-US" err="1"/>
              <a:t>Datos</a:t>
            </a:r>
            <a:endParaRPr lang="en-US"/>
          </a:p>
        </p:txBody>
      </p:sp>
    </p:spTree>
    <p:extLst>
      <p:ext uri="{BB962C8B-B14F-4D97-AF65-F5344CB8AC3E}">
        <p14:creationId xmlns:p14="http://schemas.microsoft.com/office/powerpoint/2010/main" val="2458429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1592918"/>
            <a:ext cx="6951931"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4" y="1503237"/>
            <a:ext cx="3734647" cy="2021839"/>
          </a:xfrm>
          <a:prstGeom prst="rect">
            <a:avLst/>
          </a:prstGeom>
        </p:spPr>
        <p:txBody>
          <a:bodyPr/>
          <a:lstStyle>
            <a:lvl1pPr marL="0" indent="0" algn="ctr">
              <a:buNone/>
              <a:defRPr sz="16000">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5B101F9E-64AF-FC48-B2A1-F70779554AB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13236995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6938076"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4" y="1503237"/>
            <a:ext cx="3734647" cy="2021839"/>
          </a:xfrm>
          <a:prstGeom prst="rect">
            <a:avLst/>
          </a:prstGeom>
        </p:spPr>
        <p:txBody>
          <a:bodyPr/>
          <a:lstStyle>
            <a:lvl1pPr marL="0" indent="0" algn="ctr">
              <a:buNone/>
              <a:defRPr sz="16000">
                <a:solidFill>
                  <a:schemeClr val="bg1"/>
                </a:solidFill>
                <a:latin typeface="Playfair Display" pitchFamily="2" charset="77"/>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5" y="6540533"/>
            <a:ext cx="1145183" cy="248840"/>
          </a:xfrm>
          <a:prstGeom prst="rect">
            <a:avLst/>
          </a:prstGeom>
        </p:spPr>
      </p:pic>
      <p:sp>
        <p:nvSpPr>
          <p:cNvPr id="11" name="Freeform 5">
            <a:extLst>
              <a:ext uri="{FF2B5EF4-FFF2-40B4-BE49-F238E27FC236}">
                <a16:creationId xmlns:a16="http://schemas.microsoft.com/office/drawing/2014/main" id="{78611A90-5661-7849-85C4-60F38E37590D}"/>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34080600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052607"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4" y="1503237"/>
            <a:ext cx="3734647" cy="2021839"/>
          </a:xfrm>
          <a:prstGeom prst="rect">
            <a:avLst/>
          </a:prstGeom>
        </p:spPr>
        <p:txBody>
          <a:bodyPr/>
          <a:lstStyle>
            <a:lvl1pPr marL="0" indent="0" algn="ctr">
              <a:buNone/>
              <a:defRPr sz="16000">
                <a:solidFill>
                  <a:schemeClr val="bg1"/>
                </a:solidFill>
                <a:latin typeface="Playfair Display" pitchFamily="2" charset="77"/>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5" y="6540533"/>
            <a:ext cx="1145183" cy="248840"/>
          </a:xfrm>
          <a:prstGeom prst="rect">
            <a:avLst/>
          </a:prstGeom>
        </p:spPr>
      </p:pic>
      <p:sp>
        <p:nvSpPr>
          <p:cNvPr id="11" name="Freeform 5">
            <a:extLst>
              <a:ext uri="{FF2B5EF4-FFF2-40B4-BE49-F238E27FC236}">
                <a16:creationId xmlns:a16="http://schemas.microsoft.com/office/drawing/2014/main" id="{57625A35-6F69-D543-BA04-C64550EF3B02}"/>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38371407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052607"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4" y="1503237"/>
            <a:ext cx="3734647" cy="2021839"/>
          </a:xfrm>
          <a:prstGeom prst="rect">
            <a:avLst/>
          </a:prstGeom>
        </p:spPr>
        <p:txBody>
          <a:bodyPr/>
          <a:lstStyle>
            <a:lvl1pPr marL="0" indent="0" algn="ctr">
              <a:buNone/>
              <a:defRPr sz="16000">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26E4C2C5-0D36-E34C-9E34-75AB96E1F27C}"/>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13287932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052607"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4" y="1503237"/>
            <a:ext cx="3734647" cy="2021839"/>
          </a:xfrm>
          <a:prstGeom prst="rect">
            <a:avLst/>
          </a:prstGeom>
        </p:spPr>
        <p:txBody>
          <a:bodyPr/>
          <a:lstStyle>
            <a:lvl1pPr marL="0" indent="0" algn="ctr">
              <a:buNone/>
              <a:defRPr sz="16000">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52231655-E814-554D-A77B-76AE9E4B8F36}"/>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2714127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052607"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4" y="1503237"/>
            <a:ext cx="3734647" cy="2021839"/>
          </a:xfrm>
          <a:prstGeom prst="rect">
            <a:avLst/>
          </a:prstGeom>
        </p:spPr>
        <p:txBody>
          <a:bodyPr/>
          <a:lstStyle>
            <a:lvl1pPr marL="0" indent="0" algn="ctr">
              <a:buNone/>
              <a:defRPr sz="16000">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A23CE7FB-CF5A-CA42-B78E-69EC6A848FB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3251379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052607"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4" y="1503237"/>
            <a:ext cx="3734647" cy="2021839"/>
          </a:xfrm>
          <a:prstGeom prst="rect">
            <a:avLst/>
          </a:prstGeom>
        </p:spPr>
        <p:txBody>
          <a:bodyPr/>
          <a:lstStyle>
            <a:lvl1pPr marL="0" indent="0" algn="ctr">
              <a:buNone/>
              <a:defRPr sz="16000">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881361F9-92A8-6949-BEF9-77B573EB2B51}"/>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10445159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052607"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4" y="1503237"/>
            <a:ext cx="3734647" cy="2021839"/>
          </a:xfrm>
          <a:prstGeom prst="rect">
            <a:avLst/>
          </a:prstGeom>
        </p:spPr>
        <p:txBody>
          <a:bodyPr/>
          <a:lstStyle>
            <a:lvl1pPr marL="0" indent="0" algn="ctr">
              <a:buNone/>
              <a:defRPr sz="16000">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74E9E540-B7BF-4344-8072-B7008201BE2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25191666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1592921"/>
            <a:ext cx="6951931"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5" name="Imagen 14"/>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B101F9E-64AF-FC48-B2A1-F70779554AB4}"/>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3"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14387579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57" y="3190459"/>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3" y="3533831"/>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9" y="3750355"/>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marL="0" indent="0">
              <a:lnSpc>
                <a:spcPct val="100000"/>
              </a:lnSpc>
              <a:spcBef>
                <a:spcPts val="800"/>
              </a:spcBef>
              <a:buNone/>
              <a:defRPr sz="1867"/>
            </a:lvl1pPr>
          </a:lstStyle>
          <a:p>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553833"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760C3CE1-1E28-6546-9D6D-A09B9CDA199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6163984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57" y="3190459"/>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3" y="3533831"/>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9" y="3750355"/>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553833"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a:solidFill>
                <a:schemeClr val="tx1"/>
              </a:solidFill>
            </a:endParaRPr>
          </a:p>
        </p:txBody>
      </p:sp>
      <p:pic>
        <p:nvPicPr>
          <p:cNvPr id="14" name="Imagen 13"/>
          <p:cNvPicPr>
            <a:picLocks noChangeAspect="1"/>
          </p:cNvPicPr>
          <p:nvPr userDrawn="1"/>
        </p:nvPicPr>
        <p:blipFill>
          <a:blip r:embed="rId2">
            <a:lum/>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DEC9B28E-6B7A-0E4E-B90F-9C217C75299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16403276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57" y="3190459"/>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3" y="3533831"/>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9" y="3750355"/>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553833"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59D1119D-7D51-D44F-94AB-E6DA2AD81F78}"/>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39065654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57" y="3190459"/>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3" y="3533831"/>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9" y="3750355"/>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6818927"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A1B5AB55-B564-F54E-A43A-49F65087AAE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28406205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57" y="3190459"/>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3" y="3533831"/>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9" y="3750355"/>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553833"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2</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3" name="Imagen 12"/>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AF48F91E-AAFB-524A-95AE-FEB5DBF353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11855886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57" y="3190459"/>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3" y="3533831"/>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9" y="3750355"/>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553833"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FC254CD5-68FD-894C-AC6F-D3DF03A43FEB}"/>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26811157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57" y="3190459"/>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3" y="3533831"/>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9" y="3750355"/>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553833"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28F0CE16-977C-DF45-B8D7-297950F18B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25015085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57" y="3190459"/>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3" y="3533831"/>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9" y="3750355"/>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0" y="3770675"/>
            <a:ext cx="5651499" cy="1146764"/>
          </a:xfrm>
          <a:prstGeom prst="rect">
            <a:avLst/>
          </a:prstGeom>
        </p:spPr>
        <p:txBody>
          <a:bodyPr lIns="0" tIns="0" rIns="0" bIns="0"/>
          <a:lstStyle>
            <a:lvl1pPr>
              <a:defRPr lang="es-ES" sz="1867" dirty="0"/>
            </a:lvl1pPr>
          </a:lstStyle>
          <a:p>
            <a:pPr marL="0" lvl="0" indent="0">
              <a:lnSpc>
                <a:spcPct val="100000"/>
              </a:lnSpc>
              <a:spcBef>
                <a:spcPts val="800"/>
              </a:spcBef>
              <a:buNone/>
            </a:pPr>
            <a:r>
              <a:rPr lang="es-ES"/>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1" y="1592918"/>
            <a:ext cx="7553833" cy="1648341"/>
          </a:xfrm>
          <a:prstGeom prst="rect">
            <a:avLst/>
          </a:prstGeom>
        </p:spPr>
        <p:txBody>
          <a:bodyPr vert="horz" lIns="0" tIns="0" rIns="0" bIns="0" rtlCol="0" anchor="t">
            <a:noAutofit/>
          </a:bodyPr>
          <a:lstStyle>
            <a:lvl1pPr>
              <a:defRPr sz="4267">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sp>
        <p:nvSpPr>
          <p:cNvPr id="9" name="Freeform 5">
            <a:extLst>
              <a:ext uri="{FF2B5EF4-FFF2-40B4-BE49-F238E27FC236}">
                <a16:creationId xmlns:a16="http://schemas.microsoft.com/office/drawing/2014/main" id="{22E0AD7B-150C-EB41-978F-26BBDF5F4223}"/>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24308698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67" y="725392"/>
            <a:ext cx="9475767" cy="5269827"/>
          </a:xfrm>
          <a:prstGeom prst="rect">
            <a:avLst/>
          </a:prstGeom>
        </p:spPr>
        <p:txBody>
          <a:bodyPr vert="horz" lIns="0" tIns="0" rIns="0" bIns="0" rtlCol="0" anchor="t">
            <a:noAutofit/>
          </a:bodyPr>
          <a:lstStyle>
            <a:lvl1pPr>
              <a:defRPr sz="3200">
                <a:solidFill>
                  <a:schemeClr val="tx1"/>
                </a:solidFill>
              </a:defRPr>
            </a:lvl1pPr>
          </a:lstStyle>
          <a:p>
            <a:r>
              <a:rPr lang="es-ES"/>
              <a:t>Haga clic para un texto destacado o una idea principal</a:t>
            </a:r>
            <a:endParaRPr lang="en-US"/>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a:solidFill>
                <a:schemeClr val="tx1"/>
              </a:solidFill>
            </a:endParaRPr>
          </a:p>
        </p:txBody>
      </p:sp>
      <p:pic>
        <p:nvPicPr>
          <p:cNvPr id="17" name="Imagen 16"/>
          <p:cNvPicPr>
            <a:picLocks noChangeAspect="1"/>
          </p:cNvPicPr>
          <p:nvPr userDrawn="1"/>
        </p:nvPicPr>
        <p:blipFill>
          <a:blip r:embed="rId2">
            <a:lum/>
          </a:blip>
          <a:stretch>
            <a:fillRect/>
          </a:stretch>
        </p:blipFill>
        <p:spPr>
          <a:xfrm>
            <a:off x="8887255" y="6540533"/>
            <a:ext cx="1145183"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960273732"/>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67" y="725392"/>
            <a:ext cx="9475767" cy="5269827"/>
          </a:xfrm>
          <a:prstGeom prst="rect">
            <a:avLst/>
          </a:prstGeom>
        </p:spPr>
        <p:txBody>
          <a:bodyPr vert="horz" lIns="0" tIns="0" rIns="0" bIns="0" rtlCol="0" anchor="t">
            <a:noAutofit/>
          </a:bodyPr>
          <a:lstStyle>
            <a:lvl1pPr>
              <a:defRPr sz="3200">
                <a:solidFill>
                  <a:schemeClr val="bg1"/>
                </a:solidFill>
              </a:defRPr>
            </a:lvl1pPr>
          </a:lstStyle>
          <a:p>
            <a:r>
              <a:rPr lang="es-ES"/>
              <a:t>Haga clic para un texto destacado o una idea principal</a:t>
            </a:r>
            <a:endParaRPr lang="en-US"/>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7"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ES" sz="1067"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55" y="6540533"/>
            <a:ext cx="1145183" cy="248840"/>
          </a:xfrm>
          <a:prstGeom prst="rect">
            <a:avLst/>
          </a:prstGeom>
        </p:spPr>
      </p:pic>
      <p:sp>
        <p:nvSpPr>
          <p:cNvPr id="1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610912700"/>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1592921"/>
            <a:ext cx="693807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5" name="Imagen 14"/>
          <p:cNvPicPr>
            <a:picLocks noChangeAspect="1"/>
          </p:cNvPicPr>
          <p:nvPr/>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78611A90-5661-7849-85C4-60F38E37590D}"/>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3009083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67" y="725392"/>
            <a:ext cx="9475767" cy="5269827"/>
          </a:xfrm>
          <a:prstGeom prst="rect">
            <a:avLst/>
          </a:prstGeom>
        </p:spPr>
        <p:txBody>
          <a:bodyPr vert="horz" lIns="0" tIns="0" rIns="0" bIns="0" rtlCol="0" anchor="t">
            <a:noAutofit/>
          </a:bodyPr>
          <a:lstStyle>
            <a:lvl1pPr>
              <a:defRPr sz="3200">
                <a:solidFill>
                  <a:schemeClr val="tx1"/>
                </a:solidFill>
              </a:defRPr>
            </a:lvl1pPr>
          </a:lstStyle>
          <a:p>
            <a:r>
              <a:rPr lang="es-ES"/>
              <a:t>Haga clic para un texto destacado o una idea principal</a:t>
            </a:r>
            <a:endParaRPr lang="en-US"/>
          </a:p>
        </p:txBody>
      </p:sp>
      <p:sp>
        <p:nvSpPr>
          <p:cNvPr id="7"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a:solidFill>
                <a:schemeClr val="tx1"/>
              </a:solidFill>
            </a:endParaRPr>
          </a:p>
        </p:txBody>
      </p:sp>
      <p:pic>
        <p:nvPicPr>
          <p:cNvPr id="12" name="Imagen 11"/>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pic>
        <p:nvPicPr>
          <p:cNvPr id="15" name="Imagen 14">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0" y="6505495"/>
            <a:ext cx="859200" cy="170476"/>
          </a:xfrm>
          <a:prstGeom prst="rect">
            <a:avLst/>
          </a:prstGeom>
        </p:spPr>
      </p:pic>
    </p:spTree>
    <p:extLst>
      <p:ext uri="{BB962C8B-B14F-4D97-AF65-F5344CB8AC3E}">
        <p14:creationId xmlns:p14="http://schemas.microsoft.com/office/powerpoint/2010/main" val="2340235913"/>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67" y="716493"/>
            <a:ext cx="9475767" cy="5269827"/>
          </a:xfrm>
          <a:prstGeom prst="rect">
            <a:avLst/>
          </a:prstGeom>
        </p:spPr>
        <p:txBody>
          <a:bodyPr vert="horz" lIns="0" tIns="0" rIns="0" bIns="0" rtlCol="0" anchor="t">
            <a:noAutofit/>
          </a:bodyPr>
          <a:lstStyle>
            <a:lvl1pPr>
              <a:defRPr sz="3200">
                <a:solidFill>
                  <a:schemeClr val="bg1"/>
                </a:solidFill>
              </a:defRPr>
            </a:lvl1pPr>
          </a:lstStyle>
          <a:p>
            <a:r>
              <a:rPr lang="es-ES"/>
              <a:t>Haga clic para un texto destacado o una idea principal</a:t>
            </a:r>
            <a:endParaRPr lang="en-US"/>
          </a:p>
        </p:txBody>
      </p:sp>
      <p:sp>
        <p:nvSpPr>
          <p:cNvPr id="14"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7"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Nº›</a:t>
            </a:fld>
            <a:endParaRPr kumimoji="0" lang="es-ES" sz="1067"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8" name="Imagen 17"/>
          <p:cNvPicPr>
            <a:picLocks noChangeAspect="1"/>
          </p:cNvPicPr>
          <p:nvPr userDrawn="1"/>
        </p:nvPicPr>
        <p:blipFill>
          <a:blip r:embed="rId2">
            <a:lum/>
          </a:blip>
          <a:stretch>
            <a:fillRect/>
          </a:stretch>
        </p:blipFill>
        <p:spPr>
          <a:xfrm>
            <a:off x="8887255" y="6540533"/>
            <a:ext cx="1145183"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Tree>
    <p:extLst>
      <p:ext uri="{BB962C8B-B14F-4D97-AF65-F5344CB8AC3E}">
        <p14:creationId xmlns:p14="http://schemas.microsoft.com/office/powerpoint/2010/main" val="1769758737"/>
      </p:ext>
    </p:extLst>
  </p:cSld>
  <p:clrMapOvr>
    <a:overrideClrMapping bg1="dk1" tx1="lt1" bg2="dk2" tx2="lt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67" y="716495"/>
            <a:ext cx="9475767" cy="5269827"/>
          </a:xfrm>
          <a:prstGeom prst="rect">
            <a:avLst/>
          </a:prstGeom>
        </p:spPr>
        <p:txBody>
          <a:bodyPr vert="horz" lIns="0" tIns="0" rIns="0" bIns="0" rtlCol="0" anchor="t">
            <a:noAutofit/>
          </a:bodyPr>
          <a:lstStyle>
            <a:lvl1pPr>
              <a:defRPr sz="3200">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0" y="6505495"/>
            <a:ext cx="859200" cy="170476"/>
          </a:xfrm>
          <a:prstGeom prst="rect">
            <a:avLst/>
          </a:prstGeom>
        </p:spPr>
      </p:pic>
    </p:spTree>
    <p:extLst>
      <p:ext uri="{BB962C8B-B14F-4D97-AF65-F5344CB8AC3E}">
        <p14:creationId xmlns:p14="http://schemas.microsoft.com/office/powerpoint/2010/main" val="1533185865"/>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67" y="716493"/>
            <a:ext cx="9475767" cy="5269827"/>
          </a:xfrm>
          <a:prstGeom prst="rect">
            <a:avLst/>
          </a:prstGeom>
        </p:spPr>
        <p:txBody>
          <a:bodyPr vert="horz" lIns="0" tIns="0" rIns="0" bIns="0" rtlCol="0" anchor="t">
            <a:noAutofit/>
          </a:bodyPr>
          <a:lstStyle>
            <a:lvl1pPr>
              <a:defRPr sz="3200">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0" y="6505495"/>
            <a:ext cx="859200" cy="170476"/>
          </a:xfrm>
          <a:prstGeom prst="rect">
            <a:avLst/>
          </a:prstGeom>
        </p:spPr>
      </p:pic>
    </p:spTree>
    <p:extLst>
      <p:ext uri="{BB962C8B-B14F-4D97-AF65-F5344CB8AC3E}">
        <p14:creationId xmlns:p14="http://schemas.microsoft.com/office/powerpoint/2010/main" val="2527870704"/>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67" y="716493"/>
            <a:ext cx="9475767" cy="5269827"/>
          </a:xfrm>
          <a:prstGeom prst="rect">
            <a:avLst/>
          </a:prstGeom>
        </p:spPr>
        <p:txBody>
          <a:bodyPr vert="horz" lIns="0" tIns="0" rIns="0" bIns="0" rtlCol="0" anchor="t">
            <a:noAutofit/>
          </a:bodyPr>
          <a:lstStyle>
            <a:lvl1pPr>
              <a:defRPr sz="3200">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0" y="6505495"/>
            <a:ext cx="859200" cy="170476"/>
          </a:xfrm>
          <a:prstGeom prst="rect">
            <a:avLst/>
          </a:prstGeom>
        </p:spPr>
      </p:pic>
    </p:spTree>
    <p:extLst>
      <p:ext uri="{BB962C8B-B14F-4D97-AF65-F5344CB8AC3E}">
        <p14:creationId xmlns:p14="http://schemas.microsoft.com/office/powerpoint/2010/main" val="3824014501"/>
      </p:ext>
    </p:extLst>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67" y="716495"/>
            <a:ext cx="9475767" cy="5269827"/>
          </a:xfrm>
          <a:prstGeom prst="rect">
            <a:avLst/>
          </a:prstGeom>
        </p:spPr>
        <p:txBody>
          <a:bodyPr vert="horz" lIns="0" tIns="0" rIns="0" bIns="0" rtlCol="0" anchor="t">
            <a:noAutofit/>
          </a:bodyPr>
          <a:lstStyle>
            <a:lvl1pPr>
              <a:defRPr sz="3200">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5" y="6540533"/>
            <a:ext cx="1145183"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0" y="6505495"/>
            <a:ext cx="859200" cy="170476"/>
          </a:xfrm>
          <a:prstGeom prst="rect">
            <a:avLst/>
          </a:prstGeom>
        </p:spPr>
      </p:pic>
    </p:spTree>
    <p:extLst>
      <p:ext uri="{BB962C8B-B14F-4D97-AF65-F5344CB8AC3E}">
        <p14:creationId xmlns:p14="http://schemas.microsoft.com/office/powerpoint/2010/main" val="978970119"/>
      </p:ext>
    </p:extLst>
  </p:cSld>
  <p:clrMapOvr>
    <a:overrideClrMapping bg1="dk1" tx1="lt1" bg2="dk2" tx2="lt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9875" name="Diapositiva de think-cell" r:id="rId5" imgW="270" imgH="270" progId="TCLayout.ActiveDocument.1">
                  <p:embed/>
                </p:oleObj>
              </mc:Choice>
              <mc:Fallback>
                <p:oleObj name="Diapositiva de think-cell" r:id="rId5" imgW="270" imgH="270" progId="TCLayout.ActiveDocument.1">
                  <p:embed/>
                  <p:pic>
                    <p:nvPicPr>
                      <p:cNvPr id="4" name="Objeto 3"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3" name="Rectángulo 2"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7" b="0" i="0" baseline="0">
              <a:latin typeface="Playfair Display" panose="00000500000000000000"/>
              <a:ea typeface="+mj-ea"/>
              <a:cs typeface="+mj-cs"/>
              <a:sym typeface="Playfair Display" panose="00000500000000000000"/>
            </a:endParaRPr>
          </a:p>
        </p:txBody>
      </p:sp>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pic>
        <p:nvPicPr>
          <p:cNvPr id="19" name="Imagen 18">
            <a:extLst>
              <a:ext uri="{FF2B5EF4-FFF2-40B4-BE49-F238E27FC236}">
                <a16:creationId xmlns:a16="http://schemas.microsoft.com/office/drawing/2014/main" id="{A3612F95-8251-5349-ABFE-8A62EF3295EE}"/>
              </a:ext>
            </a:extLst>
          </p:cNvPr>
          <p:cNvPicPr>
            <a:picLocks noChangeAspect="1"/>
          </p:cNvPicPr>
          <p:nvPr userDrawn="1"/>
        </p:nvPicPr>
        <p:blipFill>
          <a:blip r:embed="rId7"/>
          <a:stretch>
            <a:fillRect/>
          </a:stretch>
        </p:blipFill>
        <p:spPr>
          <a:xfrm>
            <a:off x="336000" y="6505495"/>
            <a:ext cx="859200" cy="170476"/>
          </a:xfrm>
          <a:prstGeom prst="rect">
            <a:avLst/>
          </a:prstGeom>
        </p:spPr>
      </p:pic>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67" y="716493"/>
            <a:ext cx="9475767" cy="5269827"/>
          </a:xfrm>
          <a:prstGeom prst="rect">
            <a:avLst/>
          </a:prstGeom>
        </p:spPr>
        <p:txBody>
          <a:bodyPr vert="horz" lIns="0" tIns="0" rIns="0" bIns="0" rtlCol="0" anchor="t">
            <a:noAutofit/>
          </a:bodyPr>
          <a:lstStyle>
            <a:lvl1pPr>
              <a:defRPr sz="3200">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Nº›</a:t>
            </a:fld>
            <a:endParaRPr lang="es-ES" sz="1067">
              <a:solidFill>
                <a:schemeClr val="tx1"/>
              </a:solidFill>
            </a:endParaRPr>
          </a:p>
        </p:txBody>
      </p:sp>
      <p:pic>
        <p:nvPicPr>
          <p:cNvPr id="16" name="Imagen 15"/>
          <p:cNvPicPr>
            <a:picLocks noChangeAspect="1"/>
          </p:cNvPicPr>
          <p:nvPr userDrawn="1"/>
        </p:nvPicPr>
        <p:blipFill>
          <a:blip r:embed="rId8">
            <a:lum bright="100000" contrast="-70000"/>
          </a:blip>
          <a:stretch>
            <a:fillRect/>
          </a:stretch>
        </p:blipFill>
        <p:spPr>
          <a:xfrm>
            <a:off x="8887255" y="6540533"/>
            <a:ext cx="1145183" cy="248840"/>
          </a:xfrm>
          <a:prstGeom prst="rect">
            <a:avLst/>
          </a:prstGeom>
        </p:spPr>
      </p:pic>
    </p:spTree>
    <p:extLst>
      <p:ext uri="{BB962C8B-B14F-4D97-AF65-F5344CB8AC3E}">
        <p14:creationId xmlns:p14="http://schemas.microsoft.com/office/powerpoint/2010/main" val="2190483219"/>
      </p:ext>
    </p:extLst>
  </p:cSld>
  <p:clrMapOvr>
    <a:overrideClrMapping bg1="dk1" tx1="lt1" bg2="dk2" tx2="lt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0899"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1" name="Imagen 10"/>
          <p:cNvPicPr>
            <a:picLocks noChangeAspect="1"/>
          </p:cNvPicPr>
          <p:nvPr userDrawn="1"/>
        </p:nvPicPr>
        <p:blipFill>
          <a:blip r:embed="rId7">
            <a:lum/>
          </a:blip>
          <a:stretch>
            <a:fillRect/>
          </a:stretch>
        </p:blipFill>
        <p:spPr>
          <a:xfrm>
            <a:off x="8887255" y="6540533"/>
            <a:ext cx="1145183"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5206703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1923"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17468894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2947"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1" name="Imagen 10"/>
          <p:cNvPicPr>
            <a:picLocks noChangeAspect="1"/>
          </p:cNvPicPr>
          <p:nvPr userDrawn="1"/>
        </p:nvPicPr>
        <p:blipFill>
          <a:blip r:embed="rId7">
            <a:lum/>
          </a:blip>
          <a:stretch>
            <a:fillRect/>
          </a:stretch>
        </p:blipFill>
        <p:spPr>
          <a:xfrm>
            <a:off x="8887255" y="6540533"/>
            <a:ext cx="1145183"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
        <p:nvSpPr>
          <p:cNvPr id="16" name="Marcador de contenido 10">
            <a:extLst>
              <a:ext uri="{FF2B5EF4-FFF2-40B4-BE49-F238E27FC236}">
                <a16:creationId xmlns:a16="http://schemas.microsoft.com/office/drawing/2014/main" id="{0C194904-1155-C145-AF21-9523E0FA0795}"/>
              </a:ext>
            </a:extLst>
          </p:cNvPr>
          <p:cNvSpPr>
            <a:spLocks noGrp="1"/>
          </p:cNvSpPr>
          <p:nvPr>
            <p:ph sz="quarter" idx="10" hasCustomPrompt="1"/>
          </p:nvPr>
        </p:nvSpPr>
        <p:spPr>
          <a:xfrm>
            <a:off x="335360" y="2660915"/>
            <a:ext cx="11521280" cy="3360373"/>
          </a:xfrm>
          <a:prstGeom prst="rect">
            <a:avLst/>
          </a:prstGeom>
        </p:spPr>
        <p:txBody>
          <a:bodyPr lIns="0" tIns="0" rIns="0" bIns="0"/>
          <a:lstStyle>
            <a:lvl1pPr marL="0" indent="0">
              <a:lnSpc>
                <a:spcPts val="3733"/>
              </a:lnSpc>
              <a:spcBef>
                <a:spcPts val="0"/>
              </a:spcBef>
              <a:spcAft>
                <a:spcPts val="3733"/>
              </a:spcAft>
              <a:buNone/>
              <a:defRPr sz="1600" baseline="0">
                <a:solidFill>
                  <a:schemeClr val="tx1"/>
                </a:solidFill>
                <a:latin typeface="+mn-lt"/>
              </a:defRPr>
            </a:lvl1pPr>
          </a:lstStyle>
          <a:p>
            <a:r>
              <a:rPr lang="es-ES"/>
              <a:t>Editar los estilos de texto del patrón</a:t>
            </a:r>
          </a:p>
        </p:txBody>
      </p:sp>
      <p:sp>
        <p:nvSpPr>
          <p:cNvPr id="17" name="Marcador de contenido 10">
            <a:extLst>
              <a:ext uri="{FF2B5EF4-FFF2-40B4-BE49-F238E27FC236}">
                <a16:creationId xmlns:a16="http://schemas.microsoft.com/office/drawing/2014/main" id="{52E522FF-C13F-634D-89C8-C317FCB3F1F4}"/>
              </a:ext>
            </a:extLst>
          </p:cNvPr>
          <p:cNvSpPr>
            <a:spLocks noGrp="1"/>
          </p:cNvSpPr>
          <p:nvPr>
            <p:ph sz="quarter" idx="12" hasCustomPrompt="1"/>
          </p:nvPr>
        </p:nvSpPr>
        <p:spPr>
          <a:xfrm>
            <a:off x="335360" y="1796819"/>
            <a:ext cx="11521280" cy="672075"/>
          </a:xfrm>
          <a:prstGeom prst="rect">
            <a:avLst/>
          </a:prstGeom>
        </p:spPr>
        <p:txBody>
          <a:bodyPr lIns="0" tIns="0" rIns="0" bIns="0"/>
          <a:lstStyle>
            <a:lvl1pPr marL="0" indent="0">
              <a:lnSpc>
                <a:spcPct val="100000"/>
              </a:lnSpc>
              <a:spcBef>
                <a:spcPts val="0"/>
              </a:spcBef>
              <a:buNone/>
              <a:defRPr sz="2133" b="0" i="0" baseline="0">
                <a:solidFill>
                  <a:schemeClr val="tx1"/>
                </a:solidFill>
                <a:latin typeface="+mj-lt"/>
              </a:defRPr>
            </a:lvl1pPr>
          </a:lstStyle>
          <a:p>
            <a:r>
              <a:rPr lang="es-ES"/>
              <a:t>Haga clic para agregar un subtítulo a esta página, cuentas con dos líneas para títulos  extensos</a:t>
            </a:r>
          </a:p>
        </p:txBody>
      </p:sp>
    </p:spTree>
    <p:extLst>
      <p:ext uri="{BB962C8B-B14F-4D97-AF65-F5344CB8AC3E}">
        <p14:creationId xmlns:p14="http://schemas.microsoft.com/office/powerpoint/2010/main" val="5778593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latin typeface="Arial" panose="020B0604020202020204" pitchFamily="34" charset="0"/>
              </a:rPr>
              <a:pPr algn="r"/>
              <a:t>‹Nº›</a:t>
            </a:fld>
            <a:endParaRPr lang="es-ES" sz="1066">
              <a:solidFill>
                <a:schemeClr val="tx1"/>
              </a:solidFill>
              <a:latin typeface="Arial" panose="020B0604020202020204" pitchFamily="34" charset="0"/>
            </a:endParaRPr>
          </a:p>
        </p:txBody>
      </p:sp>
      <p:pic>
        <p:nvPicPr>
          <p:cNvPr id="15" name="Imagen 14"/>
          <p:cNvPicPr>
            <a:picLocks noChangeAspect="1"/>
          </p:cNvPicPr>
          <p:nvPr/>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57625A35-6F69-D543-BA04-C64550EF3B02}"/>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22732613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3971"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
        <p:nvSpPr>
          <p:cNvPr id="14" name="Marcador de contenido 10">
            <a:extLst>
              <a:ext uri="{FF2B5EF4-FFF2-40B4-BE49-F238E27FC236}">
                <a16:creationId xmlns:a16="http://schemas.microsoft.com/office/drawing/2014/main" id="{E8FEC0EA-9253-2E4E-B410-521792993695}"/>
              </a:ext>
            </a:extLst>
          </p:cNvPr>
          <p:cNvSpPr>
            <a:spLocks noGrp="1"/>
          </p:cNvSpPr>
          <p:nvPr>
            <p:ph sz="quarter" idx="10" hasCustomPrompt="1"/>
          </p:nvPr>
        </p:nvSpPr>
        <p:spPr>
          <a:xfrm>
            <a:off x="335360" y="2660915"/>
            <a:ext cx="11521280" cy="3360373"/>
          </a:xfrm>
          <a:prstGeom prst="rect">
            <a:avLst/>
          </a:prstGeom>
        </p:spPr>
        <p:txBody>
          <a:bodyPr lIns="0" tIns="0" rIns="0" bIns="0"/>
          <a:lstStyle>
            <a:lvl1pPr marL="0" indent="0">
              <a:lnSpc>
                <a:spcPts val="3733"/>
              </a:lnSpc>
              <a:spcBef>
                <a:spcPts val="0"/>
              </a:spcBef>
              <a:spcAft>
                <a:spcPts val="3733"/>
              </a:spcAft>
              <a:buNone/>
              <a:defRPr sz="1600" baseline="0">
                <a:solidFill>
                  <a:schemeClr val="tx1"/>
                </a:solidFill>
                <a:latin typeface="+mn-lt"/>
              </a:defRPr>
            </a:lvl1pPr>
          </a:lstStyle>
          <a:p>
            <a:r>
              <a:rPr lang="es-ES"/>
              <a:t>Editar los estilos de texto del patrón</a:t>
            </a:r>
          </a:p>
        </p:txBody>
      </p:sp>
      <p:sp>
        <p:nvSpPr>
          <p:cNvPr id="15" name="Marcador de contenido 10">
            <a:extLst>
              <a:ext uri="{FF2B5EF4-FFF2-40B4-BE49-F238E27FC236}">
                <a16:creationId xmlns:a16="http://schemas.microsoft.com/office/drawing/2014/main" id="{3A1B077C-37B5-A248-ADB5-E4A0B84B1738}"/>
              </a:ext>
            </a:extLst>
          </p:cNvPr>
          <p:cNvSpPr>
            <a:spLocks noGrp="1"/>
          </p:cNvSpPr>
          <p:nvPr>
            <p:ph sz="quarter" idx="12" hasCustomPrompt="1"/>
          </p:nvPr>
        </p:nvSpPr>
        <p:spPr>
          <a:xfrm>
            <a:off x="335360" y="1796819"/>
            <a:ext cx="11521280" cy="672075"/>
          </a:xfrm>
          <a:prstGeom prst="rect">
            <a:avLst/>
          </a:prstGeom>
        </p:spPr>
        <p:txBody>
          <a:bodyPr lIns="0" tIns="0" rIns="0" bIns="0"/>
          <a:lstStyle>
            <a:lvl1pPr marL="0" indent="0">
              <a:lnSpc>
                <a:spcPct val="100000"/>
              </a:lnSpc>
              <a:spcBef>
                <a:spcPts val="0"/>
              </a:spcBef>
              <a:buNone/>
              <a:defRPr sz="2133" b="0" i="0" baseline="0">
                <a:solidFill>
                  <a:schemeClr val="tx1"/>
                </a:solidFill>
                <a:latin typeface="+mj-lt"/>
              </a:defRPr>
            </a:lvl1pPr>
          </a:lstStyle>
          <a:p>
            <a:r>
              <a:rPr lang="es-ES"/>
              <a:t>Haga clic para agregar un subtítulo a esta página, cuentas con dos líneas para títulos  extensos</a:t>
            </a:r>
          </a:p>
        </p:txBody>
      </p:sp>
    </p:spTree>
    <p:extLst>
      <p:ext uri="{BB962C8B-B14F-4D97-AF65-F5344CB8AC3E}">
        <p14:creationId xmlns:p14="http://schemas.microsoft.com/office/powerpoint/2010/main" val="37625494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 Texto grande">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4995"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1"/>
            <a:ext cx="11521567"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0" y="357000"/>
            <a:ext cx="11521565"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userDrawn="1"/>
        </p:nvGrpSpPr>
        <p:grpSpPr>
          <a:xfrm>
            <a:off x="10328936" y="6242389"/>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8" name="Imagen 17"/>
          <p:cNvPicPr>
            <a:picLocks noChangeAspect="1"/>
          </p:cNvPicPr>
          <p:nvPr userDrawn="1"/>
        </p:nvPicPr>
        <p:blipFill>
          <a:blip r:embed="rId7">
            <a:lum/>
          </a:blip>
          <a:stretch>
            <a:fillRect/>
          </a:stretch>
        </p:blipFill>
        <p:spPr>
          <a:xfrm>
            <a:off x="8887255" y="6540533"/>
            <a:ext cx="1145183"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76102119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_1. Texto grande">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6019"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1"/>
            <a:ext cx="11521567"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0" y="357000"/>
            <a:ext cx="11521565"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userDrawn="1"/>
        </p:nvGrpSpPr>
        <p:grpSpPr>
          <a:xfrm>
            <a:off x="10328936" y="6242389"/>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171651581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7043"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1" name="Imagen 10"/>
          <p:cNvPicPr>
            <a:picLocks noChangeAspect="1"/>
          </p:cNvPicPr>
          <p:nvPr userDrawn="1"/>
        </p:nvPicPr>
        <p:blipFill>
          <a:blip r:embed="rId7">
            <a:lum/>
          </a:blip>
          <a:stretch>
            <a:fillRect/>
          </a:stretch>
        </p:blipFill>
        <p:spPr>
          <a:xfrm>
            <a:off x="8887255" y="6540533"/>
            <a:ext cx="1145183"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105372966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7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8067"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1929299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9091"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1" name="Imagen 10"/>
          <p:cNvPicPr>
            <a:picLocks noChangeAspect="1"/>
          </p:cNvPicPr>
          <p:nvPr userDrawn="1"/>
        </p:nvPicPr>
        <p:blipFill>
          <a:blip r:embed="rId7">
            <a:lum/>
          </a:blip>
          <a:stretch>
            <a:fillRect/>
          </a:stretch>
        </p:blipFill>
        <p:spPr>
          <a:xfrm>
            <a:off x="8887255" y="6540533"/>
            <a:ext cx="1145183"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36796561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8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011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89"/>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15168633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1139"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89"/>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1" name="Imagen 10"/>
          <p:cNvPicPr>
            <a:picLocks noChangeAspect="1"/>
          </p:cNvPicPr>
          <p:nvPr userDrawn="1"/>
        </p:nvPicPr>
        <p:blipFill>
          <a:blip r:embed="rId7">
            <a:lum/>
          </a:blip>
          <a:stretch>
            <a:fillRect/>
          </a:stretch>
        </p:blipFill>
        <p:spPr>
          <a:xfrm>
            <a:off x="8887255" y="6540533"/>
            <a:ext cx="1145183"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246508543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9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2163"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89"/>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327369220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3187"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89"/>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1" name="Imagen 10"/>
          <p:cNvPicPr>
            <a:picLocks noChangeAspect="1"/>
          </p:cNvPicPr>
          <p:nvPr userDrawn="1"/>
        </p:nvPicPr>
        <p:blipFill>
          <a:blip r:embed="rId7">
            <a:lum/>
          </a:blip>
          <a:stretch>
            <a:fillRect/>
          </a:stretch>
        </p:blipFill>
        <p:spPr>
          <a:xfrm>
            <a:off x="8887255" y="6540533"/>
            <a:ext cx="1145183"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14698738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latin typeface="Georgia" panose="02040502050405020303" pitchFamily="18" charset="0"/>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Georgia" panose="02040502050405020303" pitchFamily="18" charset="0"/>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pic>
        <p:nvPicPr>
          <p:cNvPr id="15" name="Imagen 14"/>
          <p:cNvPicPr>
            <a:picLocks noChangeAspect="1"/>
          </p:cNvPicPr>
          <p:nvPr/>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6E4C2C5-0D36-E34C-9E34-75AB96E1F27C}"/>
              </a:ext>
            </a:extLst>
          </p:cNvPr>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2" name="Marcador de texto 2"/>
          <p:cNvSpPr>
            <a:spLocks noGrp="1"/>
          </p:cNvSpPr>
          <p:nvPr>
            <p:ph type="body" sz="quarter" idx="12" hasCustomPrompt="1"/>
          </p:nvPr>
        </p:nvSpPr>
        <p:spPr>
          <a:xfrm>
            <a:off x="336000" y="3770675"/>
            <a:ext cx="5760000" cy="2251246"/>
          </a:xfrm>
          <a:prstGeom prst="rect">
            <a:avLst/>
          </a:prstGeom>
        </p:spPr>
        <p:txBody>
          <a:bodyPr lIns="0" tIns="0" rIns="0" bIns="0"/>
          <a:lstStyle>
            <a:lvl1pPr marL="0" indent="0">
              <a:lnSpc>
                <a:spcPct val="100000"/>
              </a:lnSpc>
              <a:spcBef>
                <a:spcPts val="800"/>
              </a:spcBef>
              <a:buNone/>
              <a:defRPr sz="1600">
                <a:latin typeface="Arial" panose="020B0604020202020204" pitchFamily="34" charset="0"/>
              </a:defRPr>
            </a:lvl1pPr>
            <a:lvl2pPr marL="456949" indent="0">
              <a:buNone/>
              <a:defRPr/>
            </a:lvl2pPr>
            <a:lvl3pPr marL="913897" indent="0">
              <a:buNone/>
              <a:defRPr/>
            </a:lvl3pPr>
            <a:lvl4pPr marL="1370846" indent="0">
              <a:buNone/>
              <a:defRPr/>
            </a:lvl4pPr>
            <a:lvl5pPr marL="1827794" indent="0">
              <a:buNone/>
              <a:defRPr/>
            </a:lvl5pPr>
          </a:lstStyle>
          <a:p>
            <a:pPr marL="0" lvl="0" indent="0">
              <a:lnSpc>
                <a:spcPct val="100000"/>
              </a:lnSpc>
              <a:spcBef>
                <a:spcPts val="800"/>
              </a:spcBef>
              <a:buNone/>
            </a:pPr>
            <a:r>
              <a:rPr lang="es-ES"/>
              <a:t>Editar el subtitulo </a:t>
            </a:r>
          </a:p>
          <a:p>
            <a:pPr lvl="0"/>
            <a:endParaRPr lang="es-ES"/>
          </a:p>
        </p:txBody>
      </p:sp>
    </p:spTree>
    <p:extLst>
      <p:ext uri="{BB962C8B-B14F-4D97-AF65-F5344CB8AC3E}">
        <p14:creationId xmlns:p14="http://schemas.microsoft.com/office/powerpoint/2010/main" val="308810809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0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4211"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89"/>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399393542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523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89"/>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pic>
        <p:nvPicPr>
          <p:cNvPr id="11" name="Imagen 10"/>
          <p:cNvPicPr>
            <a:picLocks noChangeAspect="1"/>
          </p:cNvPicPr>
          <p:nvPr userDrawn="1"/>
        </p:nvPicPr>
        <p:blipFill>
          <a:blip r:embed="rId7">
            <a:lum/>
          </a:blip>
          <a:stretch>
            <a:fillRect/>
          </a:stretch>
        </p:blipFill>
        <p:spPr>
          <a:xfrm>
            <a:off x="8887255" y="6540533"/>
            <a:ext cx="1145183"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920" tIns="60960" rIns="121920" bIns="60960" numCol="1" anchor="t" anchorCtr="0" compatLnSpc="1">
            <a:prstTxWarp prst="textNoShape">
              <a:avLst/>
            </a:prstTxWarp>
          </a:bodyPr>
          <a:lstStyle/>
          <a:p>
            <a:endParaRPr lang="es-ES" sz="2399"/>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374787034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6259"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7" b="0" i="0" baseline="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1"/>
            <a:ext cx="11519451" cy="919343"/>
          </a:xfrm>
          <a:prstGeom prst="rect">
            <a:avLst/>
          </a:prstGeom>
        </p:spPr>
        <p:txBody>
          <a:bodyPr vert="horz" lIns="0" tIns="0" rIns="0" bIns="0" rtlCol="0" anchor="t">
            <a:noAutofit/>
          </a:bodyPr>
          <a:lstStyle>
            <a:lvl1pPr>
              <a:defRPr sz="2667"/>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67"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5416"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89"/>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9"/>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9"/>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2"/>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spTree>
    <p:extLst>
      <p:ext uri="{BB962C8B-B14F-4D97-AF65-F5344CB8AC3E}">
        <p14:creationId xmlns:p14="http://schemas.microsoft.com/office/powerpoint/2010/main" val="41696260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4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6" y="1592922"/>
            <a:ext cx="7052607"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7" y="1503242"/>
            <a:ext cx="3734647" cy="2021839"/>
          </a:xfrm>
          <a:prstGeom prst="rect">
            <a:avLst/>
          </a:prstGeom>
        </p:spPr>
        <p:txBody>
          <a:bodyPr/>
          <a:lstStyle>
            <a:lvl1pPr marL="0" indent="0" algn="ctr">
              <a:buNone/>
              <a:defRPr sz="15990">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9" y="6501347"/>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Nº›</a:t>
            </a:fld>
            <a:endParaRPr lang="es-ES" sz="1067">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3" cy="248840"/>
          </a:xfrm>
          <a:prstGeom prst="rect">
            <a:avLst/>
          </a:prstGeom>
        </p:spPr>
      </p:pic>
      <p:sp>
        <p:nvSpPr>
          <p:cNvPr id="9" name="Freeform 5">
            <a:extLst>
              <a:ext uri="{FF2B5EF4-FFF2-40B4-BE49-F238E27FC236}">
                <a16:creationId xmlns:a16="http://schemas.microsoft.com/office/drawing/2014/main" id="{A23CE7FB-CF5A-CA42-B78E-69EC6A848FB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38" indent="0">
              <a:buNone/>
              <a:defRPr/>
            </a:lvl2pPr>
            <a:lvl3pPr marL="913874" indent="0">
              <a:buNone/>
              <a:defRPr/>
            </a:lvl3pPr>
            <a:lvl4pPr marL="1370812" indent="0">
              <a:buNone/>
              <a:defRPr/>
            </a:lvl4pPr>
            <a:lvl5pPr marL="1827749"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3551364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98307"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18" name="Imagen 17"/>
          <p:cNvPicPr>
            <a:picLocks noChangeAspect="1"/>
          </p:cNvPicPr>
          <p:nvPr/>
        </p:nvPicPr>
        <p:blipFill>
          <a:blip r:embed="rId7">
            <a:lum/>
          </a:blip>
          <a:stretch>
            <a:fillRect/>
          </a:stretch>
        </p:blipFill>
        <p:spPr>
          <a:xfrm>
            <a:off x="8887258" y="6540533"/>
            <a:ext cx="1145182" cy="248840"/>
          </a:xfrm>
          <a:prstGeom prst="rect">
            <a:avLst/>
          </a:prstGeom>
        </p:spPr>
      </p:pic>
      <p:sp>
        <p:nvSpPr>
          <p:cNvPr id="19"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20"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240762968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99331"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Georgia" panose="02040502050405020303" pitchFamily="18"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atin typeface="Georgia" panose="02040502050405020303" pitchFamily="18" charset="0"/>
              </a:defRPr>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mn-lt"/>
                <a:ea typeface="+mn-ea"/>
                <a:cs typeface="Arial" panose="020B0604020202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latin typeface="Arial" panose="020B0604020202020204" pitchFamily="34" charset="0"/>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latin typeface="Arial" panose="020B0604020202020204" pitchFamily="34" charset="0"/>
              </a:endParaRPr>
            </a:p>
          </p:txBody>
        </p:sp>
      </p:grpSp>
      <p:pic>
        <p:nvPicPr>
          <p:cNvPr id="11" name="Imagen 10"/>
          <p:cNvPicPr>
            <a:picLocks noChangeAspect="1"/>
          </p:cNvPicPr>
          <p:nvPr/>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latin typeface="Arial" panose="020B0604020202020204" pitchFamily="34" charset="0"/>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latin typeface="Arial" panose="020B0604020202020204" pitchFamily="34" charset="0"/>
              </a:rPr>
              <a:pPr algn="r"/>
              <a:t>‹Nº›</a:t>
            </a:fld>
            <a:endParaRPr lang="es-ES" sz="1066">
              <a:solidFill>
                <a:schemeClr val="bg1"/>
              </a:solidFill>
              <a:latin typeface="Arial" panose="020B0604020202020204" pitchFamily="34" charset="0"/>
            </a:endParaRPr>
          </a:p>
        </p:txBody>
      </p:sp>
    </p:spTree>
    <p:extLst>
      <p:ext uri="{BB962C8B-B14F-4D97-AF65-F5344CB8AC3E}">
        <p14:creationId xmlns:p14="http://schemas.microsoft.com/office/powerpoint/2010/main" val="38147941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7"/>
            <a:ext cx="9144000" cy="165576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s-ES"/>
              <a:t>Haga clic para editar el estilo de subtítulo del patrón</a:t>
            </a:r>
          </a:p>
        </p:txBody>
      </p:sp>
      <p:sp>
        <p:nvSpPr>
          <p:cNvPr id="4" name="Marcador de fecha 3"/>
          <p:cNvSpPr>
            <a:spLocks noGrp="1"/>
          </p:cNvSpPr>
          <p:nvPr>
            <p:ph type="dt" sz="half" idx="10"/>
          </p:nvPr>
        </p:nvSpPr>
        <p:spPr/>
        <p:txBody>
          <a:bodyPr/>
          <a:lstStyle/>
          <a:p>
            <a:fld id="{D1CD8C62-5737-40E3-A05F-2085CF260783}" type="datetimeFigureOut">
              <a:rPr lang="es-ES" smtClean="0"/>
              <a:t>14/09/2021</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8BC82513-36B0-44AE-B292-7818074740D8}" type="slidenum">
              <a:rPr lang="es-ES" smtClean="0"/>
              <a:t>‹Nº›</a:t>
            </a:fld>
            <a:endParaRPr lang="es-ES"/>
          </a:p>
        </p:txBody>
      </p:sp>
    </p:spTree>
    <p:extLst>
      <p:ext uri="{BB962C8B-B14F-4D97-AF65-F5344CB8AC3E}">
        <p14:creationId xmlns:p14="http://schemas.microsoft.com/office/powerpoint/2010/main" val="35773946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5" name="PlaceHolder 1"/>
          <p:cNvSpPr>
            <a:spLocks noGrp="1"/>
          </p:cNvSpPr>
          <p:nvPr>
            <p:ph type="title"/>
          </p:nvPr>
        </p:nvSpPr>
        <p:spPr>
          <a:xfrm>
            <a:off x="1523880" y="1122480"/>
            <a:ext cx="9143640" cy="2387160"/>
          </a:xfrm>
          <a:prstGeom prst="rect">
            <a:avLst/>
          </a:prstGeom>
        </p:spPr>
        <p:txBody>
          <a:bodyPr lIns="0" tIns="0" rIns="0" bIns="0" anchor="ctr">
            <a:noAutofit/>
          </a:bodyPr>
          <a:lstStyle/>
          <a:p>
            <a:endParaRPr lang="es-ES" sz="1800" b="0" strike="noStrike" spc="-1">
              <a:solidFill>
                <a:srgbClr val="1A3B47"/>
              </a:solidFill>
              <a:latin typeface="Soho Gothic Pro Light"/>
            </a:endParaRPr>
          </a:p>
        </p:txBody>
      </p:sp>
      <p:sp>
        <p:nvSpPr>
          <p:cNvPr id="6" name="PlaceHolder 2"/>
          <p:cNvSpPr>
            <a:spLocks noGrp="1"/>
          </p:cNvSpPr>
          <p:nvPr>
            <p:ph type="subTitle"/>
          </p:nvPr>
        </p:nvSpPr>
        <p:spPr>
          <a:xfrm>
            <a:off x="609480" y="1604520"/>
            <a:ext cx="10972440" cy="3977280"/>
          </a:xfrm>
          <a:prstGeom prst="rect">
            <a:avLst/>
          </a:prstGeom>
        </p:spPr>
        <p:txBody>
          <a:bodyPr lIns="0" tIns="0" rIns="0" bIns="0" anchor="ctr">
            <a:noAutofit/>
          </a:bodyPr>
          <a:lstStyle/>
          <a:p>
            <a:pPr algn="ctr"/>
            <a:endParaRPr lang="es-ES" sz="3200" b="0" strike="noStrike" spc="-1">
              <a:latin typeface="Arial"/>
            </a:endParaRPr>
          </a:p>
        </p:txBody>
      </p:sp>
    </p:spTree>
    <p:extLst>
      <p:ext uri="{BB962C8B-B14F-4D97-AF65-F5344CB8AC3E}">
        <p14:creationId xmlns:p14="http://schemas.microsoft.com/office/powerpoint/2010/main" val="190994050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914943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 Portada Fot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4"/>
            <a:ext cx="12192000" cy="6877415"/>
          </a:xfrm>
          <a:prstGeom prst="rect">
            <a:avLst/>
          </a:prstGeom>
        </p:spPr>
        <p:txBody>
          <a:bodyPr anchor="t"/>
          <a:lstStyle>
            <a:lvl1pPr marL="0" indent="0" algn="ctr">
              <a:buNone/>
              <a:defRPr>
                <a:latin typeface="Arial" panose="020B0604020202020204" pitchFamily="34" charset="0"/>
              </a:defRPr>
            </a:lvl1pPr>
          </a:lstStyle>
          <a:p>
            <a:r>
              <a:rPr lang="es-ES"/>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2" y="383588"/>
            <a:ext cx="3725333" cy="214776"/>
          </a:xfrm>
          <a:prstGeom prst="rect">
            <a:avLst/>
          </a:prstGeom>
        </p:spPr>
        <p:txBody>
          <a:bodyPr lIns="0" tIns="0" rIns="0" bIns="0"/>
          <a:lstStyle>
            <a:lvl1pPr marL="0" indent="0">
              <a:buNone/>
              <a:defRPr sz="1866">
                <a:latin typeface="Arial" panose="020B0604020202020204" pitchFamily="34" charset="0"/>
              </a:defRPr>
            </a:lvl1pPr>
          </a:lstStyle>
          <a:p>
            <a:r>
              <a:rPr lang="es-ES"/>
              <a:t>Editar el subtitulo de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689241"/>
            <a:ext cx="3725333" cy="159485"/>
          </a:xfrm>
          <a:prstGeom prst="rect">
            <a:avLst/>
          </a:prstGeom>
        </p:spPr>
        <p:txBody>
          <a:bodyPr lIns="0" tIns="0" rIns="0" bIns="0"/>
          <a:lstStyle>
            <a:lvl1pPr marL="0" indent="0">
              <a:buNone/>
              <a:defRPr sz="1333">
                <a:latin typeface="Arial" panose="020B0604020202020204" pitchFamily="34" charset="0"/>
              </a:defRPr>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atin typeface="Arial" panose="020B0604020202020204" pitchFamily="34" charset="0"/>
              </a:defRPr>
            </a:lvl1pPr>
          </a:lstStyle>
          <a:p>
            <a:r>
              <a:rPr lang="es-ES"/>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539954" y="2873081"/>
            <a:ext cx="6626810" cy="1648341"/>
          </a:xfrm>
          <a:prstGeom prst="rect">
            <a:avLst/>
          </a:prstGeom>
        </p:spPr>
        <p:txBody>
          <a:bodyPr vert="horz" lIns="0" tIns="0" rIns="0" bIns="0" rtlCol="0" anchor="t">
            <a:noAutofit/>
          </a:bodyPr>
          <a:lstStyle>
            <a:lvl1pPr>
              <a:defRPr sz="5997">
                <a:latin typeface="Georgia" panose="02040502050405020303" pitchFamily="18" charset="0"/>
              </a:defRPr>
            </a:lvl1pPr>
          </a:lstStyle>
          <a:p>
            <a:r>
              <a:rPr lang="es-ES"/>
              <a:t>Haga clic para el título principal</a:t>
            </a:r>
            <a:endParaRPr lang="en-US"/>
          </a:p>
        </p:txBody>
      </p:sp>
    </p:spTree>
    <p:extLst>
      <p:ext uri="{BB962C8B-B14F-4D97-AF65-F5344CB8AC3E}">
        <p14:creationId xmlns:p14="http://schemas.microsoft.com/office/powerpoint/2010/main" val="8935173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slideLayout" Target="../slideLayouts/slideLayout93.xml"/><Relationship Id="rId50" Type="http://schemas.openxmlformats.org/officeDocument/2006/relationships/slideLayout" Target="../slideLayouts/slideLayout96.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41" Type="http://schemas.openxmlformats.org/officeDocument/2006/relationships/slideLayout" Target="../slideLayouts/slideLayout87.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53" Type="http://schemas.openxmlformats.org/officeDocument/2006/relationships/theme" Target="../theme/theme2.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slideLayout" Target="../slideLayouts/slideLayout95.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52" Type="http://schemas.openxmlformats.org/officeDocument/2006/relationships/slideLayout" Target="../slideLayouts/slideLayout98.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slideLayout" Target="../slideLayouts/slideLayout94.xml"/><Relationship Id="rId8" Type="http://schemas.openxmlformats.org/officeDocument/2006/relationships/slideLayout" Target="../slideLayouts/slideLayout54.xml"/><Relationship Id="rId51" Type="http://schemas.openxmlformats.org/officeDocument/2006/relationships/slideLayout" Target="../slideLayouts/slideLayout9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47" Type="http://schemas.openxmlformats.org/officeDocument/2006/relationships/slideLayout" Target="../slideLayouts/slideLayout145.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46" Type="http://schemas.openxmlformats.org/officeDocument/2006/relationships/slideLayout" Target="../slideLayouts/slideLayout144.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41" Type="http://schemas.openxmlformats.org/officeDocument/2006/relationships/slideLayout" Target="../slideLayouts/slideLayout139.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slideLayout" Target="../slideLayouts/slideLayout143.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49" Type="http://schemas.openxmlformats.org/officeDocument/2006/relationships/theme" Target="../theme/theme3.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48" Type="http://schemas.openxmlformats.org/officeDocument/2006/relationships/slideLayout" Target="../slideLayouts/slideLayout146.xml"/><Relationship Id="rId8"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37451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58" r:id="rId43"/>
    <p:sldLayoutId id="2147483761" r:id="rId44"/>
    <p:sldLayoutId id="2147483763" r:id="rId45"/>
    <p:sldLayoutId id="2147483815" r:id="rId46"/>
  </p:sldLayoutIdLst>
  <p:txStyles>
    <p:titleStyle>
      <a:lvl1pPr algn="l" defTabSz="913897" rtl="0" eaLnBrk="1" latinLnBrk="0" hangingPunct="1">
        <a:lnSpc>
          <a:spcPct val="90000"/>
        </a:lnSpc>
        <a:spcBef>
          <a:spcPct val="0"/>
        </a:spcBef>
        <a:buNone/>
        <a:defRPr sz="4664" kern="1200">
          <a:solidFill>
            <a:schemeClr val="tx1"/>
          </a:solidFill>
          <a:latin typeface="Playfair Display" pitchFamily="2" charset="77"/>
          <a:ea typeface="+mj-ea"/>
          <a:cs typeface="+mj-cs"/>
        </a:defRPr>
      </a:lvl1pPr>
    </p:titleStyle>
    <p:bodyStyle>
      <a:lvl1pPr marL="228474" indent="-228474" algn="l" defTabSz="913897" rtl="0" eaLnBrk="1" latinLnBrk="0" hangingPunct="1">
        <a:lnSpc>
          <a:spcPct val="90000"/>
        </a:lnSpc>
        <a:spcBef>
          <a:spcPts val="999"/>
        </a:spcBef>
        <a:buFont typeface="Arial" panose="020B0604020202020204" pitchFamily="34" charset="0"/>
        <a:buChar char="•"/>
        <a:defRPr sz="1999" b="0" i="0" kern="1200">
          <a:solidFill>
            <a:schemeClr val="tx1"/>
          </a:solidFill>
          <a:latin typeface="Soho Gothic Pro Light" panose="020B0303030504020204" pitchFamily="34" charset="77"/>
          <a:ea typeface="+mn-ea"/>
          <a:cs typeface="+mn-cs"/>
        </a:defRPr>
      </a:lvl1pPr>
      <a:lvl2pPr marL="685423" indent="-228474" algn="l" defTabSz="913897"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371" indent="-228474" algn="l" defTabSz="913897"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320"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268"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217"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166"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114"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063"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897" rtl="0" eaLnBrk="1" latinLnBrk="0" hangingPunct="1">
        <a:defRPr sz="1799" kern="1200">
          <a:solidFill>
            <a:schemeClr val="tx1"/>
          </a:solidFill>
          <a:latin typeface="+mn-lt"/>
          <a:ea typeface="+mn-ea"/>
          <a:cs typeface="+mn-cs"/>
        </a:defRPr>
      </a:lvl1pPr>
      <a:lvl2pPr marL="456949" algn="l" defTabSz="913897" rtl="0" eaLnBrk="1" latinLnBrk="0" hangingPunct="1">
        <a:defRPr sz="1799" kern="1200">
          <a:solidFill>
            <a:schemeClr val="tx1"/>
          </a:solidFill>
          <a:latin typeface="+mn-lt"/>
          <a:ea typeface="+mn-ea"/>
          <a:cs typeface="+mn-cs"/>
        </a:defRPr>
      </a:lvl2pPr>
      <a:lvl3pPr marL="913897" algn="l" defTabSz="913897" rtl="0" eaLnBrk="1" latinLnBrk="0" hangingPunct="1">
        <a:defRPr sz="1799" kern="1200">
          <a:solidFill>
            <a:schemeClr val="tx1"/>
          </a:solidFill>
          <a:latin typeface="+mn-lt"/>
          <a:ea typeface="+mn-ea"/>
          <a:cs typeface="+mn-cs"/>
        </a:defRPr>
      </a:lvl3pPr>
      <a:lvl4pPr marL="1370846" algn="l" defTabSz="913897" rtl="0" eaLnBrk="1" latinLnBrk="0" hangingPunct="1">
        <a:defRPr sz="1799" kern="1200">
          <a:solidFill>
            <a:schemeClr val="tx1"/>
          </a:solidFill>
          <a:latin typeface="+mn-lt"/>
          <a:ea typeface="+mn-ea"/>
          <a:cs typeface="+mn-cs"/>
        </a:defRPr>
      </a:lvl4pPr>
      <a:lvl5pPr marL="1827794" algn="l" defTabSz="913897" rtl="0" eaLnBrk="1" latinLnBrk="0" hangingPunct="1">
        <a:defRPr sz="1799" kern="1200">
          <a:solidFill>
            <a:schemeClr val="tx1"/>
          </a:solidFill>
          <a:latin typeface="+mn-lt"/>
          <a:ea typeface="+mn-ea"/>
          <a:cs typeface="+mn-cs"/>
        </a:defRPr>
      </a:lvl5pPr>
      <a:lvl6pPr marL="2284743" algn="l" defTabSz="913897" rtl="0" eaLnBrk="1" latinLnBrk="0" hangingPunct="1">
        <a:defRPr sz="1799" kern="1200">
          <a:solidFill>
            <a:schemeClr val="tx1"/>
          </a:solidFill>
          <a:latin typeface="+mn-lt"/>
          <a:ea typeface="+mn-ea"/>
          <a:cs typeface="+mn-cs"/>
        </a:defRPr>
      </a:lvl6pPr>
      <a:lvl7pPr marL="2741691" algn="l" defTabSz="913897" rtl="0" eaLnBrk="1" latinLnBrk="0" hangingPunct="1">
        <a:defRPr sz="1799" kern="1200">
          <a:solidFill>
            <a:schemeClr val="tx1"/>
          </a:solidFill>
          <a:latin typeface="+mn-lt"/>
          <a:ea typeface="+mn-ea"/>
          <a:cs typeface="+mn-cs"/>
        </a:defRPr>
      </a:lvl7pPr>
      <a:lvl8pPr marL="3198640" algn="l" defTabSz="913897" rtl="0" eaLnBrk="1" latinLnBrk="0" hangingPunct="1">
        <a:defRPr sz="1799" kern="1200">
          <a:solidFill>
            <a:schemeClr val="tx1"/>
          </a:solidFill>
          <a:latin typeface="+mn-lt"/>
          <a:ea typeface="+mn-ea"/>
          <a:cs typeface="+mn-cs"/>
        </a:defRPr>
      </a:lvl8pPr>
      <a:lvl9pPr marL="3655588" algn="l" defTabSz="913897"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25">
          <p15:clr>
            <a:srgbClr val="F26B43"/>
          </p15:clr>
        </p15:guide>
        <p15:guide id="4" orient="horz" pos="4035">
          <p15:clr>
            <a:srgbClr val="F26B43"/>
          </p15:clr>
        </p15:guide>
        <p15:guide id="6" pos="3840">
          <p15:clr>
            <a:srgbClr val="F26B43"/>
          </p15:clr>
        </p15:guide>
        <p15:guide id="10" pos="7468">
          <p15:clr>
            <a:srgbClr val="F26B43"/>
          </p15:clr>
        </p15:guide>
        <p15:guide id="15" pos="212">
          <p15:clr>
            <a:srgbClr val="F26B43"/>
          </p15:clr>
        </p15:guide>
        <p15:guide id="17" orient="horz" pos="769">
          <p15:clr>
            <a:srgbClr val="F26B43"/>
          </p15:clr>
        </p15:guide>
        <p15:guide id="18" orient="horz" pos="36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8968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 id="2147483740" r:id="rId35"/>
    <p:sldLayoutId id="2147483741" r:id="rId36"/>
    <p:sldLayoutId id="2147483742" r:id="rId37"/>
    <p:sldLayoutId id="2147483743" r:id="rId38"/>
    <p:sldLayoutId id="2147483744" r:id="rId39"/>
    <p:sldLayoutId id="2147483745" r:id="rId40"/>
    <p:sldLayoutId id="2147483746" r:id="rId41"/>
    <p:sldLayoutId id="2147483747" r:id="rId42"/>
    <p:sldLayoutId id="2147483748" r:id="rId43"/>
    <p:sldLayoutId id="2147483749" r:id="rId44"/>
    <p:sldLayoutId id="2147483750" r:id="rId45"/>
    <p:sldLayoutId id="2147483751" r:id="rId46"/>
    <p:sldLayoutId id="2147483755" r:id="rId47"/>
    <p:sldLayoutId id="2147483760" r:id="rId48"/>
    <p:sldLayoutId id="2147483762" r:id="rId49"/>
    <p:sldLayoutId id="2147483816" r:id="rId50"/>
    <p:sldLayoutId id="2147483817" r:id="rId51"/>
    <p:sldLayoutId id="2147483818" r:id="rId52"/>
  </p:sldLayoutIdLst>
  <p:hf hdr="0" ftr="0" dt="0"/>
  <p:txStyles>
    <p:titleStyle>
      <a:lvl1pPr algn="l" defTabSz="914377" rtl="0" eaLnBrk="1" latinLnBrk="0" hangingPunct="1">
        <a:lnSpc>
          <a:spcPct val="90000"/>
        </a:lnSpc>
        <a:spcBef>
          <a:spcPct val="0"/>
        </a:spcBef>
        <a:buNone/>
        <a:defRPr sz="4667" kern="1200">
          <a:solidFill>
            <a:schemeClr val="tx1"/>
          </a:solidFill>
          <a:latin typeface="Playfair Display" pitchFamily="2" charset="77"/>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000" b="0" i="0" kern="1200">
          <a:solidFill>
            <a:schemeClr val="tx1"/>
          </a:solidFill>
          <a:latin typeface="Soho Gothic Pro Light" panose="020B0303030504020204" pitchFamily="34" charset="77"/>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69">
          <p15:clr>
            <a:srgbClr val="F26B43"/>
          </p15:clr>
        </p15:guide>
        <p15:guide id="4" orient="horz" pos="3072">
          <p15:clr>
            <a:srgbClr val="F26B43"/>
          </p15:clr>
        </p15:guide>
        <p15:guide id="6" pos="2880">
          <p15:clr>
            <a:srgbClr val="F26B43"/>
          </p15:clr>
        </p15:guide>
        <p15:guide id="10" pos="5601">
          <p15:clr>
            <a:srgbClr val="F26B43"/>
          </p15:clr>
        </p15:guide>
        <p15:guide id="15" pos="159">
          <p15:clr>
            <a:srgbClr val="F26B43"/>
          </p15:clr>
        </p15:guide>
        <p15:guide id="17" orient="horz" pos="57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9097021"/>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 id="2147483794" r:id="rId29"/>
    <p:sldLayoutId id="2147483795" r:id="rId30"/>
    <p:sldLayoutId id="2147483796" r:id="rId31"/>
    <p:sldLayoutId id="2147483797" r:id="rId32"/>
    <p:sldLayoutId id="2147483798" r:id="rId33"/>
    <p:sldLayoutId id="2147483799" r:id="rId34"/>
    <p:sldLayoutId id="2147483800" r:id="rId35"/>
    <p:sldLayoutId id="2147483801" r:id="rId36"/>
    <p:sldLayoutId id="2147483802" r:id="rId37"/>
    <p:sldLayoutId id="2147483803" r:id="rId38"/>
    <p:sldLayoutId id="2147483804" r:id="rId39"/>
    <p:sldLayoutId id="2147483805" r:id="rId40"/>
    <p:sldLayoutId id="2147483806" r:id="rId41"/>
    <p:sldLayoutId id="2147483807" r:id="rId42"/>
    <p:sldLayoutId id="2147483808" r:id="rId43"/>
    <p:sldLayoutId id="2147483809" r:id="rId44"/>
    <p:sldLayoutId id="2147483810" r:id="rId45"/>
    <p:sldLayoutId id="2147483811" r:id="rId46"/>
    <p:sldLayoutId id="2147483812" r:id="rId47"/>
    <p:sldLayoutId id="2147483813" r:id="rId48"/>
  </p:sldLayoutIdLst>
  <p:txStyles>
    <p:titleStyle>
      <a:lvl1pPr algn="l" defTabSz="913897" rtl="0" eaLnBrk="1" latinLnBrk="0" hangingPunct="1">
        <a:lnSpc>
          <a:spcPct val="90000"/>
        </a:lnSpc>
        <a:spcBef>
          <a:spcPct val="0"/>
        </a:spcBef>
        <a:buNone/>
        <a:defRPr sz="4664" kern="1200">
          <a:solidFill>
            <a:schemeClr val="tx1"/>
          </a:solidFill>
          <a:latin typeface="Playfair Display" pitchFamily="2" charset="77"/>
          <a:ea typeface="+mj-ea"/>
          <a:cs typeface="+mj-cs"/>
        </a:defRPr>
      </a:lvl1pPr>
    </p:titleStyle>
    <p:bodyStyle>
      <a:lvl1pPr marL="228474" indent="-228474" algn="l" defTabSz="913897" rtl="0" eaLnBrk="1" latinLnBrk="0" hangingPunct="1">
        <a:lnSpc>
          <a:spcPct val="90000"/>
        </a:lnSpc>
        <a:spcBef>
          <a:spcPts val="999"/>
        </a:spcBef>
        <a:buFont typeface="Arial" panose="020B0604020202020204" pitchFamily="34" charset="0"/>
        <a:buChar char="•"/>
        <a:defRPr sz="1999" b="0" i="0" kern="1200">
          <a:solidFill>
            <a:schemeClr val="tx1"/>
          </a:solidFill>
          <a:latin typeface="Soho Gothic Pro Light" panose="020B0303030504020204" pitchFamily="34" charset="77"/>
          <a:ea typeface="+mn-ea"/>
          <a:cs typeface="+mn-cs"/>
        </a:defRPr>
      </a:lvl1pPr>
      <a:lvl2pPr marL="685423" indent="-228474" algn="l" defTabSz="913897"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371" indent="-228474" algn="l" defTabSz="913897"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320"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268"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217"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166"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114"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063"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897" rtl="0" eaLnBrk="1" latinLnBrk="0" hangingPunct="1">
        <a:defRPr sz="1799" kern="1200">
          <a:solidFill>
            <a:schemeClr val="tx1"/>
          </a:solidFill>
          <a:latin typeface="+mn-lt"/>
          <a:ea typeface="+mn-ea"/>
          <a:cs typeface="+mn-cs"/>
        </a:defRPr>
      </a:lvl1pPr>
      <a:lvl2pPr marL="456949" algn="l" defTabSz="913897" rtl="0" eaLnBrk="1" latinLnBrk="0" hangingPunct="1">
        <a:defRPr sz="1799" kern="1200">
          <a:solidFill>
            <a:schemeClr val="tx1"/>
          </a:solidFill>
          <a:latin typeface="+mn-lt"/>
          <a:ea typeface="+mn-ea"/>
          <a:cs typeface="+mn-cs"/>
        </a:defRPr>
      </a:lvl2pPr>
      <a:lvl3pPr marL="913897" algn="l" defTabSz="913897" rtl="0" eaLnBrk="1" latinLnBrk="0" hangingPunct="1">
        <a:defRPr sz="1799" kern="1200">
          <a:solidFill>
            <a:schemeClr val="tx1"/>
          </a:solidFill>
          <a:latin typeface="+mn-lt"/>
          <a:ea typeface="+mn-ea"/>
          <a:cs typeface="+mn-cs"/>
        </a:defRPr>
      </a:lvl3pPr>
      <a:lvl4pPr marL="1370846" algn="l" defTabSz="913897" rtl="0" eaLnBrk="1" latinLnBrk="0" hangingPunct="1">
        <a:defRPr sz="1799" kern="1200">
          <a:solidFill>
            <a:schemeClr val="tx1"/>
          </a:solidFill>
          <a:latin typeface="+mn-lt"/>
          <a:ea typeface="+mn-ea"/>
          <a:cs typeface="+mn-cs"/>
        </a:defRPr>
      </a:lvl4pPr>
      <a:lvl5pPr marL="1827794" algn="l" defTabSz="913897" rtl="0" eaLnBrk="1" latinLnBrk="0" hangingPunct="1">
        <a:defRPr sz="1799" kern="1200">
          <a:solidFill>
            <a:schemeClr val="tx1"/>
          </a:solidFill>
          <a:latin typeface="+mn-lt"/>
          <a:ea typeface="+mn-ea"/>
          <a:cs typeface="+mn-cs"/>
        </a:defRPr>
      </a:lvl5pPr>
      <a:lvl6pPr marL="2284743" algn="l" defTabSz="913897" rtl="0" eaLnBrk="1" latinLnBrk="0" hangingPunct="1">
        <a:defRPr sz="1799" kern="1200">
          <a:solidFill>
            <a:schemeClr val="tx1"/>
          </a:solidFill>
          <a:latin typeface="+mn-lt"/>
          <a:ea typeface="+mn-ea"/>
          <a:cs typeface="+mn-cs"/>
        </a:defRPr>
      </a:lvl6pPr>
      <a:lvl7pPr marL="2741691" algn="l" defTabSz="913897" rtl="0" eaLnBrk="1" latinLnBrk="0" hangingPunct="1">
        <a:defRPr sz="1799" kern="1200">
          <a:solidFill>
            <a:schemeClr val="tx1"/>
          </a:solidFill>
          <a:latin typeface="+mn-lt"/>
          <a:ea typeface="+mn-ea"/>
          <a:cs typeface="+mn-cs"/>
        </a:defRPr>
      </a:lvl7pPr>
      <a:lvl8pPr marL="3198640" algn="l" defTabSz="913897" rtl="0" eaLnBrk="1" latinLnBrk="0" hangingPunct="1">
        <a:defRPr sz="1799" kern="1200">
          <a:solidFill>
            <a:schemeClr val="tx1"/>
          </a:solidFill>
          <a:latin typeface="+mn-lt"/>
          <a:ea typeface="+mn-ea"/>
          <a:cs typeface="+mn-cs"/>
        </a:defRPr>
      </a:lvl8pPr>
      <a:lvl9pPr marL="3655588" algn="l" defTabSz="913897"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25">
          <p15:clr>
            <a:srgbClr val="F26B43"/>
          </p15:clr>
        </p15:guide>
        <p15:guide id="4" orient="horz" pos="4035">
          <p15:clr>
            <a:srgbClr val="F26B43"/>
          </p15:clr>
        </p15:guide>
        <p15:guide id="6" pos="3840">
          <p15:clr>
            <a:srgbClr val="F26B43"/>
          </p15:clr>
        </p15:guide>
        <p15:guide id="10" pos="7468">
          <p15:clr>
            <a:srgbClr val="F26B43"/>
          </p15:clr>
        </p15:guide>
        <p15:guide id="15" pos="212">
          <p15:clr>
            <a:srgbClr val="F26B43"/>
          </p15:clr>
        </p15:guide>
        <p15:guide id="17" orient="horz" pos="769">
          <p15:clr>
            <a:srgbClr val="F26B43"/>
          </p15:clr>
        </p15:guide>
        <p15:guide id="18" orient="horz" pos="361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6.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9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9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9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82116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1200" b="0" strike="noStrike" spc="-1">
                <a:solidFill>
                  <a:srgbClr val="1A3B47"/>
                </a:solidFill>
                <a:latin typeface="Soho Gothic Pro Light"/>
                <a:ea typeface="Soho Gothic Pro Light"/>
              </a:rPr>
              <a:t>Ingeniero Big Data con amplitud de recursos y que responde a una amplia gama de retos técnicos con un enfoque centrado y creativo. Altamente efectivo en la resolución de problemas y en la toma de decisiones. Más de 17 años de experiencia en IT. Los últimos 4 años ha colaborado en proyectos utilizando Elasticsearch, Ansible y Kafka</a:t>
            </a:r>
            <a:endParaRPr lang="es-ES" sz="1200" b="0" strike="noStrike" spc="-1">
              <a:latin typeface="Arial"/>
            </a:endParaRPr>
          </a:p>
          <a:p>
            <a:pPr>
              <a:lnSpc>
                <a:spcPct val="100000"/>
              </a:lnSpc>
            </a:pPr>
            <a:endParaRPr lang="es-ES" sz="1200" b="0" strike="noStrike" spc="-1">
              <a:latin typeface="Arial"/>
            </a:endParaRPr>
          </a:p>
        </p:txBody>
      </p:sp>
      <p:sp>
        <p:nvSpPr>
          <p:cNvPr id="98" name="CuadroTexto 39_0"/>
          <p:cNvSpPr/>
          <p:nvPr/>
        </p:nvSpPr>
        <p:spPr>
          <a:xfrm>
            <a:off x="250200" y="1709640"/>
            <a:ext cx="551520" cy="64044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solidFill>
                  <a:srgbClr val="1A3B47"/>
                </a:solidFill>
                <a:latin typeface="Soho Gothic Pro Light"/>
                <a:ea typeface="Soho Gothic Pro Light"/>
              </a:rPr>
              <a:t>ACT</a:t>
            </a:r>
            <a:endParaRPr lang="es-ES" sz="900" b="1" strike="noStrike" spc="-1">
              <a:latin typeface="Arial"/>
            </a:endParaRPr>
          </a:p>
          <a:p>
            <a:pPr>
              <a:lnSpc>
                <a:spcPct val="100000"/>
              </a:lnSpc>
            </a:pPr>
            <a:r>
              <a:rPr lang="es-ES" sz="900" b="1" strike="noStrike" spc="-1">
                <a:solidFill>
                  <a:srgbClr val="1A3B47"/>
                </a:solidFill>
                <a:latin typeface="Soho Gothic Pro Light"/>
                <a:ea typeface="Soho Gothic Pro Light"/>
              </a:rPr>
              <a:t>—</a:t>
            </a:r>
            <a:endParaRPr lang="es-ES" sz="900" b="1" strike="noStrike" spc="-1">
              <a:latin typeface="Arial"/>
            </a:endParaRPr>
          </a:p>
          <a:p>
            <a:pPr>
              <a:lnSpc>
                <a:spcPct val="100000"/>
              </a:lnSpc>
            </a:pPr>
            <a:r>
              <a:rPr lang="es-ES" sz="900" b="1" strike="noStrike" spc="-1">
                <a:solidFill>
                  <a:srgbClr val="1A3B47"/>
                </a:solidFill>
                <a:latin typeface="Soho Gothic Pro Light"/>
                <a:ea typeface="Soho Gothic Pro Light"/>
              </a:rPr>
              <a:t>2021</a:t>
            </a:r>
            <a:endParaRPr lang="es-ES" sz="900" b="1" strike="noStrike" spc="-1">
              <a:latin typeface="Arial"/>
            </a:endParaRPr>
          </a:p>
          <a:p>
            <a:pPr>
              <a:lnSpc>
                <a:spcPct val="100000"/>
              </a:lnSpc>
            </a:pPr>
            <a:endParaRPr lang="es-ES" sz="900" b="0" strike="noStrike" spc="-1">
              <a:latin typeface="Arial"/>
            </a:endParaRPr>
          </a:p>
        </p:txBody>
      </p:sp>
      <p:sp>
        <p:nvSpPr>
          <p:cNvPr id="99" name="CuadroTexto 44_0"/>
          <p:cNvSpPr/>
          <p:nvPr/>
        </p:nvSpPr>
        <p:spPr>
          <a:xfrm>
            <a:off x="685800" y="1743120"/>
            <a:ext cx="3988800" cy="1785104"/>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gn="just">
              <a:lnSpc>
                <a:spcPct val="100000"/>
              </a:lnSpc>
            </a:pPr>
            <a:r>
              <a:rPr lang="es-ES" sz="1100" b="1" strike="noStrike" spc="-1">
                <a:solidFill>
                  <a:srgbClr val="1A3B47"/>
                </a:solidFill>
                <a:latin typeface="Soho Gothic Pro Light"/>
                <a:ea typeface="Soho Gothic Pro Light"/>
              </a:rPr>
              <a:t>Minsait </a:t>
            </a:r>
            <a:r>
              <a:rPr lang="es-ES" sz="1100" b="1" strike="noStrike" spc="-1" err="1">
                <a:solidFill>
                  <a:srgbClr val="1A3B47"/>
                </a:solidFill>
                <a:latin typeface="Soho Gothic Pro Light"/>
                <a:ea typeface="Soho Gothic Pro Light"/>
              </a:rPr>
              <a:t>by</a:t>
            </a:r>
            <a:r>
              <a:rPr lang="es-ES" sz="1100" b="1" strike="noStrike" spc="-1">
                <a:solidFill>
                  <a:srgbClr val="1A3B47"/>
                </a:solidFill>
                <a:latin typeface="Soho Gothic Pro Light"/>
                <a:ea typeface="Soho Gothic Pro Light"/>
              </a:rPr>
              <a:t> Indra (Barcelona, España)</a:t>
            </a:r>
            <a:endParaRPr lang="es-ES" sz="1100" b="0" strike="noStrike" spc="-1">
              <a:latin typeface="Arial"/>
            </a:endParaRPr>
          </a:p>
          <a:p>
            <a:pPr algn="just">
              <a:lnSpc>
                <a:spcPct val="100000"/>
              </a:lnSpc>
            </a:pPr>
            <a:r>
              <a:rPr lang="es-ES" sz="1100" b="0" strike="noStrike" spc="-1">
                <a:solidFill>
                  <a:srgbClr val="1A3B47"/>
                </a:solidFill>
                <a:latin typeface="Soho Gothic Pro Light"/>
                <a:ea typeface="Soho Gothic Pro Light"/>
              </a:rPr>
              <a:t>Big Data </a:t>
            </a:r>
            <a:r>
              <a:rPr lang="es-ES" sz="1100" b="0" strike="noStrike" spc="-1" err="1">
                <a:solidFill>
                  <a:srgbClr val="1A3B47"/>
                </a:solidFill>
                <a:latin typeface="Soho Gothic Pro Light"/>
                <a:ea typeface="Soho Gothic Pro Light"/>
              </a:rPr>
              <a:t>Consultant</a:t>
            </a:r>
            <a:endParaRPr lang="es-ES" sz="1100" b="0" strike="noStrike"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100" spc="-1">
                <a:solidFill>
                  <a:srgbClr val="1A3B47"/>
                </a:solidFill>
                <a:latin typeface="Soho Gothic Pro Light"/>
              </a:rPr>
              <a:t>Diseño de </a:t>
            </a:r>
            <a:r>
              <a:rPr lang="es-ES" sz="1100" spc="-1" err="1">
                <a:solidFill>
                  <a:srgbClr val="1A3B47"/>
                </a:solidFill>
                <a:latin typeface="Soho Gothic Pro Light"/>
              </a:rPr>
              <a:t>clusters</a:t>
            </a:r>
            <a:r>
              <a:rPr lang="es-ES" sz="1100" spc="-1">
                <a:solidFill>
                  <a:srgbClr val="1A3B47"/>
                </a:solidFill>
                <a:latin typeface="Soho Gothic Pro Light"/>
              </a:rPr>
              <a:t>, </a:t>
            </a:r>
            <a:r>
              <a:rPr lang="es-ES" sz="1100" spc="-1" err="1">
                <a:solidFill>
                  <a:srgbClr val="1A3B47"/>
                </a:solidFill>
                <a:latin typeface="Soho Gothic Pro Light"/>
              </a:rPr>
              <a:t>sizing</a:t>
            </a:r>
            <a:r>
              <a:rPr lang="es-ES" sz="1100" spc="-1">
                <a:solidFill>
                  <a:srgbClr val="1A3B47"/>
                </a:solidFill>
                <a:latin typeface="Soho Gothic Pro Light"/>
              </a:rPr>
              <a:t>, desarrollos y mantenimientos de proyectos Elasticsearch para la Agencia tributaria Catalana.</a:t>
            </a:r>
          </a:p>
          <a:p>
            <a:pPr marL="170815" indent="-170815" algn="just">
              <a:buClr>
                <a:srgbClr val="1A3B47"/>
              </a:buClr>
              <a:buFont typeface="Arial,Sans-Serif"/>
              <a:buChar char="•"/>
            </a:pPr>
            <a:r>
              <a:rPr lang="es-ES" sz="1100" spc="-1">
                <a:solidFill>
                  <a:srgbClr val="1A3B47"/>
                </a:solidFill>
                <a:latin typeface="Soho Gothic Pro Light"/>
              </a:rPr>
              <a:t>Instalación de </a:t>
            </a:r>
            <a:r>
              <a:rPr lang="es-ES" sz="1100" spc="-1" err="1">
                <a:solidFill>
                  <a:srgbClr val="1A3B47"/>
                </a:solidFill>
                <a:latin typeface="Soho Gothic Pro Light"/>
              </a:rPr>
              <a:t>cluster</a:t>
            </a:r>
            <a:r>
              <a:rPr lang="es-ES" sz="1100" spc="-1">
                <a:solidFill>
                  <a:srgbClr val="1A3B47"/>
                </a:solidFill>
                <a:latin typeface="Soho Gothic Pro Light"/>
              </a:rPr>
              <a:t> Elasticsearch y diseño de pipelines para Banca </a:t>
            </a:r>
            <a:r>
              <a:rPr lang="es-ES" sz="1100" spc="-1" err="1">
                <a:solidFill>
                  <a:srgbClr val="1A3B47"/>
                </a:solidFill>
                <a:latin typeface="Soho Gothic Pro Light"/>
              </a:rPr>
              <a:t>March</a:t>
            </a:r>
            <a:r>
              <a:rPr lang="es-ES" sz="1100" spc="-1">
                <a:solidFill>
                  <a:srgbClr val="1A3B47"/>
                </a:solidFill>
                <a:latin typeface="Soho Gothic Pro Light"/>
              </a:rPr>
              <a:t>.</a:t>
            </a:r>
          </a:p>
          <a:p>
            <a:pPr algn="just">
              <a:lnSpc>
                <a:spcPct val="100000"/>
              </a:lnSpc>
            </a:pPr>
            <a:endParaRPr lang="es-ES" sz="1100" b="0" strike="noStrike" spc="-1">
              <a:latin typeface="Arial"/>
            </a:endParaRPr>
          </a:p>
          <a:p>
            <a:pPr algn="just">
              <a:lnSpc>
                <a:spcPct val="100000"/>
              </a:lnSpc>
            </a:pPr>
            <a:endParaRPr lang="es-ES" sz="1100" b="0" strike="noStrike" spc="-1">
              <a:latin typeface="Arial"/>
            </a:endParaRPr>
          </a:p>
        </p:txBody>
      </p:sp>
      <p:sp>
        <p:nvSpPr>
          <p:cNvPr id="100" name="CuadroTexto 45_0"/>
          <p:cNvSpPr/>
          <p:nvPr/>
        </p:nvSpPr>
        <p:spPr>
          <a:xfrm>
            <a:off x="5342760" y="1743120"/>
            <a:ext cx="3848400" cy="126360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gn="just">
              <a:lnSpc>
                <a:spcPct val="100000"/>
              </a:lnSpc>
            </a:pPr>
            <a:r>
              <a:rPr lang="es-ES" sz="1100" b="1" strike="noStrike" spc="-1">
                <a:solidFill>
                  <a:srgbClr val="1A3B47"/>
                </a:solidFill>
                <a:latin typeface="Soho Gothic Pro Light"/>
                <a:ea typeface="Soho Gothic Pro Light"/>
              </a:rPr>
              <a:t>SIVSA Soluciones (Vigo, España)</a:t>
            </a:r>
            <a:endParaRPr lang="es-ES" sz="1100" b="0" strike="noStrike" spc="-1">
              <a:latin typeface="Arial"/>
            </a:endParaRPr>
          </a:p>
          <a:p>
            <a:pPr algn="just">
              <a:lnSpc>
                <a:spcPct val="100000"/>
              </a:lnSpc>
            </a:pPr>
            <a:r>
              <a:rPr lang="es-ES" sz="1100" b="0" strike="noStrike" spc="-1">
                <a:solidFill>
                  <a:srgbClr val="1A3B47"/>
                </a:solidFill>
                <a:latin typeface="Soho Gothic Pro Light"/>
                <a:ea typeface="Soho Gothic Pro Light"/>
              </a:rPr>
              <a:t>Script Developer</a:t>
            </a:r>
            <a:endParaRPr lang="es-ES" sz="1100" b="0" strike="noStrike"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100" b="0" strike="noStrike" spc="-1">
                <a:solidFill>
                  <a:srgbClr val="1A3B47"/>
                </a:solidFill>
                <a:latin typeface="Soho Gothic Pro Light"/>
                <a:ea typeface="Soho Gothic Pro Light"/>
              </a:rPr>
              <a:t>Desarrollo de herramientas de despliegue en Perl, bash y ANT para aplicaciones internas personalizadas en entornos UNIX/Linux.</a:t>
            </a:r>
            <a:endParaRPr lang="es-ES" sz="1100" b="0" strike="noStrike" spc="-1">
              <a:latin typeface="Arial"/>
            </a:endParaRPr>
          </a:p>
          <a:p>
            <a:pPr marL="171360" indent="-171000" algn="just">
              <a:lnSpc>
                <a:spcPct val="100000"/>
              </a:lnSpc>
              <a:buClr>
                <a:srgbClr val="1A3B47"/>
              </a:buClr>
              <a:buFont typeface="Arial,Sans-Serif"/>
              <a:buChar char="•"/>
            </a:pPr>
            <a:r>
              <a:rPr lang="es-ES" sz="1100" b="0" strike="noStrike" spc="-1">
                <a:solidFill>
                  <a:srgbClr val="1A3B47"/>
                </a:solidFill>
                <a:latin typeface="Soho Gothic Pro Light"/>
                <a:ea typeface="Soho Gothic Pro Light"/>
              </a:rPr>
              <a:t>Gestión del proyecto con versiones JIRA y SVN.</a:t>
            </a:r>
            <a:endParaRPr lang="es-ES" sz="1100" b="0" strike="noStrike" spc="-1">
              <a:latin typeface="Arial"/>
            </a:endParaRPr>
          </a:p>
        </p:txBody>
      </p:sp>
      <p:sp>
        <p:nvSpPr>
          <p:cNvPr id="101" name="CuadroTexto 48_0"/>
          <p:cNvSpPr/>
          <p:nvPr/>
        </p:nvSpPr>
        <p:spPr>
          <a:xfrm>
            <a:off x="4952160" y="1709640"/>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solidFill>
                  <a:srgbClr val="1A3B47"/>
                </a:solidFill>
                <a:latin typeface="Soho Gothic Pro Light"/>
                <a:ea typeface="Soho Gothic Pro Light"/>
              </a:rPr>
              <a:t>2016</a:t>
            </a:r>
            <a:endParaRPr lang="es-ES" sz="900" b="1" strike="noStrike" spc="-1">
              <a:latin typeface="Arial"/>
            </a:endParaRPr>
          </a:p>
          <a:p>
            <a:pPr>
              <a:lnSpc>
                <a:spcPct val="100000"/>
              </a:lnSpc>
            </a:pPr>
            <a:r>
              <a:rPr lang="es-ES" sz="900" b="1" strike="noStrike" spc="-1">
                <a:solidFill>
                  <a:srgbClr val="1A3B47"/>
                </a:solidFill>
                <a:latin typeface="Soho Gothic Pro Light"/>
                <a:ea typeface="Soho Gothic Pro Light"/>
              </a:rPr>
              <a:t>—</a:t>
            </a:r>
            <a:endParaRPr lang="es-ES" sz="900" b="1" strike="noStrike" spc="-1">
              <a:latin typeface="Arial"/>
            </a:endParaRPr>
          </a:p>
          <a:p>
            <a:pPr>
              <a:lnSpc>
                <a:spcPct val="100000"/>
              </a:lnSpc>
            </a:pPr>
            <a:r>
              <a:rPr lang="es-ES" sz="900" b="1" strike="noStrike" spc="-1">
                <a:solidFill>
                  <a:srgbClr val="1A3B47"/>
                </a:solidFill>
                <a:latin typeface="Soho Gothic Pro Light"/>
                <a:ea typeface="Soho Gothic Pro Light"/>
              </a:rPr>
              <a:t>2013</a:t>
            </a:r>
            <a:endParaRPr lang="es-ES" sz="900" b="1" strike="noStrike" spc="-1">
              <a:latin typeface="Arial"/>
            </a:endParaRPr>
          </a:p>
        </p:txBody>
      </p:sp>
      <p:sp>
        <p:nvSpPr>
          <p:cNvPr id="102" name="CuadroTexto 54_0"/>
          <p:cNvSpPr/>
          <p:nvPr/>
        </p:nvSpPr>
        <p:spPr>
          <a:xfrm>
            <a:off x="9438480" y="5335200"/>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solidFill>
                  <a:srgbClr val="204856"/>
                </a:solidFill>
                <a:latin typeface="Soho Gothic Pro"/>
              </a:rPr>
              <a:t>Idiomas</a:t>
            </a:r>
            <a:endParaRPr lang="es-ES" sz="1200" b="0" strike="noStrike" spc="-1">
              <a:latin typeface="Arial"/>
            </a:endParaRPr>
          </a:p>
        </p:txBody>
      </p:sp>
      <p:sp>
        <p:nvSpPr>
          <p:cNvPr id="103" name="CuadroTexto 55_0"/>
          <p:cNvSpPr/>
          <p:nvPr/>
        </p:nvSpPr>
        <p:spPr>
          <a:xfrm>
            <a:off x="9474840" y="5689440"/>
            <a:ext cx="2154600" cy="70092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1000" b="1" strike="noStrike" spc="-1">
                <a:solidFill>
                  <a:srgbClr val="1A3B47"/>
                </a:solidFill>
                <a:latin typeface="Soho Gothic Pro Light"/>
                <a:ea typeface="Soho Gothic Pro Light"/>
              </a:rPr>
              <a:t>Castellano - </a:t>
            </a:r>
            <a:r>
              <a:rPr lang="es-ES" sz="1000" b="0" strike="noStrike" spc="-1">
                <a:solidFill>
                  <a:srgbClr val="1A3B47"/>
                </a:solidFill>
                <a:latin typeface="Soho Gothic Pro Light"/>
                <a:ea typeface="Soho Gothic Pro Light"/>
              </a:rPr>
              <a:t>Nativo</a:t>
            </a:r>
            <a:r>
              <a:rPr/>
              <a:t/>
            </a:r>
            <a:br>
              <a:rPr/>
            </a:br>
            <a:r>
              <a:rPr lang="es-ES" sz="1000" b="1" strike="noStrike" spc="-1">
                <a:solidFill>
                  <a:srgbClr val="1A3B47"/>
                </a:solidFill>
                <a:latin typeface="Soho Gothic Pro Light"/>
                <a:ea typeface="Soho Gothic Pro Light"/>
              </a:rPr>
              <a:t>Ingles - </a:t>
            </a:r>
            <a:r>
              <a:rPr lang="es-ES" sz="1000" b="0" strike="noStrike" spc="-1">
                <a:solidFill>
                  <a:srgbClr val="1A3B47"/>
                </a:solidFill>
                <a:latin typeface="Soho Gothic Pro Light"/>
                <a:ea typeface="Soho Gothic Pro Light"/>
              </a:rPr>
              <a:t>C1</a:t>
            </a:r>
            <a:endParaRPr lang="es-ES" sz="1000" b="0" strike="noStrike" spc="-1">
              <a:latin typeface="Arial"/>
            </a:endParaRPr>
          </a:p>
          <a:p>
            <a:pPr>
              <a:lnSpc>
                <a:spcPct val="100000"/>
              </a:lnSpc>
            </a:pPr>
            <a:endParaRPr lang="es-ES" sz="1000" b="0" strike="noStrike" spc="-1">
              <a:latin typeface="Arial"/>
            </a:endParaRPr>
          </a:p>
          <a:p>
            <a:pPr>
              <a:lnSpc>
                <a:spcPct val="100000"/>
              </a:lnSpc>
            </a:pPr>
            <a:endParaRPr lang="es-ES" sz="1000" b="0" strike="noStrike" spc="-1">
              <a:latin typeface="Arial"/>
            </a:endParaRPr>
          </a:p>
        </p:txBody>
      </p:sp>
      <p:sp>
        <p:nvSpPr>
          <p:cNvPr id="105" name="CuadroTexto 40_0"/>
          <p:cNvSpPr/>
          <p:nvPr/>
        </p:nvSpPr>
        <p:spPr>
          <a:xfrm>
            <a:off x="2985480" y="110520"/>
            <a:ext cx="2606040" cy="45756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2400" b="0" strike="noStrike" spc="-1">
                <a:solidFill>
                  <a:srgbClr val="FFFFFF"/>
                </a:solidFill>
                <a:latin typeface="Soho Gothic Pro Medium"/>
              </a:rPr>
              <a:t>Data </a:t>
            </a:r>
            <a:r>
              <a:rPr lang="es-ES" sz="2400" b="0" strike="noStrike" spc="-1" err="1">
                <a:solidFill>
                  <a:srgbClr val="FFFFFF"/>
                </a:solidFill>
                <a:latin typeface="Soho Gothic Pro Medium"/>
              </a:rPr>
              <a:t>Engineer</a:t>
            </a:r>
            <a:endParaRPr lang="es-ES" sz="2400" b="0" strike="noStrike" spc="-1">
              <a:latin typeface="Arial"/>
            </a:endParaRPr>
          </a:p>
        </p:txBody>
      </p:sp>
      <p:sp>
        <p:nvSpPr>
          <p:cNvPr id="106" name="CuadroTexto 30_0"/>
          <p:cNvSpPr/>
          <p:nvPr/>
        </p:nvSpPr>
        <p:spPr>
          <a:xfrm>
            <a:off x="87120" y="152640"/>
            <a:ext cx="2731320" cy="70164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b="0" strike="noStrike" spc="-1">
                <a:solidFill>
                  <a:srgbClr val="FFFDEF"/>
                </a:solidFill>
                <a:latin typeface="Soho Gothic Pro Light"/>
                <a:ea typeface="Soho Gothic Pro Light"/>
              </a:rPr>
              <a:t>J.R.G.M.</a:t>
            </a:r>
            <a:endParaRPr lang="es-ES" sz="2000" b="0" strike="noStrike" spc="-1">
              <a:latin typeface="Arial"/>
            </a:endParaRPr>
          </a:p>
          <a:p>
            <a:pPr>
              <a:lnSpc>
                <a:spcPct val="100000"/>
              </a:lnSpc>
            </a:pPr>
            <a:endParaRPr lang="es-ES" sz="2000" b="0" strike="noStrike" spc="-1">
              <a:latin typeface="Arial"/>
            </a:endParaRPr>
          </a:p>
        </p:txBody>
      </p:sp>
      <p:sp>
        <p:nvSpPr>
          <p:cNvPr id="107" name="CuadroTexto 46_0"/>
          <p:cNvSpPr/>
          <p:nvPr/>
        </p:nvSpPr>
        <p:spPr>
          <a:xfrm>
            <a:off x="5400000" y="3240000"/>
            <a:ext cx="3851640" cy="15976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gn="just">
              <a:lnSpc>
                <a:spcPct val="100000"/>
              </a:lnSpc>
            </a:pPr>
            <a:r>
              <a:rPr lang="es-ES" sz="1100" b="1" strike="noStrike" spc="-1">
                <a:solidFill>
                  <a:srgbClr val="1A3B47"/>
                </a:solidFill>
                <a:latin typeface="Soho Gothic Pro Light"/>
                <a:ea typeface="Soho Gothic Pro Light"/>
              </a:rPr>
              <a:t>Prefabricados Castelo (O Porriño, España)</a:t>
            </a:r>
            <a:endParaRPr lang="es-ES" sz="1100" b="0" strike="noStrike" spc="-1">
              <a:latin typeface="Arial"/>
            </a:endParaRPr>
          </a:p>
          <a:p>
            <a:pPr algn="just">
              <a:lnSpc>
                <a:spcPct val="100000"/>
              </a:lnSpc>
            </a:pPr>
            <a:r>
              <a:rPr lang="es-ES" sz="1100" b="0" strike="noStrike" spc="-1">
                <a:solidFill>
                  <a:srgbClr val="1A3B47"/>
                </a:solidFill>
                <a:latin typeface="Soho Gothic Pro Light"/>
                <a:ea typeface="Soho Gothic Pro Light"/>
              </a:rPr>
              <a:t>IT Technician</a:t>
            </a:r>
            <a:endParaRPr lang="es-ES" sz="1100" b="0" strike="noStrike"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100" b="0" strike="noStrike" spc="-1">
                <a:solidFill>
                  <a:srgbClr val="1A3B47"/>
                </a:solidFill>
                <a:latin typeface="Soho Gothic Pro Light"/>
                <a:ea typeface="Soho Gothic Pro Light"/>
              </a:rPr>
              <a:t>Desarrollo aplicaciones PHP+Postgresql, VisualBasic y Access</a:t>
            </a:r>
            <a:endParaRPr lang="es-ES" sz="1100" b="0" strike="noStrike" spc="-1">
              <a:latin typeface="Arial"/>
            </a:endParaRPr>
          </a:p>
          <a:p>
            <a:pPr marL="171360" indent="-171000" algn="just">
              <a:lnSpc>
                <a:spcPct val="100000"/>
              </a:lnSpc>
              <a:buClr>
                <a:srgbClr val="1A3B47"/>
              </a:buClr>
              <a:buFont typeface="Arial,Sans-Serif"/>
              <a:buChar char="•"/>
            </a:pPr>
            <a:r>
              <a:rPr lang="es-ES" sz="1100" b="0" strike="noStrike" spc="-1">
                <a:solidFill>
                  <a:srgbClr val="1A3B47"/>
                </a:solidFill>
                <a:latin typeface="Soho Gothic Pro Light"/>
                <a:ea typeface="Soho Gothic Pro Light"/>
              </a:rPr>
              <a:t>Mantenimiento de servidores linux</a:t>
            </a:r>
            <a:endParaRPr lang="es-ES" sz="1100" b="0" strike="noStrike" spc="-1">
              <a:latin typeface="Arial"/>
            </a:endParaRPr>
          </a:p>
          <a:p>
            <a:pPr marL="171360" indent="-171000" algn="just">
              <a:lnSpc>
                <a:spcPct val="100000"/>
              </a:lnSpc>
              <a:buClr>
                <a:srgbClr val="1A3B47"/>
              </a:buClr>
              <a:buFont typeface="Arial,Sans-Serif"/>
              <a:buChar char="•"/>
            </a:pPr>
            <a:r>
              <a:rPr lang="es-ES" sz="1100" b="0" strike="noStrike" spc="-1">
                <a:solidFill>
                  <a:srgbClr val="1A3B47"/>
                </a:solidFill>
                <a:latin typeface="Soho Gothic Pro Light"/>
                <a:ea typeface="Soho Gothic Pro Light"/>
              </a:rPr>
              <a:t>Mantenimiento clientes windows</a:t>
            </a:r>
            <a:endParaRPr lang="es-ES" sz="1100" b="0" strike="noStrike" spc="-1">
              <a:latin typeface="Arial"/>
            </a:endParaRPr>
          </a:p>
          <a:p>
            <a:pPr marL="171360" indent="-171000" algn="just">
              <a:lnSpc>
                <a:spcPct val="100000"/>
              </a:lnSpc>
              <a:buClr>
                <a:srgbClr val="1A3B47"/>
              </a:buClr>
              <a:buFont typeface="Arial,Sans-Serif"/>
              <a:buChar char="•"/>
            </a:pPr>
            <a:r>
              <a:rPr lang="es-ES" sz="1100" b="0" strike="noStrike" spc="-1">
                <a:solidFill>
                  <a:srgbClr val="1A3B47"/>
                </a:solidFill>
                <a:latin typeface="Soho Gothic Pro Light"/>
                <a:ea typeface="Soho Gothic Pro Light"/>
              </a:rPr>
              <a:t>Atención al usuario y resolucion de incidencias</a:t>
            </a:r>
            <a:endParaRPr lang="es-ES" sz="1100" b="0" strike="noStrike" spc="-1">
              <a:latin typeface="Arial"/>
            </a:endParaRPr>
          </a:p>
          <a:p>
            <a:pPr algn="just">
              <a:lnSpc>
                <a:spcPct val="100000"/>
              </a:lnSpc>
            </a:pPr>
            <a:endParaRPr lang="es-ES" sz="1100" b="0" strike="noStrike" spc="-1">
              <a:latin typeface="Arial"/>
            </a:endParaRPr>
          </a:p>
        </p:txBody>
      </p:sp>
      <p:sp>
        <p:nvSpPr>
          <p:cNvPr id="108" name="CuadroTexto 49_0"/>
          <p:cNvSpPr/>
          <p:nvPr/>
        </p:nvSpPr>
        <p:spPr>
          <a:xfrm>
            <a:off x="5040000" y="3240000"/>
            <a:ext cx="55152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0" strike="noStrike" spc="-1">
                <a:solidFill>
                  <a:srgbClr val="1A3B47"/>
                </a:solidFill>
                <a:latin typeface="Soho Gothic Pro Medium"/>
              </a:rPr>
              <a:t>2003</a:t>
            </a:r>
            <a:endParaRPr lang="es-ES" sz="900" b="0" strike="noStrike" spc="-1">
              <a:latin typeface="Arial"/>
            </a:endParaRPr>
          </a:p>
          <a:p>
            <a:pPr>
              <a:lnSpc>
                <a:spcPct val="100000"/>
              </a:lnSpc>
            </a:pPr>
            <a:r>
              <a:rPr lang="es-ES" sz="900" b="0" strike="noStrike" spc="-1">
                <a:solidFill>
                  <a:srgbClr val="1A3B47"/>
                </a:solidFill>
                <a:latin typeface="Soho Gothic Pro Medium"/>
              </a:rPr>
              <a:t>—</a:t>
            </a:r>
            <a:endParaRPr lang="es-ES" sz="900" b="0" strike="noStrike" spc="-1">
              <a:latin typeface="Arial"/>
            </a:endParaRPr>
          </a:p>
          <a:p>
            <a:pPr>
              <a:lnSpc>
                <a:spcPct val="100000"/>
              </a:lnSpc>
            </a:pPr>
            <a:r>
              <a:rPr lang="es-ES" sz="900" b="0" strike="noStrike" spc="-1">
                <a:solidFill>
                  <a:srgbClr val="1A3B47"/>
                </a:solidFill>
                <a:latin typeface="Soho Gothic Pro Medium"/>
              </a:rPr>
              <a:t>2011</a:t>
            </a:r>
            <a:endParaRPr lang="es-ES" sz="900" b="0" strike="noStrike" spc="-1">
              <a:latin typeface="Arial"/>
            </a:endParaRPr>
          </a:p>
        </p:txBody>
      </p:sp>
      <p:sp>
        <p:nvSpPr>
          <p:cNvPr id="109" name="CuadroTexto 37_0"/>
          <p:cNvSpPr/>
          <p:nvPr/>
        </p:nvSpPr>
        <p:spPr>
          <a:xfrm>
            <a:off x="9447480" y="3681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solidFill>
                  <a:srgbClr val="204856"/>
                </a:solidFill>
                <a:latin typeface="Soho Gothic Pro"/>
              </a:rPr>
              <a:t>IT</a:t>
            </a:r>
            <a:endParaRPr lang="es-ES" sz="1200" b="0" strike="noStrike" spc="-1">
              <a:latin typeface="Arial"/>
            </a:endParaRPr>
          </a:p>
        </p:txBody>
      </p:sp>
      <p:sp>
        <p:nvSpPr>
          <p:cNvPr id="110" name="CuadroTexto 52_0"/>
          <p:cNvSpPr/>
          <p:nvPr/>
        </p:nvSpPr>
        <p:spPr>
          <a:xfrm>
            <a:off x="9437040" y="4009680"/>
            <a:ext cx="2739600" cy="86177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n-US" sz="1000" b="1" strike="noStrike" spc="-1">
                <a:solidFill>
                  <a:srgbClr val="1A3B47"/>
                </a:solidFill>
                <a:latin typeface="Soho Gothic Pro Light"/>
                <a:ea typeface="Soho Gothic Pro Light"/>
              </a:rPr>
              <a:t>Programming languages</a:t>
            </a:r>
            <a:r>
              <a:rPr lang="en-US" sz="1000" b="0" strike="noStrike" spc="-1">
                <a:solidFill>
                  <a:srgbClr val="1A3B47"/>
                </a:solidFill>
                <a:latin typeface="Soho Gothic Pro Light"/>
                <a:ea typeface="Soho Gothic Pro Light"/>
              </a:rPr>
              <a:t>: </a:t>
            </a:r>
            <a:r>
              <a:rPr lang="en-US" sz="1000" b="0" i="1" strike="noStrike" spc="-1">
                <a:solidFill>
                  <a:srgbClr val="1A3B47"/>
                </a:solidFill>
                <a:latin typeface="Soho Gothic Pro Light"/>
                <a:ea typeface="Soho Gothic Pro Light"/>
              </a:rPr>
              <a:t>Python, Perl</a:t>
            </a:r>
            <a:endParaRPr lang="es-ES" sz="1000" b="0" strike="noStrike" spc="-1">
              <a:latin typeface="Arial"/>
            </a:endParaRPr>
          </a:p>
          <a:p>
            <a:pPr>
              <a:lnSpc>
                <a:spcPct val="100000"/>
              </a:lnSpc>
            </a:pPr>
            <a:r>
              <a:rPr lang="en-US" sz="1000" b="1" strike="noStrike" spc="-1">
                <a:solidFill>
                  <a:srgbClr val="1A3B47"/>
                </a:solidFill>
                <a:latin typeface="Soho Gothic Pro Light"/>
                <a:ea typeface="Soho Gothic Pro Light"/>
              </a:rPr>
              <a:t>Scripting language</a:t>
            </a:r>
            <a:r>
              <a:rPr lang="en-US" sz="1000" b="0" strike="noStrike" spc="-1">
                <a:solidFill>
                  <a:srgbClr val="1A3B47"/>
                </a:solidFill>
                <a:latin typeface="Soho Gothic Pro Light"/>
                <a:ea typeface="Soho Gothic Pro Light"/>
              </a:rPr>
              <a:t>: </a:t>
            </a:r>
            <a:r>
              <a:rPr lang="en-US" sz="1000" b="0" i="1" strike="noStrike" spc="-1">
                <a:solidFill>
                  <a:srgbClr val="1A3B47"/>
                </a:solidFill>
                <a:latin typeface="Soho Gothic Pro Light"/>
                <a:ea typeface="Soho Gothic Pro Light"/>
              </a:rPr>
              <a:t>Bash Scripting</a:t>
            </a:r>
            <a:endParaRPr lang="es-ES" sz="1000" b="0" strike="noStrike" spc="-1">
              <a:latin typeface="Arial"/>
            </a:endParaRPr>
          </a:p>
          <a:p>
            <a:pPr>
              <a:lnSpc>
                <a:spcPct val="100000"/>
              </a:lnSpc>
            </a:pPr>
            <a:r>
              <a:rPr lang="en-US" sz="1000" b="1" strike="noStrike" spc="-1">
                <a:solidFill>
                  <a:srgbClr val="1A3B47"/>
                </a:solidFill>
                <a:latin typeface="Soho Gothic Pro Light"/>
                <a:ea typeface="Soho Gothic Pro Light"/>
              </a:rPr>
              <a:t>Databases</a:t>
            </a:r>
            <a:r>
              <a:rPr lang="en-US" sz="1000" b="0" strike="noStrike" spc="-1">
                <a:solidFill>
                  <a:srgbClr val="1A3B47"/>
                </a:solidFill>
                <a:latin typeface="Soho Gothic Pro Light"/>
                <a:ea typeface="Soho Gothic Pro Light"/>
              </a:rPr>
              <a:t>: </a:t>
            </a:r>
            <a:r>
              <a:rPr lang="en-US" sz="1000" b="0" i="1" strike="noStrike" spc="-1">
                <a:solidFill>
                  <a:srgbClr val="1A3B47"/>
                </a:solidFill>
                <a:latin typeface="Soho Gothic Pro Light"/>
                <a:ea typeface="Soho Gothic Pro Light"/>
              </a:rPr>
              <a:t>Elasticsearch, PostgreSQL</a:t>
            </a:r>
            <a:endParaRPr lang="es-ES" sz="1000" b="0" strike="noStrike" spc="-1">
              <a:latin typeface="Arial"/>
            </a:endParaRPr>
          </a:p>
          <a:p>
            <a:pPr>
              <a:lnSpc>
                <a:spcPct val="100000"/>
              </a:lnSpc>
            </a:pPr>
            <a:r>
              <a:rPr lang="en-US" sz="1000" b="1" strike="noStrike" spc="-1">
                <a:solidFill>
                  <a:srgbClr val="1A3B47"/>
                </a:solidFill>
                <a:latin typeface="Soho Gothic Pro Light"/>
                <a:ea typeface="Soho Gothic Pro Light"/>
              </a:rPr>
              <a:t>DevOps</a:t>
            </a:r>
            <a:r>
              <a:rPr lang="en-US" sz="1000" b="0" strike="noStrike" spc="-1">
                <a:solidFill>
                  <a:srgbClr val="1A3B47"/>
                </a:solidFill>
                <a:latin typeface="Soho Gothic Pro Light"/>
                <a:ea typeface="Soho Gothic Pro Light"/>
              </a:rPr>
              <a:t>: </a:t>
            </a:r>
            <a:r>
              <a:rPr lang="en-US" sz="1000" b="0" i="1" strike="noStrike" spc="-1">
                <a:solidFill>
                  <a:srgbClr val="1A3B47"/>
                </a:solidFill>
                <a:latin typeface="Soho Gothic Pro Light"/>
                <a:ea typeface="Soho Gothic Pro Light"/>
              </a:rPr>
              <a:t>SVN, GIT, Jenkins</a:t>
            </a:r>
            <a:endParaRPr lang="es-ES" sz="1000" b="0" strike="noStrike" spc="-1">
              <a:latin typeface="Arial"/>
            </a:endParaRPr>
          </a:p>
          <a:p>
            <a:pPr>
              <a:lnSpc>
                <a:spcPct val="100000"/>
              </a:lnSpc>
            </a:pPr>
            <a:r>
              <a:rPr lang="en-US" sz="1000" b="1" strike="noStrike" spc="-1" err="1">
                <a:solidFill>
                  <a:srgbClr val="1A3B47"/>
                </a:solidFill>
                <a:latin typeface="Soho Gothic Pro Light"/>
                <a:ea typeface="Soho Gothic Pro Light"/>
              </a:rPr>
              <a:t>Atlassian</a:t>
            </a:r>
            <a:r>
              <a:rPr lang="en-US" sz="1000" b="1" strike="noStrike" spc="-1">
                <a:solidFill>
                  <a:srgbClr val="1A3B47"/>
                </a:solidFill>
                <a:latin typeface="Soho Gothic Pro Light"/>
                <a:ea typeface="Soho Gothic Pro Light"/>
              </a:rPr>
              <a:t> Tools</a:t>
            </a:r>
            <a:r>
              <a:rPr lang="en-US" sz="1000" b="0" strike="noStrike" spc="-1">
                <a:solidFill>
                  <a:srgbClr val="1A3B47"/>
                </a:solidFill>
                <a:latin typeface="Soho Gothic Pro Light"/>
                <a:ea typeface="Soho Gothic Pro Light"/>
              </a:rPr>
              <a:t>:  </a:t>
            </a:r>
            <a:r>
              <a:rPr lang="en-US" sz="1000" b="0" i="1" strike="noStrike" spc="-1">
                <a:solidFill>
                  <a:srgbClr val="1A3B47"/>
                </a:solidFill>
                <a:latin typeface="Soho Gothic Pro Light"/>
                <a:ea typeface="Soho Gothic Pro Light"/>
              </a:rPr>
              <a:t> Jira.</a:t>
            </a:r>
            <a:endParaRPr lang="es-ES" sz="1000" b="0" strike="noStrike" spc="-1">
              <a:latin typeface="Arial"/>
            </a:endParaRPr>
          </a:p>
        </p:txBody>
      </p:sp>
      <p:sp>
        <p:nvSpPr>
          <p:cNvPr id="111" name="CuadroTexto 50_0"/>
          <p:cNvSpPr/>
          <p:nvPr/>
        </p:nvSpPr>
        <p:spPr>
          <a:xfrm>
            <a:off x="9536040" y="2031480"/>
            <a:ext cx="2640600" cy="86177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b="0" strike="noStrike" spc="-1">
                <a:solidFill>
                  <a:srgbClr val="1A3B47"/>
                </a:solidFill>
                <a:latin typeface="Soho Gothic Pro Light"/>
                <a:ea typeface="Soho Gothic Pro Light"/>
              </a:rPr>
              <a:t>2019 | </a:t>
            </a:r>
            <a:r>
              <a:rPr lang="es-ES" sz="1000" b="0" strike="noStrike" spc="-1" err="1">
                <a:solidFill>
                  <a:srgbClr val="1A3B47"/>
                </a:solidFill>
                <a:latin typeface="Soho Gothic Pro Light"/>
                <a:ea typeface="Soho Gothic Pro Light"/>
              </a:rPr>
              <a:t>DevOps</a:t>
            </a:r>
            <a:r>
              <a:rPr lang="es-ES" sz="1000" b="0" strike="noStrike" spc="-1">
                <a:solidFill>
                  <a:srgbClr val="1A3B47"/>
                </a:solidFill>
                <a:latin typeface="Soho Gothic Pro Light"/>
                <a:ea typeface="Soho Gothic Pro Light"/>
              </a:rPr>
              <a:t> </a:t>
            </a:r>
            <a:r>
              <a:rPr lang="es-ES" sz="1000" b="0" strike="noStrike" spc="-1" err="1">
                <a:solidFill>
                  <a:srgbClr val="1A3B47"/>
                </a:solidFill>
                <a:latin typeface="Soho Gothic Pro Light"/>
                <a:ea typeface="Soho Gothic Pro Light"/>
              </a:rPr>
              <a:t>Fundaments</a:t>
            </a:r>
            <a:r>
              <a:rPr lang="es-ES" sz="1000" b="0" strike="noStrike" spc="-1">
                <a:solidFill>
                  <a:srgbClr val="1A3B47"/>
                </a:solidFill>
                <a:latin typeface="Soho Gothic Pro Light"/>
                <a:ea typeface="Soho Gothic Pro Light"/>
              </a:rPr>
              <a:t> (15h)</a:t>
            </a:r>
            <a:endParaRPr lang="es-ES" sz="1000" b="0" strike="noStrike" spc="-1">
              <a:latin typeface="Arial"/>
            </a:endParaRPr>
          </a:p>
          <a:p>
            <a:pPr>
              <a:lnSpc>
                <a:spcPct val="100000"/>
              </a:lnSpc>
            </a:pPr>
            <a:r>
              <a:rPr lang="es-ES" sz="1000" b="0" strike="noStrike" spc="-1">
                <a:solidFill>
                  <a:srgbClr val="1A3B47"/>
                </a:solidFill>
                <a:latin typeface="Soho Gothic Pro Light"/>
                <a:ea typeface="Soho Gothic Pro Light"/>
              </a:rPr>
              <a:t>2019 | </a:t>
            </a:r>
            <a:r>
              <a:rPr lang="es-ES" sz="1000" b="0" strike="noStrike" spc="-1" err="1">
                <a:solidFill>
                  <a:srgbClr val="1A3B47"/>
                </a:solidFill>
                <a:latin typeface="Soho Gothic Pro Light"/>
                <a:ea typeface="Soho Gothic Pro Light"/>
              </a:rPr>
              <a:t>Docker</a:t>
            </a:r>
            <a:r>
              <a:rPr lang="es-ES" sz="1000" b="0" strike="noStrike" spc="-1">
                <a:solidFill>
                  <a:srgbClr val="1A3B47"/>
                </a:solidFill>
                <a:latin typeface="Soho Gothic Pro Light"/>
                <a:ea typeface="Soho Gothic Pro Light"/>
              </a:rPr>
              <a:t> &amp; </a:t>
            </a:r>
            <a:r>
              <a:rPr lang="es-ES" sz="1000" b="0" strike="noStrike" spc="-1" err="1">
                <a:solidFill>
                  <a:srgbClr val="1A3B47"/>
                </a:solidFill>
                <a:latin typeface="Soho Gothic Pro Light"/>
                <a:ea typeface="Soho Gothic Pro Light"/>
              </a:rPr>
              <a:t>Kubernetes</a:t>
            </a:r>
            <a:r>
              <a:rPr lang="es-ES" sz="1000" b="0" strike="noStrike" spc="-1">
                <a:solidFill>
                  <a:srgbClr val="1A3B47"/>
                </a:solidFill>
                <a:latin typeface="Soho Gothic Pro Light"/>
                <a:ea typeface="Soho Gothic Pro Light"/>
              </a:rPr>
              <a:t> (25h)</a:t>
            </a:r>
            <a:endParaRPr lang="es-ES" sz="1000" b="0" strike="noStrike" spc="-1">
              <a:latin typeface="Arial"/>
            </a:endParaRPr>
          </a:p>
          <a:p>
            <a:pPr>
              <a:lnSpc>
                <a:spcPct val="100000"/>
              </a:lnSpc>
            </a:pPr>
            <a:r>
              <a:rPr lang="es-ES" sz="1000" b="0" strike="noStrike" spc="-1">
                <a:solidFill>
                  <a:srgbClr val="1A3B47"/>
                </a:solidFill>
                <a:latin typeface="Soho Gothic Pro Light"/>
                <a:ea typeface="Soho Gothic Pro Light"/>
              </a:rPr>
              <a:t>2018 | </a:t>
            </a:r>
            <a:r>
              <a:rPr lang="es-ES" sz="1000" b="0" strike="noStrike" spc="-1" err="1">
                <a:solidFill>
                  <a:srgbClr val="1A3B47"/>
                </a:solidFill>
                <a:latin typeface="Soho Gothic Pro Light"/>
                <a:ea typeface="Soho Gothic Pro Light"/>
              </a:rPr>
              <a:t>Advanced</a:t>
            </a:r>
            <a:r>
              <a:rPr lang="es-ES" sz="1000" b="0" strike="noStrike" spc="-1">
                <a:solidFill>
                  <a:srgbClr val="1A3B47"/>
                </a:solidFill>
                <a:latin typeface="Soho Gothic Pro Light"/>
                <a:ea typeface="Soho Gothic Pro Light"/>
              </a:rPr>
              <a:t> </a:t>
            </a:r>
            <a:r>
              <a:rPr lang="es-ES" sz="1000" b="0" strike="noStrike" spc="-1" err="1">
                <a:solidFill>
                  <a:srgbClr val="1A3B47"/>
                </a:solidFill>
                <a:latin typeface="Soho Gothic Pro Light"/>
                <a:ea typeface="Soho Gothic Pro Light"/>
              </a:rPr>
              <a:t>Ansible</a:t>
            </a:r>
            <a:r>
              <a:rPr lang="es-ES" sz="1000" b="0" strike="noStrike" spc="-1">
                <a:solidFill>
                  <a:srgbClr val="1A3B47"/>
                </a:solidFill>
                <a:latin typeface="Soho Gothic Pro Light"/>
                <a:ea typeface="Soho Gothic Pro Light"/>
              </a:rPr>
              <a:t> </a:t>
            </a:r>
            <a:r>
              <a:rPr lang="es-ES" sz="1000" b="0" strike="noStrike" spc="-1" err="1">
                <a:solidFill>
                  <a:srgbClr val="1A3B47"/>
                </a:solidFill>
                <a:latin typeface="Soho Gothic Pro Light"/>
                <a:ea typeface="Soho Gothic Pro Light"/>
              </a:rPr>
              <a:t>Course</a:t>
            </a:r>
            <a:r>
              <a:rPr lang="es-ES" sz="1000" b="0" strike="noStrike" spc="-1">
                <a:solidFill>
                  <a:srgbClr val="1A3B47"/>
                </a:solidFill>
                <a:latin typeface="Soho Gothic Pro Light"/>
                <a:ea typeface="Soho Gothic Pro Light"/>
              </a:rPr>
              <a:t> (30h)</a:t>
            </a:r>
            <a:endParaRPr lang="es-ES" sz="1000" b="0" strike="noStrike" spc="-1">
              <a:latin typeface="Arial"/>
            </a:endParaRPr>
          </a:p>
          <a:p>
            <a:pPr>
              <a:lnSpc>
                <a:spcPct val="100000"/>
              </a:lnSpc>
            </a:pPr>
            <a:r>
              <a:rPr lang="es-ES" sz="1000" b="0" strike="noStrike" spc="-1">
                <a:solidFill>
                  <a:srgbClr val="1A3B47"/>
                </a:solidFill>
                <a:latin typeface="Soho Gothic Pro Light"/>
                <a:ea typeface="Soho Gothic Pro Light"/>
              </a:rPr>
              <a:t>2018 | </a:t>
            </a:r>
            <a:r>
              <a:rPr lang="es-ES" sz="1000" b="0" strike="noStrike" spc="-1" err="1">
                <a:solidFill>
                  <a:srgbClr val="1A3B47"/>
                </a:solidFill>
                <a:latin typeface="Soho Gothic Pro Light"/>
                <a:ea typeface="Soho Gothic Pro Light"/>
              </a:rPr>
              <a:t>Design</a:t>
            </a:r>
            <a:r>
              <a:rPr lang="es-ES" sz="1000" b="0" strike="noStrike" spc="-1">
                <a:solidFill>
                  <a:srgbClr val="1A3B47"/>
                </a:solidFill>
                <a:latin typeface="Soho Gothic Pro Light"/>
                <a:ea typeface="Soho Gothic Pro Light"/>
              </a:rPr>
              <a:t> &amp; </a:t>
            </a:r>
            <a:r>
              <a:rPr lang="es-ES" sz="1000" b="0" strike="noStrike" spc="-1" err="1">
                <a:solidFill>
                  <a:srgbClr val="1A3B47"/>
                </a:solidFill>
                <a:latin typeface="Soho Gothic Pro Light"/>
                <a:ea typeface="Soho Gothic Pro Light"/>
              </a:rPr>
              <a:t>Architecture</a:t>
            </a:r>
            <a:r>
              <a:rPr lang="es-ES" sz="1000" b="0" strike="noStrike" spc="-1">
                <a:solidFill>
                  <a:srgbClr val="1A3B47"/>
                </a:solidFill>
                <a:latin typeface="Soho Gothic Pro Light"/>
                <a:ea typeface="Soho Gothic Pro Light"/>
              </a:rPr>
              <a:t> of </a:t>
            </a:r>
            <a:r>
              <a:rPr lang="es-ES" sz="1000" b="0" strike="noStrike" spc="-1" err="1">
                <a:solidFill>
                  <a:srgbClr val="1A3B47"/>
                </a:solidFill>
                <a:latin typeface="Soho Gothic Pro Light"/>
                <a:ea typeface="Soho Gothic Pro Light"/>
              </a:rPr>
              <a:t>Solutions</a:t>
            </a:r>
            <a:r>
              <a:rPr lang="es-ES" sz="1000" b="0" strike="noStrike" spc="-1">
                <a:solidFill>
                  <a:srgbClr val="1A3B47"/>
                </a:solidFill>
                <a:latin typeface="Soho Gothic Pro Light"/>
                <a:ea typeface="Soho Gothic Pro Light"/>
              </a:rPr>
              <a:t> </a:t>
            </a:r>
            <a:r>
              <a:rPr lang="es-ES" sz="1000" b="0" strike="noStrike" spc="-1" err="1">
                <a:solidFill>
                  <a:srgbClr val="1A3B47"/>
                </a:solidFill>
                <a:latin typeface="Soho Gothic Pro Light"/>
                <a:ea typeface="Soho Gothic Pro Light"/>
              </a:rPr>
              <a:t>with</a:t>
            </a:r>
            <a:r>
              <a:rPr lang="es-ES" sz="1000" b="0" strike="noStrike" spc="-1">
                <a:solidFill>
                  <a:srgbClr val="1A3B47"/>
                </a:solidFill>
                <a:latin typeface="Soho Gothic Pro Light"/>
                <a:ea typeface="Soho Gothic Pro Light"/>
              </a:rPr>
              <a:t> </a:t>
            </a:r>
            <a:r>
              <a:rPr lang="es-ES" sz="1000" b="0" strike="noStrike" spc="-1" err="1">
                <a:solidFill>
                  <a:srgbClr val="1A3B47"/>
                </a:solidFill>
                <a:latin typeface="Soho Gothic Pro Light"/>
                <a:ea typeface="Soho Gothic Pro Light"/>
              </a:rPr>
              <a:t>Hadoop</a:t>
            </a:r>
            <a:r>
              <a:rPr lang="es-ES" sz="1000" b="0" strike="noStrike" spc="-1">
                <a:solidFill>
                  <a:srgbClr val="1A3B47"/>
                </a:solidFill>
                <a:latin typeface="Soho Gothic Pro Light"/>
                <a:ea typeface="Soho Gothic Pro Light"/>
              </a:rPr>
              <a:t>, </a:t>
            </a:r>
            <a:r>
              <a:rPr lang="es-ES" sz="1000" b="0" strike="noStrike" spc="-1" err="1">
                <a:solidFill>
                  <a:srgbClr val="1A3B47"/>
                </a:solidFill>
                <a:latin typeface="Soho Gothic Pro Light"/>
                <a:ea typeface="Soho Gothic Pro Light"/>
              </a:rPr>
              <a:t>Spark</a:t>
            </a:r>
            <a:r>
              <a:rPr lang="es-ES" sz="1000" b="0" strike="noStrike" spc="-1">
                <a:solidFill>
                  <a:srgbClr val="1A3B47"/>
                </a:solidFill>
                <a:latin typeface="Soho Gothic Pro Light"/>
                <a:ea typeface="Soho Gothic Pro Light"/>
              </a:rPr>
              <a:t> and R</a:t>
            </a:r>
            <a:endParaRPr lang="es-ES" sz="1000" b="0" strike="noStrike" spc="-1">
              <a:latin typeface="Arial"/>
            </a:endParaRPr>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solidFill>
                  <a:srgbClr val="204856"/>
                </a:solidFill>
                <a:latin typeface="Soho Gothic Pro"/>
              </a:rPr>
              <a:t>Educación</a:t>
            </a:r>
            <a:endParaRPr lang="es-ES" sz="1200" b="0" strike="noStrike" spc="-1">
              <a:latin typeface="Arial"/>
            </a:endParaRPr>
          </a:p>
        </p:txBody>
      </p:sp>
      <p:sp>
        <p:nvSpPr>
          <p:cNvPr id="113" name="CuadroTexto 70_0"/>
          <p:cNvSpPr/>
          <p:nvPr/>
        </p:nvSpPr>
        <p:spPr>
          <a:xfrm>
            <a:off x="9827280" y="488520"/>
            <a:ext cx="2349360" cy="55399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b="1" strike="noStrike" spc="-1">
                <a:solidFill>
                  <a:srgbClr val="1A3B47"/>
                </a:solidFill>
                <a:latin typeface="Soho Gothic Pro Light"/>
                <a:ea typeface="Soho Gothic Pro Light"/>
              </a:rPr>
              <a:t>TS: Administración </a:t>
            </a:r>
            <a:r>
              <a:rPr/>
              <a:t/>
            </a:r>
            <a:br>
              <a:rPr/>
            </a:br>
            <a:r>
              <a:rPr lang="es-ES" sz="1000" b="1" strike="noStrike" spc="-1">
                <a:solidFill>
                  <a:srgbClr val="1A3B47"/>
                </a:solidFill>
                <a:latin typeface="Soho Gothic Pro Light"/>
                <a:ea typeface="Soho Gothic Pro Light"/>
              </a:rPr>
              <a:t>de Sistemas Informáticos</a:t>
            </a:r>
            <a:endParaRPr lang="es-ES" sz="1000" b="0" strike="noStrike" spc="-1">
              <a:latin typeface="Arial"/>
            </a:endParaRPr>
          </a:p>
          <a:p>
            <a:pPr>
              <a:lnSpc>
                <a:spcPct val="100000"/>
              </a:lnSpc>
            </a:pPr>
            <a:r>
              <a:rPr lang="es-ES" sz="1000" b="0" strike="noStrike" spc="-1">
                <a:solidFill>
                  <a:srgbClr val="1A3B47"/>
                </a:solidFill>
                <a:latin typeface="Soho Gothic Pro Light"/>
                <a:ea typeface="Soho Gothic Pro Light"/>
              </a:rPr>
              <a:t>IES </a:t>
            </a:r>
            <a:r>
              <a:rPr lang="es-ES" sz="1000" b="0" strike="noStrike" spc="-1" err="1">
                <a:solidFill>
                  <a:srgbClr val="1A3B47"/>
                </a:solidFill>
                <a:latin typeface="Soho Gothic Pro Light"/>
                <a:ea typeface="Soho Gothic Pro Light"/>
              </a:rPr>
              <a:t>Rodeira</a:t>
            </a:r>
            <a:r>
              <a:rPr lang="es-ES" sz="1000" b="0" strike="noStrike" spc="-1">
                <a:solidFill>
                  <a:srgbClr val="1A3B47"/>
                </a:solidFill>
                <a:latin typeface="Soho Gothic Pro Light"/>
                <a:ea typeface="Soho Gothic Pro Light"/>
              </a:rPr>
              <a:t>, Cangas do Morrazo</a:t>
            </a:r>
            <a:endParaRPr lang="es-ES" sz="1000" b="0" strike="noStrike" spc="-1">
              <a:latin typeface="Arial"/>
            </a:endParaRPr>
          </a:p>
        </p:txBody>
      </p:sp>
      <p:sp>
        <p:nvSpPr>
          <p:cNvPr id="114" name="CuadroTexto 73_0"/>
          <p:cNvSpPr/>
          <p:nvPr/>
        </p:nvSpPr>
        <p:spPr>
          <a:xfrm>
            <a:off x="9430200" y="456480"/>
            <a:ext cx="55152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0" strike="noStrike" spc="-1">
                <a:solidFill>
                  <a:srgbClr val="1A3B47"/>
                </a:solidFill>
                <a:latin typeface="Soho Gothic Pro Medium"/>
              </a:rPr>
              <a:t>1998</a:t>
            </a:r>
            <a:endParaRPr lang="es-ES" sz="900" b="0" strike="noStrike" spc="-1">
              <a:latin typeface="Arial"/>
            </a:endParaRPr>
          </a:p>
          <a:p>
            <a:pPr>
              <a:lnSpc>
                <a:spcPct val="100000"/>
              </a:lnSpc>
            </a:pPr>
            <a:r>
              <a:rPr lang="es-ES" sz="900" b="0" strike="noStrike" spc="-1">
                <a:solidFill>
                  <a:srgbClr val="1A3B47"/>
                </a:solidFill>
                <a:latin typeface="Soho Gothic Pro Medium"/>
              </a:rPr>
              <a:t>—</a:t>
            </a:r>
            <a:endParaRPr lang="es-ES" sz="900" b="0" strike="noStrike" spc="-1">
              <a:latin typeface="Arial"/>
            </a:endParaRPr>
          </a:p>
          <a:p>
            <a:pPr>
              <a:lnSpc>
                <a:spcPct val="100000"/>
              </a:lnSpc>
            </a:pPr>
            <a:r>
              <a:rPr lang="es-ES" sz="900" b="0" strike="noStrike" spc="-1">
                <a:solidFill>
                  <a:srgbClr val="1A3B47"/>
                </a:solidFill>
                <a:latin typeface="Soho Gothic Pro Medium"/>
              </a:rPr>
              <a:t>2001</a:t>
            </a:r>
            <a:endParaRPr lang="es-ES" sz="900" b="0" strike="noStrike" spc="-1">
              <a:latin typeface="Arial"/>
            </a:endParaRPr>
          </a:p>
        </p:txBody>
      </p:sp>
      <p:sp>
        <p:nvSpPr>
          <p:cNvPr id="115" name="CuadroTexto 45_2"/>
          <p:cNvSpPr/>
          <p:nvPr/>
        </p:nvSpPr>
        <p:spPr>
          <a:xfrm>
            <a:off x="685800" y="3266640"/>
            <a:ext cx="3848400" cy="296859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trike="noStrike" spc="-1">
                <a:solidFill>
                  <a:srgbClr val="1A3B47"/>
                </a:solidFill>
                <a:latin typeface="Soho Gothic Pro Light"/>
              </a:rPr>
              <a:t>SIVSA Soluciones (Vigo, España)</a:t>
            </a:r>
            <a:endParaRPr lang="es-ES" sz="1100" b="0" strike="noStrike" spc="-1">
              <a:latin typeface="Arial"/>
            </a:endParaRPr>
          </a:p>
          <a:p>
            <a:pPr algn="just">
              <a:lnSpc>
                <a:spcPct val="100000"/>
              </a:lnSpc>
            </a:pPr>
            <a:r>
              <a:rPr lang="en-US" sz="1100" b="0" strike="noStrike" spc="-1">
                <a:solidFill>
                  <a:srgbClr val="1A3B47"/>
                </a:solidFill>
                <a:latin typeface="Soho Gothic Pro Light"/>
              </a:rPr>
              <a:t>Big Data Engineer</a:t>
            </a:r>
            <a:endParaRPr lang="es-ES" sz="1100" b="0" strike="noStrike"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
              <a:buChar char="•"/>
            </a:pPr>
            <a:r>
              <a:rPr lang="es-ES" sz="1100" b="0" strike="noStrike" spc="-1">
                <a:solidFill>
                  <a:srgbClr val="1A3B47"/>
                </a:solidFill>
                <a:latin typeface="Soho Gothic Pro Light"/>
              </a:rPr>
              <a:t>Análisis del sistema, documentación, pruebas, implementación y soporte al usuario para los requisitos de Big Data para PSA (ahora </a:t>
            </a:r>
            <a:r>
              <a:rPr lang="es-ES" sz="1100" b="0" strike="noStrike" spc="-1" err="1">
                <a:solidFill>
                  <a:srgbClr val="1A3B47"/>
                </a:solidFill>
                <a:latin typeface="Soho Gothic Pro Light"/>
              </a:rPr>
              <a:t>Stellantis</a:t>
            </a:r>
            <a:r>
              <a:rPr lang="es-ES" sz="1100" b="0" strike="noStrike" spc="-1">
                <a:solidFill>
                  <a:srgbClr val="1A3B47"/>
                </a:solidFill>
                <a:latin typeface="Soho Gothic Pro Light"/>
              </a:rPr>
              <a:t>).</a:t>
            </a:r>
            <a:endParaRPr lang="es-ES" sz="1100" b="0" strike="noStrike" spc="-1">
              <a:latin typeface="Arial"/>
            </a:endParaRPr>
          </a:p>
          <a:p>
            <a:pPr marL="171360" indent="-171000" algn="just">
              <a:lnSpc>
                <a:spcPct val="100000"/>
              </a:lnSpc>
              <a:buClr>
                <a:srgbClr val="1A3B47"/>
              </a:buClr>
              <a:buFont typeface="Arial"/>
              <a:buChar char="•"/>
            </a:pPr>
            <a:r>
              <a:rPr lang="es-ES" sz="1100" b="0" strike="noStrike" spc="-1">
                <a:solidFill>
                  <a:srgbClr val="1A3B47"/>
                </a:solidFill>
                <a:latin typeface="Soho Gothic Pro Light"/>
              </a:rPr>
              <a:t>Administración del stack </a:t>
            </a:r>
            <a:r>
              <a:rPr lang="es-ES" sz="1100" spc="-1">
                <a:solidFill>
                  <a:srgbClr val="1A3B47"/>
                </a:solidFill>
              </a:rPr>
              <a:t>Elasticsearch</a:t>
            </a:r>
            <a:r>
              <a:rPr lang="es-ES" sz="1100" b="0" strike="noStrike" spc="-1">
                <a:solidFill>
                  <a:srgbClr val="1A3B47"/>
                </a:solidFill>
                <a:latin typeface="Soho Gothic Pro Light"/>
              </a:rPr>
              <a:t>. Despliegue, configuración y mantenimiento de los </a:t>
            </a:r>
            <a:r>
              <a:rPr lang="es-ES" sz="1100" b="0" strike="noStrike" spc="-1" err="1">
                <a:solidFill>
                  <a:srgbClr val="1A3B47"/>
                </a:solidFill>
                <a:latin typeface="Soho Gothic Pro Light"/>
              </a:rPr>
              <a:t>clusters</a:t>
            </a:r>
            <a:r>
              <a:rPr lang="es-ES" sz="1100" b="0" strike="noStrike" spc="-1">
                <a:solidFill>
                  <a:srgbClr val="1A3B47"/>
                </a:solidFill>
                <a:latin typeface="Soho Gothic Pro Light"/>
              </a:rPr>
              <a:t> de Elasticsearch. Paneles básicos de Kibana. Despliegue y configuración de clientes e indexadores Logstash. </a:t>
            </a:r>
            <a:r>
              <a:rPr lang="es-ES" sz="1100" b="0" strike="noStrike" spc="-1" err="1">
                <a:solidFill>
                  <a:srgbClr val="1A3B47"/>
                </a:solidFill>
                <a:latin typeface="Soho Gothic Pro Light"/>
              </a:rPr>
              <a:t>Github</a:t>
            </a:r>
            <a:r>
              <a:rPr lang="es-ES" sz="1100" b="0" strike="noStrike" spc="-1">
                <a:solidFill>
                  <a:srgbClr val="1A3B47"/>
                </a:solidFill>
                <a:latin typeface="Soho Gothic Pro Light"/>
              </a:rPr>
              <a:t> para control de versiones.</a:t>
            </a:r>
            <a:endParaRPr lang="es-ES" sz="1100" b="0" strike="noStrike" spc="-1">
              <a:latin typeface="Arial"/>
            </a:endParaRPr>
          </a:p>
          <a:p>
            <a:pPr marL="171360" indent="-171000" algn="just">
              <a:lnSpc>
                <a:spcPct val="100000"/>
              </a:lnSpc>
              <a:buClr>
                <a:srgbClr val="1A3B47"/>
              </a:buClr>
              <a:buFont typeface="Arial"/>
              <a:buChar char="•"/>
            </a:pPr>
            <a:r>
              <a:rPr lang="es-ES" sz="1100" b="0" strike="noStrike" spc="-1">
                <a:solidFill>
                  <a:srgbClr val="1A3B47"/>
                </a:solidFill>
                <a:latin typeface="Soho Gothic Pro Light"/>
              </a:rPr>
              <a:t>Desarrollo de scripts Python para tareas de mantenimiento y scripts de despliegue </a:t>
            </a:r>
            <a:r>
              <a:rPr lang="es-ES" sz="1100" b="0" strike="noStrike" spc="-1" err="1">
                <a:solidFill>
                  <a:srgbClr val="1A3B47"/>
                </a:solidFill>
                <a:latin typeface="Soho Gothic Pro Light"/>
              </a:rPr>
              <a:t>Ansible</a:t>
            </a:r>
            <a:r>
              <a:rPr lang="es-ES" sz="1100" b="0" strike="noStrike" spc="-1">
                <a:solidFill>
                  <a:srgbClr val="1A3B47"/>
                </a:solidFill>
                <a:latin typeface="Soho Gothic Pro Light"/>
              </a:rPr>
              <a:t>.</a:t>
            </a:r>
            <a:endParaRPr lang="es-ES" sz="1100" b="0" strike="noStrike" spc="-1">
              <a:latin typeface="Arial"/>
            </a:endParaRPr>
          </a:p>
          <a:p>
            <a:pPr marL="171360" indent="-171000" algn="just">
              <a:lnSpc>
                <a:spcPct val="100000"/>
              </a:lnSpc>
              <a:buClr>
                <a:srgbClr val="1A3B47"/>
              </a:buClr>
              <a:buFont typeface="Arial"/>
              <a:buChar char="•"/>
            </a:pPr>
            <a:r>
              <a:rPr lang="es-ES" sz="1100" b="0" strike="noStrike" spc="-1">
                <a:solidFill>
                  <a:srgbClr val="1A3B47"/>
                </a:solidFill>
                <a:latin typeface="Soho Gothic Pro Light"/>
              </a:rPr>
              <a:t>Soporte de nivel 3 (resolución de incidentes) de servidores de aplicaciones Java (</a:t>
            </a:r>
            <a:r>
              <a:rPr lang="es-ES" sz="1100" b="0" strike="noStrike" spc="-1" err="1">
                <a:solidFill>
                  <a:srgbClr val="1A3B47"/>
                </a:solidFill>
                <a:latin typeface="Soho Gothic Pro Light"/>
              </a:rPr>
              <a:t>Tomcat</a:t>
            </a:r>
            <a:r>
              <a:rPr lang="es-ES" sz="1100" b="0" strike="noStrike" spc="-1">
                <a:solidFill>
                  <a:srgbClr val="1A3B47"/>
                </a:solidFill>
                <a:latin typeface="Soho Gothic Pro Light"/>
              </a:rPr>
              <a:t>, </a:t>
            </a:r>
            <a:r>
              <a:rPr lang="es-ES" sz="1100" b="0" strike="noStrike" spc="-1" err="1">
                <a:solidFill>
                  <a:srgbClr val="1A3B47"/>
                </a:solidFill>
                <a:latin typeface="Soho Gothic Pro Light"/>
              </a:rPr>
              <a:t>Websphere</a:t>
            </a:r>
            <a:r>
              <a:rPr lang="es-ES" sz="1100" b="0" strike="noStrike" spc="-1">
                <a:solidFill>
                  <a:srgbClr val="1A3B47"/>
                </a:solidFill>
                <a:latin typeface="Soho Gothic Pro Light"/>
              </a:rPr>
              <a:t>, </a:t>
            </a:r>
            <a:r>
              <a:rPr lang="es-ES" sz="1100" b="0" strike="noStrike" spc="-1" err="1">
                <a:solidFill>
                  <a:srgbClr val="1A3B47"/>
                </a:solidFill>
                <a:latin typeface="Soho Gothic Pro Light"/>
              </a:rPr>
              <a:t>Glassfish</a:t>
            </a:r>
            <a:r>
              <a:rPr lang="es-ES" sz="1100" b="0" strike="noStrike" spc="-1">
                <a:solidFill>
                  <a:srgbClr val="1A3B47"/>
                </a:solidFill>
                <a:latin typeface="Soho Gothic Pro Light"/>
              </a:rPr>
              <a:t>).</a:t>
            </a:r>
            <a:endParaRPr lang="es-ES" sz="1100" b="0" strike="noStrike" spc="-1">
              <a:latin typeface="Arial"/>
            </a:endParaRPr>
          </a:p>
          <a:p>
            <a:pPr algn="just">
              <a:lnSpc>
                <a:spcPct val="100000"/>
              </a:lnSpc>
            </a:pPr>
            <a:endParaRPr lang="es-ES" sz="1100" b="0" strike="noStrike" spc="-1">
              <a:latin typeface="Arial"/>
            </a:endParaRPr>
          </a:p>
          <a:p>
            <a:pPr algn="just">
              <a:lnSpc>
                <a:spcPct val="100000"/>
              </a:lnSpc>
            </a:pPr>
            <a:endParaRPr lang="es-ES" sz="1100" b="0" strike="noStrike" spc="-1">
              <a:latin typeface="Arial"/>
            </a:endParaRPr>
          </a:p>
        </p:txBody>
      </p:sp>
      <p:sp>
        <p:nvSpPr>
          <p:cNvPr id="116" name="CuadroTexto 48_2"/>
          <p:cNvSpPr/>
          <p:nvPr/>
        </p:nvSpPr>
        <p:spPr>
          <a:xfrm>
            <a:off x="240120" y="2556720"/>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solidFill>
                  <a:srgbClr val="1A3B47"/>
                </a:solidFill>
                <a:latin typeface="Soho Gothic Pro Light"/>
                <a:ea typeface="Soho Gothic Pro Light"/>
              </a:rPr>
              <a:t>2016</a:t>
            </a:r>
            <a:endParaRPr lang="es-ES" sz="900" b="1" strike="noStrike" spc="-1">
              <a:latin typeface="Arial"/>
            </a:endParaRPr>
          </a:p>
          <a:p>
            <a:pPr>
              <a:lnSpc>
                <a:spcPct val="100000"/>
              </a:lnSpc>
            </a:pPr>
            <a:r>
              <a:rPr lang="es-ES" sz="900" b="1" strike="noStrike" spc="-1">
                <a:solidFill>
                  <a:srgbClr val="1A3B47"/>
                </a:solidFill>
                <a:latin typeface="Soho Gothic Pro Light"/>
                <a:ea typeface="Soho Gothic Pro Light"/>
              </a:rPr>
              <a:t>—</a:t>
            </a:r>
            <a:endParaRPr lang="es-ES" sz="900" b="1" strike="noStrike" spc="-1">
              <a:latin typeface="Arial"/>
            </a:endParaRPr>
          </a:p>
          <a:p>
            <a:pPr>
              <a:lnSpc>
                <a:spcPct val="100000"/>
              </a:lnSpc>
            </a:pPr>
            <a:r>
              <a:rPr lang="es-ES" sz="900" b="1" strike="noStrike" spc="-1">
                <a:solidFill>
                  <a:srgbClr val="1A3B47"/>
                </a:solidFill>
                <a:latin typeface="Soho Gothic Pro Light"/>
                <a:ea typeface="Soho Gothic Pro Light"/>
              </a:rPr>
              <a:t>2021</a:t>
            </a:r>
            <a:endParaRPr lang="es-ES" sz="900" b="1" strike="noStrike" spc="-1">
              <a:latin typeface="Arial"/>
            </a:endParaRPr>
          </a:p>
        </p:txBody>
      </p:sp>
      <p:sp>
        <p:nvSpPr>
          <p:cNvPr id="117" name="CuadroTexto 33_0"/>
          <p:cNvSpPr/>
          <p:nvPr/>
        </p:nvSpPr>
        <p:spPr>
          <a:xfrm>
            <a:off x="9540000" y="1620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solidFill>
                  <a:srgbClr val="204856"/>
                </a:solidFill>
                <a:latin typeface="Soho Gothic Pro Light"/>
              </a:rPr>
              <a:t>Cursos Relevantes</a:t>
            </a:r>
            <a:endParaRPr lang="es-ES" sz="1200" b="0" strike="noStrike" spc="-1">
              <a:latin typeface="Arial"/>
            </a:endParaRPr>
          </a:p>
        </p:txBody>
      </p:sp>
      <p:sp>
        <p:nvSpPr>
          <p:cNvPr id="25" name="CuadroTexto 30_0"/>
          <p:cNvSpPr/>
          <p:nvPr/>
        </p:nvSpPr>
        <p:spPr>
          <a:xfrm>
            <a:off x="5478586" y="152640"/>
            <a:ext cx="3923576"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Gonzalez Martinez, Jose Ramon</a:t>
            </a:r>
            <a:endParaRPr lang="es-ES" sz="2000" b="0" strike="noStrike" spc="-1">
              <a:solidFill>
                <a:schemeClr val="bg1"/>
              </a:solidFill>
              <a:latin typeface="Arial"/>
            </a:endParaRPr>
          </a:p>
        </p:txBody>
      </p:sp>
    </p:spTree>
    <p:extLst>
      <p:ext uri="{BB962C8B-B14F-4D97-AF65-F5344CB8AC3E}">
        <p14:creationId xmlns:p14="http://schemas.microsoft.com/office/powerpoint/2010/main" val="5695069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924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605422"/>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marL="0" lvl="1" algn="just" defTabSz="914377">
              <a:buClr>
                <a:srgbClr val="1A3B47"/>
              </a:buClr>
              <a:defRPr b="0" i="0"/>
            </a:pPr>
            <a:r>
              <a:rPr lang="es-ES" sz="1200" spc="-1">
                <a:ea typeface="Soho Gothic Pro Light"/>
              </a:rPr>
              <a:t>Ingeniero y Arquitecto en </a:t>
            </a:r>
            <a:r>
              <a:rPr lang="es-ES" sz="1200" spc="-1" err="1">
                <a:ea typeface="Soho Gothic Pro Light"/>
              </a:rPr>
              <a:t>Microservicios</a:t>
            </a:r>
            <a:r>
              <a:rPr lang="es-ES" sz="1200" spc="-1">
                <a:ea typeface="Soho Gothic Pro Light"/>
              </a:rPr>
              <a:t> &amp; API con más de </a:t>
            </a:r>
            <a:r>
              <a:rPr lang="es-ES" sz="1067"/>
              <a:t>12 años de experiencia en gestión de equipos de desarrollo </a:t>
            </a:r>
            <a:r>
              <a:rPr lang="es-ES" sz="1067" err="1"/>
              <a:t>multidisciplicar</a:t>
            </a:r>
            <a:r>
              <a:rPr lang="es-ES" sz="1067"/>
              <a:t> </a:t>
            </a:r>
            <a:r>
              <a:rPr lang="es-ES" sz="1067" err="1"/>
              <a:t>sinendo</a:t>
            </a:r>
            <a:r>
              <a:rPr lang="es-ES" sz="1067"/>
              <a:t> referente en aspectos clave de la seguridad en </a:t>
            </a:r>
            <a:r>
              <a:rPr lang="es-ES" sz="1067" err="1"/>
              <a:t>BiG</a:t>
            </a:r>
            <a:r>
              <a:rPr lang="es-ES" sz="1067"/>
              <a:t> Data para la </a:t>
            </a:r>
            <a:r>
              <a:rPr lang="es-ES" sz="1067" err="1"/>
              <a:t>Agència</a:t>
            </a:r>
            <a:r>
              <a:rPr lang="es-ES" sz="1067"/>
              <a:t> </a:t>
            </a:r>
            <a:r>
              <a:rPr lang="es-ES" sz="1067" err="1"/>
              <a:t>Tributària</a:t>
            </a:r>
            <a:r>
              <a:rPr lang="es-ES" sz="1067"/>
              <a:t> de Catalunya, desarrollo e implantación de seguridad lógica en CTTi, integración de sistemas en el </a:t>
            </a:r>
            <a:r>
              <a:rPr lang="es-ES" sz="1067" err="1"/>
              <a:t>CTTTi</a:t>
            </a:r>
            <a:r>
              <a:rPr lang="es-ES" sz="1067"/>
              <a:t> y definición y arquitectura de pruebas</a:t>
            </a:r>
          </a:p>
        </p:txBody>
      </p:sp>
      <p:sp>
        <p:nvSpPr>
          <p:cNvPr id="102" name="CuadroTexto 54_0"/>
          <p:cNvSpPr/>
          <p:nvPr/>
        </p:nvSpPr>
        <p:spPr>
          <a:xfrm>
            <a:off x="9438480" y="5818679"/>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diomas</a:t>
            </a:r>
            <a:endParaRPr lang="es-ES" sz="1200" b="0" strike="noStrike" spc="-1">
              <a:latin typeface="Arial"/>
            </a:endParaRPr>
          </a:p>
        </p:txBody>
      </p:sp>
      <p:sp>
        <p:nvSpPr>
          <p:cNvPr id="103" name="CuadroTexto 55_0"/>
          <p:cNvSpPr/>
          <p:nvPr/>
        </p:nvSpPr>
        <p:spPr>
          <a:xfrm>
            <a:off x="9474840" y="6102583"/>
            <a:ext cx="2712240" cy="86177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b="1" strike="noStrike" spc="-1">
                <a:latin typeface="Soho Gothic Pro Light"/>
                <a:ea typeface="Soho Gothic Pro Light"/>
              </a:rPr>
              <a:t>Castellano - </a:t>
            </a:r>
            <a:r>
              <a:rPr lang="es-ES" sz="1000" b="0" strike="noStrike" spc="-1">
                <a:latin typeface="Soho Gothic Pro Light"/>
                <a:ea typeface="Soho Gothic Pro Light"/>
              </a:rPr>
              <a:t>Nativo</a:t>
            </a:r>
          </a:p>
          <a:p>
            <a:pPr>
              <a:lnSpc>
                <a:spcPct val="100000"/>
              </a:lnSpc>
            </a:pPr>
            <a:r>
              <a:rPr lang="ca-ES" sz="1000" b="1" spc="-1" err="1">
                <a:latin typeface="Soho Gothic Pro Light"/>
                <a:ea typeface="Soho Gothic Pro Light"/>
              </a:rPr>
              <a:t>Catalán</a:t>
            </a:r>
            <a:r>
              <a:rPr lang="ca-ES" sz="1000" b="1" spc="-1">
                <a:latin typeface="Soho Gothic Pro Light"/>
                <a:ea typeface="Soho Gothic Pro Light"/>
              </a:rPr>
              <a:t> - </a:t>
            </a:r>
            <a:r>
              <a:rPr lang="ca-ES" sz="1000" spc="-1" err="1">
                <a:latin typeface="Soho Gothic Pro Light"/>
                <a:ea typeface="Soho Gothic Pro Light"/>
              </a:rPr>
              <a:t>Nativo</a:t>
            </a:r>
            <a:r>
              <a:rPr lang="ca-ES"/>
              <a:t/>
            </a:r>
            <a:br>
              <a:rPr lang="ca-ES"/>
            </a:br>
            <a:r>
              <a:rPr lang="es-ES" sz="1000" b="1" strike="noStrike" spc="-1">
                <a:latin typeface="Soho Gothic Pro Light"/>
                <a:ea typeface="Soho Gothic Pro Light"/>
              </a:rPr>
              <a:t>Ingles - </a:t>
            </a:r>
            <a:r>
              <a:rPr lang="es-ES" sz="1000" spc="-1">
                <a:latin typeface="Soho Gothic Pro Light"/>
                <a:ea typeface="Soho Gothic Pro Light"/>
              </a:rPr>
              <a:t>B2</a:t>
            </a:r>
            <a:endParaRPr lang="es-ES" sz="1000" b="0" strike="noStrike" spc="-1">
              <a:latin typeface="Arial"/>
            </a:endParaRPr>
          </a:p>
          <a:p>
            <a:pPr>
              <a:lnSpc>
                <a:spcPct val="100000"/>
              </a:lnSpc>
            </a:pPr>
            <a:endParaRPr lang="es-ES" sz="1000" b="0" strike="noStrike" spc="-1">
              <a:solidFill>
                <a:srgbClr val="FF0000"/>
              </a:solidFill>
              <a:latin typeface="Arial"/>
            </a:endParaRPr>
          </a:p>
          <a:p>
            <a:pPr>
              <a:lnSpc>
                <a:spcPct val="100000"/>
              </a:lnSpc>
            </a:pPr>
            <a:endParaRPr lang="es-ES" sz="1000" b="0" strike="noStrike" spc="-1">
              <a:solidFill>
                <a:srgbClr val="FF0000"/>
              </a:solidFill>
              <a:latin typeface="Arial"/>
            </a:endParaRPr>
          </a:p>
        </p:txBody>
      </p:sp>
      <p:sp>
        <p:nvSpPr>
          <p:cNvPr id="105" name="CuadroTexto 40_0"/>
          <p:cNvSpPr/>
          <p:nvPr/>
        </p:nvSpPr>
        <p:spPr>
          <a:xfrm>
            <a:off x="3451680" y="110520"/>
            <a:ext cx="2692800" cy="461665"/>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400" spc="-1">
                <a:solidFill>
                  <a:schemeClr val="bg1"/>
                </a:solidFill>
                <a:latin typeface="Soho Gothic Pro Medium"/>
              </a:rPr>
              <a:t>Arquitecto</a:t>
            </a:r>
            <a:endParaRPr lang="es-ES" sz="2400" b="0" strike="noStrike" spc="-1">
              <a:solidFill>
                <a:schemeClr val="bg1"/>
              </a:solidFill>
              <a:latin typeface="Aria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A.G.H</a:t>
            </a:r>
            <a:endParaRPr lang="es-ES" sz="2000" b="0" strike="noStrike" spc="-1">
              <a:solidFill>
                <a:schemeClr val="bg1"/>
              </a:solidFill>
              <a:latin typeface="Arial"/>
            </a:endParaRPr>
          </a:p>
        </p:txBody>
      </p:sp>
      <p:sp>
        <p:nvSpPr>
          <p:cNvPr id="109" name="CuadroTexto 37_0"/>
          <p:cNvSpPr/>
          <p:nvPr/>
        </p:nvSpPr>
        <p:spPr>
          <a:xfrm>
            <a:off x="9447480" y="3681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T</a:t>
            </a:r>
            <a:endParaRPr lang="es-ES" sz="1200" b="0" strike="noStrike" spc="-1">
              <a:latin typeface="Arial"/>
            </a:endParaRPr>
          </a:p>
        </p:txBody>
      </p:sp>
      <p:sp>
        <p:nvSpPr>
          <p:cNvPr id="110" name="CuadroTexto 52_0"/>
          <p:cNvSpPr/>
          <p:nvPr/>
        </p:nvSpPr>
        <p:spPr>
          <a:xfrm>
            <a:off x="9437040" y="4009680"/>
            <a:ext cx="2739600" cy="178510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n-US" sz="1000" b="1" spc="-1" err="1">
                <a:ea typeface="Soho Gothic Pro Light"/>
              </a:rPr>
              <a:t>Criptografía</a:t>
            </a:r>
            <a:r>
              <a:rPr lang="en-US" sz="1000" b="1" spc="-1">
                <a:ea typeface="Soho Gothic Pro Light"/>
              </a:rPr>
              <a:t> y Seguridad: </a:t>
            </a:r>
            <a:r>
              <a:rPr lang="en-US" sz="1000" i="1" spc="-1">
                <a:ea typeface="Soho Gothic Pro Light"/>
              </a:rPr>
              <a:t>Kerberos; TLS/SSL; SASL; PKI; Hardware Security Module (HSM)</a:t>
            </a:r>
          </a:p>
          <a:p>
            <a:r>
              <a:rPr lang="en-US" sz="1000" b="1" spc="-1">
                <a:ea typeface="Soho Gothic Pro Light"/>
              </a:rPr>
              <a:t>Big Data (</a:t>
            </a:r>
            <a:r>
              <a:rPr lang="en-US" sz="1000" b="1" spc="-1" err="1">
                <a:ea typeface="Soho Gothic Pro Light"/>
              </a:rPr>
              <a:t>tecnología</a:t>
            </a:r>
            <a:r>
              <a:rPr lang="en-US" sz="1000" b="1" spc="-1">
                <a:ea typeface="Soho Gothic Pro Light"/>
              </a:rPr>
              <a:t>): </a:t>
            </a:r>
            <a:r>
              <a:rPr lang="en-US" sz="1000" i="1" spc="-1">
                <a:ea typeface="Soho Gothic Pro Light"/>
              </a:rPr>
              <a:t>Hadoop; MongoDB</a:t>
            </a:r>
          </a:p>
          <a:p>
            <a:r>
              <a:rPr lang="en-US" sz="1000" b="1" spc="-1">
                <a:ea typeface="Soho Gothic Pro Light"/>
              </a:rPr>
              <a:t>Seguridad de la </a:t>
            </a:r>
            <a:r>
              <a:rPr lang="en-US" sz="1000" b="1" spc="-1" err="1">
                <a:ea typeface="Soho Gothic Pro Light"/>
              </a:rPr>
              <a:t>información</a:t>
            </a:r>
            <a:r>
              <a:rPr lang="en-US" sz="1000" b="1" spc="-1">
                <a:ea typeface="Soho Gothic Pro Light"/>
              </a:rPr>
              <a:t>: </a:t>
            </a:r>
            <a:r>
              <a:rPr lang="en-US" sz="1000" i="1" spc="-1" err="1">
                <a:ea typeface="Soho Gothic Pro Light"/>
              </a:rPr>
              <a:t>Herramientas</a:t>
            </a:r>
            <a:r>
              <a:rPr lang="en-US" sz="1000" i="1" spc="-1">
                <a:ea typeface="Soho Gothic Pro Light"/>
              </a:rPr>
              <a:t> de </a:t>
            </a:r>
            <a:r>
              <a:rPr lang="en-US" sz="1000" i="1" spc="-1" err="1">
                <a:ea typeface="Soho Gothic Pro Light"/>
              </a:rPr>
              <a:t>auditoría</a:t>
            </a:r>
            <a:r>
              <a:rPr lang="en-US" sz="1000" i="1" spc="-1">
                <a:ea typeface="Soho Gothic Pro Light"/>
              </a:rPr>
              <a:t> (Nessus, OpenVAS, </a:t>
            </a:r>
            <a:r>
              <a:rPr lang="en-US" sz="1000" i="1" spc="-1" err="1">
                <a:ea typeface="Soho Gothic Pro Light"/>
              </a:rPr>
              <a:t>Nikto</a:t>
            </a:r>
            <a:r>
              <a:rPr lang="en-US" sz="1000" i="1" spc="-1">
                <a:ea typeface="Soho Gothic Pro Light"/>
              </a:rPr>
              <a:t>, W3AF, Wireshark, etc.)</a:t>
            </a:r>
          </a:p>
          <a:p>
            <a:pPr marL="0" lvl="1">
              <a:buClr>
                <a:srgbClr val="1A3B47"/>
              </a:buClr>
              <a:defRPr b="0" i="0"/>
            </a:pPr>
            <a:r>
              <a:rPr lang="en-US" sz="1000" b="1" strike="noStrike" spc="-1" err="1">
                <a:latin typeface="Soho Gothic Pro Light"/>
                <a:ea typeface="Soho Gothic Pro Light"/>
              </a:rPr>
              <a:t>Otros</a:t>
            </a:r>
            <a:r>
              <a:rPr lang="en-US" sz="1000" b="0" strike="noStrike" spc="-1">
                <a:latin typeface="Soho Gothic Pro Light"/>
                <a:ea typeface="Soho Gothic Pro Light"/>
              </a:rPr>
              <a:t>:</a:t>
            </a:r>
            <a:r>
              <a:rPr lang="en-US" sz="1000" b="0" strike="noStrike" spc="-1">
                <a:solidFill>
                  <a:srgbClr val="FF0000"/>
                </a:solidFill>
                <a:latin typeface="Soho Gothic Pro Light"/>
                <a:ea typeface="Soho Gothic Pro Light"/>
              </a:rPr>
              <a:t> </a:t>
            </a:r>
            <a:r>
              <a:rPr lang="en-US" sz="1000" i="1" spc="-1">
                <a:ea typeface="Soho Gothic Pro Light"/>
              </a:rPr>
              <a:t>Java PL/SQL </a:t>
            </a:r>
            <a:r>
              <a:rPr lang="en-US" sz="1000" i="1" spc="-1" err="1">
                <a:ea typeface="Soho Gothic Pro Light"/>
              </a:rPr>
              <a:t>sobre</a:t>
            </a:r>
            <a:r>
              <a:rPr lang="en-US" sz="1000" i="1" spc="-1">
                <a:ea typeface="Soho Gothic Pro Light"/>
              </a:rPr>
              <a:t> BDD Oracle, </a:t>
            </a:r>
            <a:r>
              <a:rPr lang="en-US" sz="1000" i="1" spc="-1" err="1">
                <a:ea typeface="Soho Gothic Pro Light"/>
              </a:rPr>
              <a:t>PostgreSql</a:t>
            </a:r>
            <a:r>
              <a:rPr lang="en-US" sz="1000" i="1" spc="-1">
                <a:ea typeface="Soho Gothic Pro Light"/>
              </a:rPr>
              <a:t>, </a:t>
            </a:r>
            <a:r>
              <a:rPr lang="ca-ES" sz="1000" i="1" spc="-1">
                <a:ea typeface="Soho Gothic Pro Light"/>
              </a:rPr>
              <a:t>Oracle Service Bus (OSB), SAP Mobile </a:t>
            </a:r>
            <a:r>
              <a:rPr lang="ca-ES" sz="1000" i="1" spc="-1" err="1">
                <a:ea typeface="Soho Gothic Pro Light"/>
              </a:rPr>
              <a:t>Platform</a:t>
            </a:r>
            <a:r>
              <a:rPr lang="ca-ES" sz="1000" i="1" spc="-1">
                <a:ea typeface="Soho Gothic Pro Light"/>
              </a:rPr>
              <a:t> (SMP), SOA Suite de Oracle</a:t>
            </a:r>
          </a:p>
          <a:p>
            <a:pPr>
              <a:lnSpc>
                <a:spcPct val="100000"/>
              </a:lnSpc>
            </a:pPr>
            <a:r>
              <a:rPr lang="en-US" sz="1000" b="1" strike="noStrike" spc="-1" err="1">
                <a:latin typeface="Soho Gothic Pro Light"/>
                <a:ea typeface="Soho Gothic Pro Light"/>
              </a:rPr>
              <a:t>Gestión</a:t>
            </a:r>
            <a:r>
              <a:rPr lang="en-US" sz="1000" b="0" strike="noStrike" spc="-1">
                <a:latin typeface="Soho Gothic Pro Light"/>
                <a:ea typeface="Soho Gothic Pro Light"/>
              </a:rPr>
              <a:t>: </a:t>
            </a:r>
            <a:r>
              <a:rPr lang="en-US" sz="1000" i="1" spc="-1">
                <a:ea typeface="Soho Gothic Pro Light"/>
              </a:rPr>
              <a:t>Jira, </a:t>
            </a:r>
          </a:p>
          <a:p>
            <a:pPr>
              <a:lnSpc>
                <a:spcPct val="100000"/>
              </a:lnSpc>
            </a:pPr>
            <a:r>
              <a:rPr lang="en-US" sz="1000" b="1" spc="-1">
                <a:ea typeface="Soho Gothic Pro Light"/>
              </a:rPr>
              <a:t>Agile</a:t>
            </a:r>
            <a:r>
              <a:rPr lang="en-US" sz="1000" spc="-1">
                <a:ea typeface="Soho Gothic Pro Light"/>
              </a:rPr>
              <a:t>:  </a:t>
            </a:r>
            <a:r>
              <a:rPr lang="en-US" sz="1000" i="1" spc="-1">
                <a:ea typeface="Soho Gothic Pro Light"/>
              </a:rPr>
              <a:t> Scrum/Kanban</a:t>
            </a:r>
          </a:p>
        </p:txBody>
      </p:sp>
      <p:sp>
        <p:nvSpPr>
          <p:cNvPr id="111" name="CuadroTexto 50_0"/>
          <p:cNvSpPr/>
          <p:nvPr/>
        </p:nvSpPr>
        <p:spPr>
          <a:xfrm>
            <a:off x="9536040" y="2767451"/>
            <a:ext cx="2651040" cy="1015663"/>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b="0" strike="noStrike" spc="-1">
                <a:latin typeface="Soho Gothic Pro Light"/>
                <a:ea typeface="Soho Gothic Pro Light"/>
              </a:rPr>
              <a:t>2021 | </a:t>
            </a:r>
            <a:r>
              <a:rPr lang="es-ES" sz="1000" b="0" strike="noStrike" spc="-1" err="1">
                <a:latin typeface="Soho Gothic Pro Light"/>
                <a:ea typeface="Soho Gothic Pro Light"/>
              </a:rPr>
              <a:t>Confluent</a:t>
            </a:r>
            <a:r>
              <a:rPr lang="es-ES" sz="1000" b="0" strike="noStrike" spc="-1">
                <a:latin typeface="Soho Gothic Pro Light"/>
                <a:ea typeface="Soho Gothic Pro Light"/>
              </a:rPr>
              <a:t> Kafka Fundamentals (5h)</a:t>
            </a:r>
            <a:endParaRPr lang="es-ES" sz="1000" b="0" strike="noStrike" spc="-1">
              <a:latin typeface="Arial"/>
            </a:endParaRPr>
          </a:p>
          <a:p>
            <a:pPr>
              <a:lnSpc>
                <a:spcPct val="100000"/>
              </a:lnSpc>
            </a:pPr>
            <a:r>
              <a:rPr lang="es-ES" sz="1000" spc="-1">
                <a:ea typeface="Soho Gothic Pro Light"/>
              </a:rPr>
              <a:t>2021 | Curso del Esquema Nacional Seguridad (20h)</a:t>
            </a:r>
          </a:p>
          <a:p>
            <a:pPr>
              <a:lnSpc>
                <a:spcPct val="100000"/>
              </a:lnSpc>
            </a:pPr>
            <a:r>
              <a:rPr lang="es-ES" sz="1000" spc="-1">
                <a:ea typeface="Soho Gothic Pro Light"/>
              </a:rPr>
              <a:t>2018 </a:t>
            </a:r>
            <a:r>
              <a:rPr lang="es-ES" sz="1000" b="0" strike="noStrike" spc="-1">
                <a:latin typeface="Soho Gothic Pro Light"/>
                <a:ea typeface="Soho Gothic Pro Light"/>
              </a:rPr>
              <a:t>| </a:t>
            </a:r>
            <a:r>
              <a:rPr lang="es-ES" sz="1000" spc="-1">
                <a:ea typeface="Soho Gothic Pro Light"/>
              </a:rPr>
              <a:t>Amazon WS + BigData (24h)</a:t>
            </a:r>
          </a:p>
          <a:p>
            <a:pPr>
              <a:lnSpc>
                <a:spcPct val="100000"/>
              </a:lnSpc>
            </a:pPr>
            <a:r>
              <a:rPr lang="es-ES" sz="1000" spc="-1">
                <a:ea typeface="Soho Gothic Pro Light"/>
              </a:rPr>
              <a:t>2018 | 10.612: </a:t>
            </a:r>
            <a:r>
              <a:rPr lang="es-ES" sz="1000" spc="-1" err="1">
                <a:ea typeface="Soho Gothic Pro Light"/>
              </a:rPr>
              <a:t>Advanced</a:t>
            </a:r>
            <a:r>
              <a:rPr lang="es-ES" sz="1000" spc="-1">
                <a:ea typeface="Soho Gothic Pro Light"/>
              </a:rPr>
              <a:t> Big Data (8h)</a:t>
            </a:r>
          </a:p>
          <a:p>
            <a:pPr>
              <a:lnSpc>
                <a:spcPct val="100000"/>
              </a:lnSpc>
            </a:pPr>
            <a:r>
              <a:rPr lang="es-ES" sz="1000" b="0" strike="noStrike" spc="-1">
                <a:latin typeface="Arial"/>
              </a:rPr>
              <a:t>2011 SCRUM Master</a:t>
            </a:r>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Educación</a:t>
            </a:r>
            <a:endParaRPr lang="es-ES" sz="1200" b="0" strike="noStrike" spc="-1">
              <a:latin typeface="Arial"/>
            </a:endParaRPr>
          </a:p>
        </p:txBody>
      </p:sp>
      <p:sp>
        <p:nvSpPr>
          <p:cNvPr id="113" name="CuadroTexto 70_0"/>
          <p:cNvSpPr/>
          <p:nvPr/>
        </p:nvSpPr>
        <p:spPr>
          <a:xfrm>
            <a:off x="9827280" y="465191"/>
            <a:ext cx="2349360" cy="2092881"/>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spc="-1">
                <a:ea typeface="Soho Gothic Pro Light"/>
              </a:rPr>
              <a:t>Diplomado en Informática por la </a:t>
            </a:r>
            <a:r>
              <a:rPr lang="es-ES" sz="1000" spc="-1" err="1">
                <a:ea typeface="Soho Gothic Pro Light"/>
              </a:rPr>
              <a:t>Universitat</a:t>
            </a:r>
            <a:r>
              <a:rPr lang="es-ES" sz="1000" spc="-1">
                <a:ea typeface="Soho Gothic Pro Light"/>
              </a:rPr>
              <a:t> de Les Illes Balears </a:t>
            </a:r>
          </a:p>
          <a:p>
            <a:pPr>
              <a:lnSpc>
                <a:spcPct val="100000"/>
              </a:lnSpc>
            </a:pPr>
            <a:endParaRPr lang="es-ES" sz="1000" spc="-1">
              <a:ea typeface="Soho Gothic Pro Light"/>
            </a:endParaRPr>
          </a:p>
          <a:p>
            <a:pPr>
              <a:lnSpc>
                <a:spcPct val="100000"/>
              </a:lnSpc>
            </a:pPr>
            <a:r>
              <a:rPr lang="es-ES" sz="1000" spc="-1">
                <a:ea typeface="Soho Gothic Pro Light"/>
              </a:rPr>
              <a:t>Ingeniero en Informática por la </a:t>
            </a:r>
            <a:r>
              <a:rPr lang="es-ES" sz="1000" spc="-1" err="1">
                <a:ea typeface="Soho Gothic Pro Light"/>
              </a:rPr>
              <a:t>Universitat</a:t>
            </a:r>
            <a:r>
              <a:rPr lang="es-ES" sz="1000" spc="-1">
                <a:ea typeface="Soho Gothic Pro Light"/>
              </a:rPr>
              <a:t> de Les Illes Balears </a:t>
            </a:r>
          </a:p>
          <a:p>
            <a:pPr>
              <a:lnSpc>
                <a:spcPct val="100000"/>
              </a:lnSpc>
            </a:pPr>
            <a:endParaRPr lang="es-ES" sz="1000" spc="-1">
              <a:ea typeface="Soho Gothic Pro Light"/>
            </a:endParaRPr>
          </a:p>
          <a:p>
            <a:pPr>
              <a:lnSpc>
                <a:spcPct val="100000"/>
              </a:lnSpc>
            </a:pPr>
            <a:r>
              <a:rPr lang="es-ES" sz="1000" spc="-1">
                <a:ea typeface="Soho Gothic Pro Light"/>
              </a:rPr>
              <a:t>Posgrado Desarrollo de Aplicaciones sobre Internet. UPC.</a:t>
            </a:r>
          </a:p>
          <a:p>
            <a:pPr>
              <a:lnSpc>
                <a:spcPct val="100000"/>
              </a:lnSpc>
            </a:pPr>
            <a:endParaRPr lang="es-ES" sz="1000" spc="-1">
              <a:ea typeface="Soho Gothic Pro Light"/>
            </a:endParaRPr>
          </a:p>
          <a:p>
            <a:pPr>
              <a:lnSpc>
                <a:spcPct val="100000"/>
              </a:lnSpc>
            </a:pPr>
            <a:r>
              <a:rPr lang="es-ES" sz="1000" spc="-1">
                <a:ea typeface="Soho Gothic Pro Light"/>
              </a:rPr>
              <a:t>Máster Universitario en Seguridad de las Tecnologías de la Información y de las Comunicaciones. UOC</a:t>
            </a:r>
          </a:p>
          <a:p>
            <a:pPr>
              <a:lnSpc>
                <a:spcPct val="100000"/>
              </a:lnSpc>
            </a:pPr>
            <a:endParaRPr lang="es-ES" sz="1000" b="0" strike="noStrike" spc="-1">
              <a:latin typeface="Arial"/>
            </a:endParaRPr>
          </a:p>
        </p:txBody>
      </p:sp>
      <p:sp>
        <p:nvSpPr>
          <p:cNvPr id="114" name="CuadroTexto 73_0"/>
          <p:cNvSpPr/>
          <p:nvPr/>
        </p:nvSpPr>
        <p:spPr>
          <a:xfrm>
            <a:off x="9430200" y="408348"/>
            <a:ext cx="55152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0" strike="noStrike" spc="-1">
                <a:latin typeface="Soho Gothic Pro Medium"/>
              </a:rPr>
              <a:t>1990</a:t>
            </a:r>
            <a:endParaRPr lang="es-ES" sz="900" b="0" strike="noStrike" spc="-1">
              <a:latin typeface="Arial"/>
            </a:endParaRPr>
          </a:p>
          <a:p>
            <a:pPr>
              <a:lnSpc>
                <a:spcPct val="100000"/>
              </a:lnSpc>
            </a:pPr>
            <a:r>
              <a:rPr lang="es-ES" sz="900" b="0" strike="noStrike" spc="-1">
                <a:latin typeface="Soho Gothic Pro Medium"/>
              </a:rPr>
              <a:t>—</a:t>
            </a:r>
            <a:endParaRPr lang="es-ES" sz="900" b="0" strike="noStrike" spc="-1">
              <a:latin typeface="Arial"/>
            </a:endParaRPr>
          </a:p>
          <a:p>
            <a:pPr>
              <a:lnSpc>
                <a:spcPct val="100000"/>
              </a:lnSpc>
            </a:pPr>
            <a:r>
              <a:rPr lang="es-ES" sz="900" spc="-1">
                <a:latin typeface="Soho Gothic Pro Medium"/>
              </a:rPr>
              <a:t>1994</a:t>
            </a:r>
            <a:endParaRPr lang="es-ES" sz="900" b="0" strike="noStrike" spc="-1">
              <a:latin typeface="Arial"/>
            </a:endParaRPr>
          </a:p>
        </p:txBody>
      </p:sp>
      <p:sp>
        <p:nvSpPr>
          <p:cNvPr id="117" name="CuadroTexto 33_0"/>
          <p:cNvSpPr/>
          <p:nvPr/>
        </p:nvSpPr>
        <p:spPr>
          <a:xfrm>
            <a:off x="9540000" y="253645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latin typeface="Soho Gothic Pro Light"/>
              </a:rPr>
              <a:t>Cursos Relevantes</a:t>
            </a:r>
            <a:endParaRPr lang="es-ES" sz="1200" b="0" strike="noStrike" spc="-1">
              <a:latin typeface="Arial"/>
            </a:endParaRPr>
          </a:p>
        </p:txBody>
      </p:sp>
      <p:sp>
        <p:nvSpPr>
          <p:cNvPr id="37" name="CuadroTexto 30_0"/>
          <p:cNvSpPr/>
          <p:nvPr/>
        </p:nvSpPr>
        <p:spPr>
          <a:xfrm>
            <a:off x="5609492" y="152640"/>
            <a:ext cx="3748708"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2000" spc="-1">
                <a:solidFill>
                  <a:schemeClr val="bg1"/>
                </a:solidFill>
                <a:ea typeface="Soho Gothic Pro Light"/>
              </a:rPr>
              <a:t>Andrés </a:t>
            </a:r>
            <a:r>
              <a:rPr lang="es-ES" sz="2000" spc="-1" err="1">
                <a:solidFill>
                  <a:schemeClr val="bg1"/>
                </a:solidFill>
                <a:ea typeface="Soho Gothic Pro Light"/>
              </a:rPr>
              <a:t>Galmes</a:t>
            </a:r>
            <a:r>
              <a:rPr lang="es-ES" sz="2000" spc="-1">
                <a:solidFill>
                  <a:schemeClr val="bg1"/>
                </a:solidFill>
                <a:ea typeface="Soho Gothic Pro Light"/>
              </a:rPr>
              <a:t> Hernández</a:t>
            </a:r>
            <a:endParaRPr lang="es-ES" sz="2000" b="0" strike="noStrike" spc="-1">
              <a:solidFill>
                <a:schemeClr val="bg1"/>
              </a:solidFill>
              <a:latin typeface="Arial"/>
            </a:endParaRPr>
          </a:p>
        </p:txBody>
      </p:sp>
      <p:sp>
        <p:nvSpPr>
          <p:cNvPr id="29" name="CuadroTexto 73_0"/>
          <p:cNvSpPr/>
          <p:nvPr/>
        </p:nvSpPr>
        <p:spPr>
          <a:xfrm>
            <a:off x="9437040" y="1856331"/>
            <a:ext cx="55152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0" strike="noStrike" spc="-1">
                <a:latin typeface="Soho Gothic Pro Medium"/>
              </a:rPr>
              <a:t>2014</a:t>
            </a:r>
            <a:endParaRPr lang="es-ES" sz="900" b="0" strike="noStrike" spc="-1">
              <a:latin typeface="Arial"/>
            </a:endParaRPr>
          </a:p>
          <a:p>
            <a:pPr>
              <a:lnSpc>
                <a:spcPct val="100000"/>
              </a:lnSpc>
            </a:pPr>
            <a:r>
              <a:rPr lang="es-ES" sz="900" b="0" strike="noStrike" spc="-1">
                <a:latin typeface="Soho Gothic Pro Medium"/>
              </a:rPr>
              <a:t>—</a:t>
            </a:r>
            <a:endParaRPr lang="es-ES" sz="900" b="0" strike="noStrike" spc="-1">
              <a:latin typeface="Arial"/>
            </a:endParaRPr>
          </a:p>
          <a:p>
            <a:pPr>
              <a:lnSpc>
                <a:spcPct val="100000"/>
              </a:lnSpc>
            </a:pPr>
            <a:r>
              <a:rPr lang="es-ES" sz="900" b="0" strike="noStrike" spc="-1">
                <a:latin typeface="Soho Gothic Pro Medium"/>
              </a:rPr>
              <a:t>2016</a:t>
            </a:r>
            <a:endParaRPr lang="es-ES" sz="900" b="0" strike="noStrike" spc="-1">
              <a:latin typeface="Arial"/>
            </a:endParaRPr>
          </a:p>
        </p:txBody>
      </p:sp>
      <p:sp>
        <p:nvSpPr>
          <p:cNvPr id="32" name="CuadroTexto 39_0"/>
          <p:cNvSpPr/>
          <p:nvPr/>
        </p:nvSpPr>
        <p:spPr>
          <a:xfrm>
            <a:off x="240120" y="1312738"/>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ACT</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8</a:t>
            </a:r>
            <a:endParaRPr lang="es-ES" sz="900" b="1" strike="noStrike" spc="-1">
              <a:latin typeface="Arial"/>
            </a:endParaRPr>
          </a:p>
          <a:p>
            <a:pPr>
              <a:lnSpc>
                <a:spcPct val="100000"/>
              </a:lnSpc>
            </a:pPr>
            <a:endParaRPr lang="es-ES" sz="900" b="0" strike="noStrike" spc="-1">
              <a:latin typeface="Arial"/>
            </a:endParaRPr>
          </a:p>
        </p:txBody>
      </p:sp>
      <p:sp>
        <p:nvSpPr>
          <p:cNvPr id="38" name="CuadroTexto 44_0"/>
          <p:cNvSpPr/>
          <p:nvPr/>
        </p:nvSpPr>
        <p:spPr>
          <a:xfrm>
            <a:off x="685800" y="1346218"/>
            <a:ext cx="4215600" cy="4832092"/>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lnSpc>
                <a:spcPct val="100000"/>
              </a:lnSpc>
            </a:pPr>
            <a:r>
              <a:rPr lang="es-ES" sz="1100" b="1" strike="noStrike" spc="-1">
                <a:latin typeface="Soho Gothic Pro Light"/>
                <a:ea typeface="Soho Gothic Pro Light"/>
              </a:rPr>
              <a:t>Minsai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0" strike="noStrike" spc="-1">
              <a:latin typeface="Arial"/>
            </a:endParaRPr>
          </a:p>
          <a:p>
            <a:pPr algn="just">
              <a:lnSpc>
                <a:spcPct val="100000"/>
              </a:lnSpc>
            </a:pPr>
            <a:r>
              <a:rPr lang="es-ES" sz="1100" spc="-1">
                <a:latin typeface="Soho Gothic Pro Light"/>
                <a:ea typeface="Soho Gothic Pro Light"/>
              </a:rPr>
              <a:t>Desarrollo </a:t>
            </a:r>
            <a:r>
              <a:rPr lang="es-ES" sz="1100" spc="-1" err="1">
                <a:latin typeface="Soho Gothic Pro Light"/>
                <a:ea typeface="Soho Gothic Pro Light"/>
              </a:rPr>
              <a:t>Sotware</a:t>
            </a:r>
            <a:r>
              <a:rPr lang="es-ES" sz="1100" spc="-1">
                <a:latin typeface="Soho Gothic Pro Light"/>
                <a:ea typeface="Soho Gothic Pro Light"/>
              </a:rPr>
              <a:t> / Coordinación</a:t>
            </a:r>
            <a:endParaRPr lang="es-ES" sz="1100" b="0" strike="noStrike" spc="-1">
              <a:latin typeface="Arial"/>
            </a:endParaRPr>
          </a:p>
          <a:p>
            <a:pPr algn="just">
              <a:lnSpc>
                <a:spcPct val="100000"/>
              </a:lnSpc>
            </a:pPr>
            <a:endParaRPr lang="es-ES" sz="1100" b="0" strike="noStrike" spc="-1">
              <a:latin typeface="Arial"/>
            </a:endParaRPr>
          </a:p>
          <a:p>
            <a:pPr marL="171360" indent="-171000" algn="just">
              <a:buClr>
                <a:srgbClr val="1A3B47"/>
              </a:buClr>
              <a:buFont typeface="Arial,Sans-Serif"/>
              <a:buChar char="•"/>
            </a:pPr>
            <a:r>
              <a:rPr lang="es-ES" sz="1100" spc="-1"/>
              <a:t>Referente de seguridad del equipo de Big Data de Barcelona, trabajando para la </a:t>
            </a:r>
            <a:r>
              <a:rPr lang="es-ES" sz="1100" spc="-1" err="1"/>
              <a:t>Agència</a:t>
            </a:r>
            <a:r>
              <a:rPr lang="es-ES" sz="1100" spc="-1"/>
              <a:t> </a:t>
            </a:r>
            <a:r>
              <a:rPr lang="es-ES" sz="1100" spc="-1" err="1"/>
              <a:t>Tributària</a:t>
            </a:r>
            <a:r>
              <a:rPr lang="es-ES" sz="1100" spc="-1"/>
              <a:t> de Catalunya y CTTi. Responsable y referente de seguridad del entorno Big Data </a:t>
            </a:r>
            <a:r>
              <a:rPr lang="es-ES" sz="1100" spc="-1" err="1"/>
              <a:t>Hadoop</a:t>
            </a:r>
            <a:r>
              <a:rPr lang="es-ES" sz="1100" spc="-1"/>
              <a:t> de </a:t>
            </a:r>
            <a:r>
              <a:rPr lang="es-ES" sz="1100" spc="-1" err="1"/>
              <a:t>Cloudera</a:t>
            </a:r>
            <a:r>
              <a:rPr lang="es-ES" sz="1100" spc="-1"/>
              <a:t> para el proyecto de descubrimiento de fraude de la ATC (Proyecto de Ciberseguridad sobre Big data). Realización de estudios, pilotos, implantado y documentado la seguridad de los ecosistemas Big Data que Minsait sugiere que se implante en la ATC. En contacto directo con el cliente y el </a:t>
            </a:r>
            <a:r>
              <a:rPr lang="es-ES" sz="1100" spc="-1" err="1"/>
              <a:t>Cesicat</a:t>
            </a:r>
            <a:r>
              <a:rPr lang="es-ES" sz="1100" spc="-1"/>
              <a:t> para la validación de la seguridad con servicios como </a:t>
            </a:r>
            <a:r>
              <a:rPr lang="es-ES" sz="1100" spc="-1" err="1"/>
              <a:t>Kerberos</a:t>
            </a:r>
            <a:r>
              <a:rPr lang="es-ES" sz="1100" spc="-1"/>
              <a:t>, TLS/SSL, SASL, PKI, privacidad, confidencialidad y </a:t>
            </a:r>
            <a:r>
              <a:rPr lang="es-ES" sz="1100" spc="-1" err="1"/>
              <a:t>anonimización</a:t>
            </a:r>
            <a:r>
              <a:rPr lang="es-ES" sz="1100" spc="-1"/>
              <a:t> de datos.</a:t>
            </a:r>
          </a:p>
          <a:p>
            <a:pPr marL="171360" indent="-171000" algn="just">
              <a:lnSpc>
                <a:spcPct val="100000"/>
              </a:lnSpc>
              <a:buClr>
                <a:srgbClr val="1A3B47"/>
              </a:buClr>
              <a:buFont typeface="Arial,Sans-Serif"/>
              <a:buChar char="•"/>
            </a:pPr>
            <a:r>
              <a:rPr lang="es-ES" sz="1100" spc="-1"/>
              <a:t>Arquitecto Oracle </a:t>
            </a:r>
            <a:r>
              <a:rPr lang="es-ES" sz="1100" spc="-1" err="1"/>
              <a:t>Service</a:t>
            </a:r>
            <a:r>
              <a:rPr lang="es-ES" sz="1100" spc="-1"/>
              <a:t> Bus (OSB) proyecto de Gestor de Salidas de </a:t>
            </a:r>
            <a:r>
              <a:rPr lang="es-ES" sz="1100" spc="-1" err="1"/>
              <a:t>Agència</a:t>
            </a:r>
            <a:r>
              <a:rPr lang="es-ES" sz="1100" spc="-1"/>
              <a:t> </a:t>
            </a:r>
            <a:r>
              <a:rPr lang="es-ES" sz="1100" spc="-1" err="1"/>
              <a:t>Tributària</a:t>
            </a:r>
            <a:r>
              <a:rPr lang="es-ES" sz="1100" spc="-1"/>
              <a:t> de Catalunya. Gestor Documental sobre MongoDB (chache o zona caliente) e histórico (zona fría) en HDFS. Permite copia autentica e integración con otros gestores documentales.</a:t>
            </a:r>
          </a:p>
          <a:p>
            <a:pPr marL="171360" indent="-171000" algn="just">
              <a:lnSpc>
                <a:spcPct val="100000"/>
              </a:lnSpc>
              <a:buClr>
                <a:srgbClr val="1A3B47"/>
              </a:buClr>
              <a:buFont typeface="Arial,Sans-Serif"/>
              <a:buChar char="•"/>
            </a:pPr>
            <a:r>
              <a:rPr lang="es-ES" sz="1100" spc="-1"/>
              <a:t>Coordinar equipo técnico desarrollo de varios productos de energía en ENEL.</a:t>
            </a:r>
          </a:p>
          <a:p>
            <a:pPr marL="171360" indent="-171000" algn="just">
              <a:lnSpc>
                <a:spcPct val="100000"/>
              </a:lnSpc>
              <a:buClr>
                <a:srgbClr val="1A3B47"/>
              </a:buClr>
              <a:buFont typeface="Arial,Sans-Serif"/>
              <a:buChar char="•"/>
            </a:pPr>
            <a:r>
              <a:rPr lang="es-ES" sz="1100" spc="-1"/>
              <a:t>Desarrollo y coordinación del equipo de desarrollo del módulo de intercambio de cheques del banco TSB, filial de </a:t>
            </a:r>
            <a:r>
              <a:rPr lang="es-ES" sz="1100" spc="-1" err="1"/>
              <a:t>Banc</a:t>
            </a:r>
            <a:r>
              <a:rPr lang="es-ES" sz="1100" spc="-1"/>
              <a:t> Sabadell. Cifrado de cheques usando HSM como gestor de claves.</a:t>
            </a:r>
          </a:p>
          <a:p>
            <a:pPr marL="171360" indent="-171000" algn="just">
              <a:lnSpc>
                <a:spcPct val="100000"/>
              </a:lnSpc>
              <a:buClr>
                <a:srgbClr val="1A3B47"/>
              </a:buClr>
              <a:buFont typeface="Arial,Sans-Serif"/>
              <a:buChar char="•"/>
            </a:pPr>
            <a:r>
              <a:rPr lang="es-ES" sz="1100" spc="-1"/>
              <a:t>Integración del Gestor de salidas con el BUS de integración de sistemas con API Manager para el ámbito de Tributos de la Generalitat de Catalunya</a:t>
            </a:r>
          </a:p>
        </p:txBody>
      </p:sp>
      <p:sp>
        <p:nvSpPr>
          <p:cNvPr id="41" name="CuadroTexto 45_2"/>
          <p:cNvSpPr/>
          <p:nvPr/>
        </p:nvSpPr>
        <p:spPr>
          <a:xfrm>
            <a:off x="5312879" y="1346670"/>
            <a:ext cx="4067217" cy="2291481"/>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Desarrollo </a:t>
            </a:r>
            <a:r>
              <a:rPr lang="es-ES" sz="1100" spc="-1" err="1">
                <a:ea typeface="Soho Gothic Pro Light"/>
              </a:rPr>
              <a:t>Sotware</a:t>
            </a:r>
            <a:r>
              <a:rPr lang="es-ES" sz="1100" spc="-1">
                <a:ea typeface="Soho Gothic Pro Light"/>
              </a:rPr>
              <a:t> / Coordinación</a:t>
            </a:r>
          </a:p>
          <a:p>
            <a:pPr algn="just">
              <a:lnSpc>
                <a:spcPct val="100000"/>
              </a:lnSpc>
            </a:pPr>
            <a:endParaRPr lang="es-ES" sz="1100" spc="-1">
              <a:latin typeface="Arial"/>
            </a:endParaRPr>
          </a:p>
          <a:p>
            <a:pPr marL="171360" indent="-171000" algn="just">
              <a:buClr>
                <a:srgbClr val="1A3B47"/>
              </a:buClr>
              <a:buFont typeface="Arial,Sans-Serif"/>
              <a:buChar char="•"/>
            </a:pPr>
            <a:r>
              <a:rPr lang="es-ES" sz="1100" spc="-1"/>
              <a:t>Durante este tiempo, he realizado las funciones de jefe de desarrollo en el proyecto PICA+ (Plataforma de </a:t>
            </a:r>
            <a:r>
              <a:rPr lang="es-ES" sz="1100" spc="-1" err="1"/>
              <a:t>interoperabilitat</a:t>
            </a:r>
            <a:r>
              <a:rPr lang="es-ES" sz="1100" spc="-1"/>
              <a:t> de la Generalitat de Catalunya) de integración de sistemas de CTTI. Desarrollo e implantación de la seguridad lógica de la aplicación, así como la definición de la arquitectura y pruebas</a:t>
            </a:r>
          </a:p>
          <a:p>
            <a:pPr marL="171360" indent="-171000" algn="just">
              <a:buClr>
                <a:srgbClr val="1A3B47"/>
              </a:buClr>
              <a:buFont typeface="Arial,Sans-Serif"/>
              <a:buChar char="•"/>
            </a:pPr>
            <a:r>
              <a:rPr lang="es-ES" sz="1100" spc="-1"/>
              <a:t>Responsable equipo desarrollo del proyecto NOVEPO de </a:t>
            </a:r>
            <a:r>
              <a:rPr lang="es-ES" sz="1100" spc="-1" err="1"/>
              <a:t>Novartis</a:t>
            </a:r>
            <a:r>
              <a:rPr lang="es-ES" sz="1100" spc="-1"/>
              <a:t>. En contacto directo con el cliente, liderando el desarrollo de la aplicación Web/J2EE desde sus inicios. Implantación  metodología ágil </a:t>
            </a:r>
            <a:r>
              <a:rPr lang="es-ES" sz="1100" spc="-1" err="1"/>
              <a:t>Scrum</a:t>
            </a:r>
            <a:r>
              <a:rPr lang="es-ES" sz="1100" spc="-1"/>
              <a:t>.</a:t>
            </a:r>
          </a:p>
        </p:txBody>
      </p:sp>
      <p:sp>
        <p:nvSpPr>
          <p:cNvPr id="42" name="CuadroTexto 48_2"/>
          <p:cNvSpPr/>
          <p:nvPr/>
        </p:nvSpPr>
        <p:spPr>
          <a:xfrm>
            <a:off x="4901400" y="1348953"/>
            <a:ext cx="839880" cy="5078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ea typeface="Soho Gothic Pro Light"/>
              </a:rPr>
              <a:t>2012</a:t>
            </a:r>
            <a:endParaRPr lang="es-ES" sz="900" b="1" spc="-1">
              <a:latin typeface="Arial"/>
            </a:endParaRPr>
          </a:p>
          <a:p>
            <a:pPr>
              <a:lnSpc>
                <a:spcPct val="100000"/>
              </a:lnSpc>
            </a:pPr>
            <a:r>
              <a:rPr lang="es-ES" sz="900" b="1" spc="-1">
                <a:ea typeface="Soho Gothic Pro Light"/>
              </a:rPr>
              <a:t>—</a:t>
            </a:r>
            <a:endParaRPr lang="es-ES" sz="900" b="1" spc="-1">
              <a:latin typeface="Arial"/>
            </a:endParaRPr>
          </a:p>
          <a:p>
            <a:pPr>
              <a:lnSpc>
                <a:spcPct val="100000"/>
              </a:lnSpc>
            </a:pPr>
            <a:r>
              <a:rPr lang="es-ES" sz="900" b="1" spc="-1">
                <a:ea typeface="Soho Gothic Pro Light"/>
              </a:rPr>
              <a:t>2016</a:t>
            </a:r>
            <a:endParaRPr lang="es-ES" sz="900" spc="-1">
              <a:latin typeface="Arial"/>
            </a:endParaRPr>
          </a:p>
        </p:txBody>
      </p:sp>
      <p:sp>
        <p:nvSpPr>
          <p:cNvPr id="43" name="CuadroTexto 45_2"/>
          <p:cNvSpPr/>
          <p:nvPr/>
        </p:nvSpPr>
        <p:spPr>
          <a:xfrm>
            <a:off x="5312879" y="3760003"/>
            <a:ext cx="4067217" cy="2291481"/>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Desarrollo Software / Coordinación</a:t>
            </a:r>
          </a:p>
          <a:p>
            <a:pPr algn="just">
              <a:lnSpc>
                <a:spcPct val="100000"/>
              </a:lnSpc>
            </a:pPr>
            <a:endParaRPr lang="es-ES" sz="1100" spc="-1">
              <a:latin typeface="Arial"/>
            </a:endParaRPr>
          </a:p>
          <a:p>
            <a:pPr marL="171360" indent="-171000" algn="just">
              <a:buClr>
                <a:srgbClr val="1A3B47"/>
              </a:buClr>
              <a:buFont typeface="Arial,Sans-Serif"/>
              <a:buChar char="•"/>
            </a:pPr>
            <a:r>
              <a:rPr lang="es-ES" sz="1100" spc="-1"/>
              <a:t>Líder del equipo de desarrollo del producto de movilidad de Carburos Metálicos (hoy Linde), que permite la gestión de viajes y tareas de sus operarios. Actualmente, el producto se encuentra desplegado en varios países europeos.</a:t>
            </a:r>
          </a:p>
          <a:p>
            <a:pPr marL="171360" indent="-171000" algn="just">
              <a:buClr>
                <a:srgbClr val="1A3B47"/>
              </a:buClr>
              <a:buFont typeface="Arial,Sans-Serif"/>
              <a:buChar char="•"/>
            </a:pPr>
            <a:r>
              <a:rPr lang="es-ES" sz="1100" spc="-1"/>
              <a:t>Reingeniería, análisis y diseño de la aplicación para la gestión de aparcamientos de la empresa municipal L'H2010 de </a:t>
            </a:r>
            <a:r>
              <a:rPr lang="es-ES" sz="1100" spc="-1" err="1"/>
              <a:t>L'Hospitalet</a:t>
            </a:r>
            <a:r>
              <a:rPr lang="es-ES" sz="1100" spc="-1"/>
              <a:t> de Llobregat.</a:t>
            </a:r>
          </a:p>
          <a:p>
            <a:pPr marL="171360" indent="-171000" algn="just">
              <a:buClr>
                <a:srgbClr val="1A3B47"/>
              </a:buClr>
              <a:buFont typeface="Arial,Sans-Serif"/>
              <a:buChar char="•"/>
            </a:pPr>
            <a:r>
              <a:rPr lang="es-ES" sz="1100" spc="-1"/>
              <a:t>Participación en el equipo de consultoría para definir la arquitectura corporativa SOA de la aseguradora </a:t>
            </a:r>
            <a:r>
              <a:rPr lang="es-ES" sz="1100" spc="-1" err="1"/>
              <a:t>Agrupació</a:t>
            </a:r>
            <a:r>
              <a:rPr lang="es-ES" sz="1100" spc="-1"/>
              <a:t> </a:t>
            </a:r>
            <a:r>
              <a:rPr lang="es-ES" sz="1100" spc="-1" err="1"/>
              <a:t>Mútua</a:t>
            </a:r>
            <a:r>
              <a:rPr lang="es-ES" sz="1100" spc="-1"/>
              <a:t>.</a:t>
            </a:r>
          </a:p>
        </p:txBody>
      </p:sp>
      <p:sp>
        <p:nvSpPr>
          <p:cNvPr id="44" name="CuadroTexto 48_2"/>
          <p:cNvSpPr/>
          <p:nvPr/>
        </p:nvSpPr>
        <p:spPr>
          <a:xfrm>
            <a:off x="4901400" y="3762286"/>
            <a:ext cx="839880" cy="5078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ea typeface="Soho Gothic Pro Light"/>
              </a:rPr>
              <a:t>2008</a:t>
            </a:r>
            <a:endParaRPr lang="es-ES" sz="900" b="1" spc="-1">
              <a:latin typeface="Arial"/>
            </a:endParaRPr>
          </a:p>
          <a:p>
            <a:pPr>
              <a:lnSpc>
                <a:spcPct val="100000"/>
              </a:lnSpc>
            </a:pPr>
            <a:r>
              <a:rPr lang="es-ES" sz="900" b="1" spc="-1">
                <a:ea typeface="Soho Gothic Pro Light"/>
              </a:rPr>
              <a:t>—</a:t>
            </a:r>
            <a:endParaRPr lang="es-ES" sz="900" b="1" spc="-1">
              <a:latin typeface="Arial"/>
            </a:endParaRPr>
          </a:p>
          <a:p>
            <a:pPr>
              <a:lnSpc>
                <a:spcPct val="100000"/>
              </a:lnSpc>
            </a:pPr>
            <a:r>
              <a:rPr lang="es-ES" sz="900" b="1" spc="-1">
                <a:ea typeface="Soho Gothic Pro Light"/>
              </a:rPr>
              <a:t>2011</a:t>
            </a:r>
            <a:endParaRPr lang="es-ES" sz="900" spc="-1">
              <a:latin typeface="Arial"/>
            </a:endParaRPr>
          </a:p>
        </p:txBody>
      </p:sp>
      <p:sp>
        <p:nvSpPr>
          <p:cNvPr id="25" name="CuadroTexto 73_0"/>
          <p:cNvSpPr/>
          <p:nvPr/>
        </p:nvSpPr>
        <p:spPr>
          <a:xfrm>
            <a:off x="9437040" y="895161"/>
            <a:ext cx="55152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0" strike="noStrike" spc="-1">
                <a:latin typeface="Soho Gothic Pro Medium"/>
              </a:rPr>
              <a:t>1994</a:t>
            </a:r>
            <a:endParaRPr lang="es-ES" sz="900" b="0" strike="noStrike" spc="-1">
              <a:latin typeface="Arial"/>
            </a:endParaRPr>
          </a:p>
          <a:p>
            <a:pPr>
              <a:lnSpc>
                <a:spcPct val="100000"/>
              </a:lnSpc>
            </a:pPr>
            <a:r>
              <a:rPr lang="es-ES" sz="900" b="0" strike="noStrike" spc="-1">
                <a:latin typeface="Soho Gothic Pro Medium"/>
              </a:rPr>
              <a:t>—</a:t>
            </a:r>
            <a:endParaRPr lang="es-ES" sz="900" b="0" strike="noStrike" spc="-1">
              <a:latin typeface="Arial"/>
            </a:endParaRPr>
          </a:p>
          <a:p>
            <a:pPr>
              <a:lnSpc>
                <a:spcPct val="100000"/>
              </a:lnSpc>
            </a:pPr>
            <a:r>
              <a:rPr lang="es-ES" sz="900" spc="-1">
                <a:latin typeface="Soho Gothic Pro Medium"/>
              </a:rPr>
              <a:t>1998</a:t>
            </a:r>
            <a:endParaRPr lang="es-ES" sz="900" b="0" strike="noStrike" spc="-1">
              <a:latin typeface="Arial"/>
            </a:endParaRPr>
          </a:p>
        </p:txBody>
      </p:sp>
      <p:sp>
        <p:nvSpPr>
          <p:cNvPr id="26" name="CuadroTexto 73_0"/>
          <p:cNvSpPr/>
          <p:nvPr/>
        </p:nvSpPr>
        <p:spPr>
          <a:xfrm>
            <a:off x="9442491" y="1390589"/>
            <a:ext cx="551520" cy="230832"/>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0" strike="noStrike" spc="-1">
                <a:latin typeface="Soho Gothic Pro Medium"/>
              </a:rPr>
              <a:t>2001</a:t>
            </a:r>
            <a:endParaRPr lang="es-ES" sz="900" b="0" strike="noStrike" spc="-1">
              <a:latin typeface="Arial"/>
            </a:endParaRPr>
          </a:p>
        </p:txBody>
      </p:sp>
    </p:spTree>
    <p:extLst>
      <p:ext uri="{BB962C8B-B14F-4D97-AF65-F5344CB8AC3E}">
        <p14:creationId xmlns:p14="http://schemas.microsoft.com/office/powerpoint/2010/main" val="11387116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81767" y="267093"/>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1015663"/>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r>
              <a:rPr lang="es-ES" sz="1200" spc="-1">
                <a:ea typeface="Soho Gothic Pro Light"/>
              </a:rPr>
              <a:t>Ingeniero y Arquitecto en </a:t>
            </a:r>
            <a:r>
              <a:rPr lang="es-ES" sz="1200" spc="-1" err="1">
                <a:ea typeface="Soho Gothic Pro Light"/>
              </a:rPr>
              <a:t>Microservicios</a:t>
            </a:r>
            <a:r>
              <a:rPr lang="es-ES" sz="1200" spc="-1">
                <a:ea typeface="Soho Gothic Pro Light"/>
              </a:rPr>
              <a:t> &amp; AP con más de 9 años de experiencia en el análisis, definición y desarrollo de arquitecturas y aplicaciones (</a:t>
            </a:r>
            <a:r>
              <a:rPr lang="es-ES" sz="1200" spc="-1" err="1">
                <a:ea typeface="Soho Gothic Pro Light"/>
              </a:rPr>
              <a:t>WebServices</a:t>
            </a:r>
            <a:r>
              <a:rPr lang="es-ES" sz="1200" spc="-1">
                <a:ea typeface="Soho Gothic Pro Light"/>
              </a:rPr>
              <a:t>, SOAP, </a:t>
            </a:r>
            <a:r>
              <a:rPr lang="es-ES" sz="1200" spc="-1" err="1">
                <a:ea typeface="Soho Gothic Pro Light"/>
              </a:rPr>
              <a:t>Rest</a:t>
            </a:r>
            <a:r>
              <a:rPr lang="es-ES" sz="1200" spc="-1">
                <a:ea typeface="Soho Gothic Pro Light"/>
              </a:rPr>
              <a:t>, </a:t>
            </a:r>
            <a:r>
              <a:rPr lang="es-ES" sz="1200" spc="-1" err="1">
                <a:ea typeface="Soho Gothic Pro Light"/>
              </a:rPr>
              <a:t>Canigó</a:t>
            </a:r>
            <a:r>
              <a:rPr lang="es-ES" sz="1200" spc="-1">
                <a:ea typeface="Soho Gothic Pro Light"/>
              </a:rPr>
              <a:t>, SQLJ, EJB, </a:t>
            </a:r>
            <a:r>
              <a:rPr lang="es-ES" sz="1200" spc="-1" err="1">
                <a:ea typeface="Soho Gothic Pro Light"/>
              </a:rPr>
              <a:t>Microservicios</a:t>
            </a:r>
            <a:r>
              <a:rPr lang="es-ES" sz="1200" spc="-1">
                <a:ea typeface="Soho Gothic Pro Light"/>
              </a:rPr>
              <a:t>, Mainframe..) tanto en la parte </a:t>
            </a:r>
            <a:r>
              <a:rPr lang="es-ES" sz="1200" spc="-1" err="1">
                <a:ea typeface="Soho Gothic Pro Light"/>
              </a:rPr>
              <a:t>Batch</a:t>
            </a:r>
            <a:r>
              <a:rPr lang="es-ES" sz="1200" spc="-1">
                <a:ea typeface="Soho Gothic Pro Light"/>
              </a:rPr>
              <a:t> como Front </a:t>
            </a:r>
            <a:r>
              <a:rPr lang="es-ES" sz="1200" spc="-1" err="1">
                <a:ea typeface="Soho Gothic Pro Light"/>
              </a:rPr>
              <a:t>End</a:t>
            </a:r>
            <a:r>
              <a:rPr lang="es-ES" sz="1200" spc="-1">
                <a:ea typeface="Soho Gothic Pro Light"/>
              </a:rPr>
              <a:t> utilizando distintos lenguajes de programación, siendo Java el principal e interactuando con otros lenguajes y plataformas, así como el aseguramiento de la calidad QA y control de calidad QC. Formando parte en la realización de proyectos para los sectores de Banca, Seguros, supermercados y Administración Pública (Generalitat de Catalunya).</a:t>
            </a:r>
          </a:p>
        </p:txBody>
      </p:sp>
      <p:sp>
        <p:nvSpPr>
          <p:cNvPr id="98" name="CuadroTexto 39_0"/>
          <p:cNvSpPr/>
          <p:nvPr/>
        </p:nvSpPr>
        <p:spPr>
          <a:xfrm>
            <a:off x="240120" y="1709640"/>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ACT</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9</a:t>
            </a:r>
            <a:endParaRPr lang="es-ES" sz="900" b="1" strike="noStrike" spc="-1">
              <a:latin typeface="Arial"/>
            </a:endParaRPr>
          </a:p>
          <a:p>
            <a:pPr>
              <a:lnSpc>
                <a:spcPct val="100000"/>
              </a:lnSpc>
            </a:pPr>
            <a:endParaRPr lang="es-ES" sz="900" b="0" strike="noStrike" spc="-1">
              <a:latin typeface="Arial"/>
            </a:endParaRPr>
          </a:p>
        </p:txBody>
      </p:sp>
      <p:sp>
        <p:nvSpPr>
          <p:cNvPr id="99" name="CuadroTexto 44_0"/>
          <p:cNvSpPr/>
          <p:nvPr/>
        </p:nvSpPr>
        <p:spPr>
          <a:xfrm>
            <a:off x="685800" y="1743120"/>
            <a:ext cx="3988800" cy="195438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gn="just">
              <a:lnSpc>
                <a:spcPct val="100000"/>
              </a:lnSpc>
            </a:pPr>
            <a:r>
              <a:rPr lang="es-ES" sz="1100" b="1" strike="noStrike" spc="-1">
                <a:latin typeface="Soho Gothic Pro Light"/>
                <a:ea typeface="Soho Gothic Pro Light"/>
              </a:rPr>
              <a:t>Minsai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0" strike="noStrike" spc="-1">
              <a:latin typeface="Arial"/>
            </a:endParaRPr>
          </a:p>
          <a:p>
            <a:pPr algn="just">
              <a:lnSpc>
                <a:spcPct val="100000"/>
              </a:lnSpc>
            </a:pPr>
            <a:r>
              <a:rPr lang="es-ES" sz="1100" spc="-1">
                <a:latin typeface="Soho Gothic Pro Light"/>
                <a:ea typeface="Soho Gothic Pro Light"/>
              </a:rPr>
              <a:t>Ingeniero de datos / Desarrollo de Software</a:t>
            </a:r>
            <a:endParaRPr lang="es-ES" sz="1100" b="0" strike="noStrike"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100" spc="-1"/>
              <a:t>En la actualidad formo parte del equipo de Gestor Documental sobre Mongo-HDFS (caché o zona caliente) e histórico (zona fría) de la Agencia </a:t>
            </a:r>
            <a:r>
              <a:rPr lang="es-ES" sz="1100" spc="-1" err="1"/>
              <a:t>Tributària</a:t>
            </a:r>
            <a:r>
              <a:rPr lang="es-ES" sz="1100" spc="-1"/>
              <a:t> de Catalunya. Sistema que permite la copia auténtica e integración con otros gestores documentales utilizando tecnología Big Data.</a:t>
            </a:r>
          </a:p>
          <a:p>
            <a:pPr marL="171360" indent="-171000" algn="just">
              <a:lnSpc>
                <a:spcPct val="100000"/>
              </a:lnSpc>
              <a:buClr>
                <a:srgbClr val="1A3B47"/>
              </a:buClr>
              <a:buFont typeface="Arial,Sans-Serif"/>
              <a:buChar char="•"/>
            </a:pPr>
            <a:r>
              <a:rPr lang="es-ES" sz="1100" spc="-1"/>
              <a:t>Análisis y desarrollo de los procesos de la parte </a:t>
            </a:r>
            <a:r>
              <a:rPr lang="es-ES" sz="1100" spc="-1" err="1"/>
              <a:t>Batch</a:t>
            </a:r>
            <a:r>
              <a:rPr lang="es-ES" sz="1100" spc="-1"/>
              <a:t> de la aplicación y de la API del sistema.</a:t>
            </a:r>
          </a:p>
        </p:txBody>
      </p:sp>
      <p:sp>
        <p:nvSpPr>
          <p:cNvPr id="102" name="CuadroTexto 54_0"/>
          <p:cNvSpPr/>
          <p:nvPr/>
        </p:nvSpPr>
        <p:spPr>
          <a:xfrm>
            <a:off x="9438480" y="6119278"/>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diomas</a:t>
            </a:r>
            <a:endParaRPr lang="es-ES" sz="1200" b="0" strike="noStrike" spc="-1">
              <a:latin typeface="Arial"/>
            </a:endParaRPr>
          </a:p>
        </p:txBody>
      </p:sp>
      <p:sp>
        <p:nvSpPr>
          <p:cNvPr id="103" name="CuadroTexto 55_0"/>
          <p:cNvSpPr/>
          <p:nvPr/>
        </p:nvSpPr>
        <p:spPr>
          <a:xfrm>
            <a:off x="9474840" y="6340337"/>
            <a:ext cx="2712240" cy="553998"/>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r>
              <a:rPr lang="es-ES" sz="1000" b="1" strike="noStrike" spc="-1">
                <a:latin typeface="Soho Gothic Pro Light"/>
                <a:ea typeface="Soho Gothic Pro Light"/>
              </a:rPr>
              <a:t>Castellano - </a:t>
            </a:r>
            <a:r>
              <a:rPr lang="es-ES" sz="1000" b="0" strike="noStrike" spc="-1">
                <a:latin typeface="Soho Gothic Pro Light"/>
                <a:ea typeface="Soho Gothic Pro Light"/>
              </a:rPr>
              <a:t>Nativo</a:t>
            </a:r>
          </a:p>
          <a:p>
            <a:pPr>
              <a:lnSpc>
                <a:spcPct val="100000"/>
              </a:lnSpc>
            </a:pPr>
            <a:r>
              <a:rPr lang="ca-ES" sz="1000" b="1" spc="-1" err="1">
                <a:latin typeface="Soho Gothic Pro Light"/>
                <a:ea typeface="Soho Gothic Pro Light"/>
              </a:rPr>
              <a:t>Catalán</a:t>
            </a:r>
            <a:r>
              <a:rPr lang="ca-ES" sz="1000" b="1" spc="-1">
                <a:latin typeface="Soho Gothic Pro Light"/>
                <a:ea typeface="Soho Gothic Pro Light"/>
              </a:rPr>
              <a:t> - </a:t>
            </a:r>
            <a:r>
              <a:rPr lang="ca-ES" sz="1000" spc="-1" err="1">
                <a:latin typeface="Soho Gothic Pro Light"/>
                <a:ea typeface="Soho Gothic Pro Light"/>
              </a:rPr>
              <a:t>Nativo</a:t>
            </a:r>
            <a:r>
              <a:rPr lang="ca-ES" sz="1750"/>
              <a:t/>
            </a:r>
            <a:br>
              <a:rPr lang="ca-ES" sz="1750"/>
            </a:br>
            <a:r>
              <a:rPr lang="es-ES" sz="1000" b="1" strike="noStrike" spc="-1">
                <a:latin typeface="Soho Gothic Pro Light"/>
                <a:ea typeface="Soho Gothic Pro Light"/>
              </a:rPr>
              <a:t>Ingles - </a:t>
            </a:r>
            <a:r>
              <a:rPr lang="es-ES" sz="1000" b="0" strike="noStrike" spc="-1">
                <a:latin typeface="Soho Gothic Pro Light"/>
                <a:ea typeface="Soho Gothic Pro Light"/>
              </a:rPr>
              <a:t>C1</a:t>
            </a:r>
            <a:endParaRPr lang="es-ES" sz="1000" b="0" strike="noStrike" spc="-1">
              <a:latin typeface="Arial"/>
              <a:cs typeface="Arial"/>
            </a:endParaRPr>
          </a:p>
        </p:txBody>
      </p:sp>
      <p:sp>
        <p:nvSpPr>
          <p:cNvPr id="105" name="CuadroTexto 40_0"/>
          <p:cNvSpPr/>
          <p:nvPr/>
        </p:nvSpPr>
        <p:spPr>
          <a:xfrm>
            <a:off x="3451680" y="110520"/>
            <a:ext cx="2692800" cy="461665"/>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400" spc="-1">
                <a:solidFill>
                  <a:schemeClr val="bg1"/>
                </a:solidFill>
                <a:latin typeface="Soho Gothic Pro Medium"/>
              </a:rPr>
              <a:t>Arquitecto</a:t>
            </a:r>
            <a:endParaRPr lang="es-ES" sz="2400" b="0" strike="noStrike" spc="-1">
              <a:solidFill>
                <a:schemeClr val="bg1"/>
              </a:solidFill>
              <a:latin typeface="Aria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A.R.H.</a:t>
            </a:r>
            <a:endParaRPr lang="es-ES" sz="2000" b="0" strike="noStrike" spc="-1">
              <a:solidFill>
                <a:schemeClr val="bg1"/>
              </a:solidFill>
              <a:latin typeface="Arial"/>
            </a:endParaRPr>
          </a:p>
        </p:txBody>
      </p:sp>
      <p:sp>
        <p:nvSpPr>
          <p:cNvPr id="109" name="CuadroTexto 37_0"/>
          <p:cNvSpPr/>
          <p:nvPr/>
        </p:nvSpPr>
        <p:spPr>
          <a:xfrm>
            <a:off x="9416057" y="376772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T</a:t>
            </a:r>
            <a:endParaRPr lang="es-ES" sz="1200" b="0" strike="noStrike" spc="-1">
              <a:latin typeface="Arial"/>
            </a:endParaRPr>
          </a:p>
        </p:txBody>
      </p:sp>
      <p:sp>
        <p:nvSpPr>
          <p:cNvPr id="110" name="CuadroTexto 52_0"/>
          <p:cNvSpPr/>
          <p:nvPr/>
        </p:nvSpPr>
        <p:spPr>
          <a:xfrm>
            <a:off x="9334916" y="3978565"/>
            <a:ext cx="2786734" cy="2259255"/>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n-US" sz="1000" b="1" strike="noStrike" spc="-1">
                <a:latin typeface="Soho Gothic Pro Light"/>
                <a:ea typeface="Soho Gothic Pro Light"/>
              </a:rPr>
              <a:t>Programming languages</a:t>
            </a:r>
            <a:r>
              <a:rPr lang="en-US" sz="1000" b="0" strike="noStrike" spc="-1">
                <a:latin typeface="Soho Gothic Pro Light"/>
                <a:ea typeface="Soho Gothic Pro Light"/>
              </a:rPr>
              <a:t>: </a:t>
            </a:r>
            <a:r>
              <a:rPr lang="es-ES" sz="1000" i="1" spc="-1">
                <a:ea typeface="Soho Gothic Pro Light"/>
              </a:rPr>
              <a:t>Java J2EE, Scala, </a:t>
            </a:r>
            <a:r>
              <a:rPr lang="es-ES" sz="1000" i="1" spc="-1" err="1">
                <a:ea typeface="Soho Gothic Pro Light"/>
              </a:rPr>
              <a:t>Spark</a:t>
            </a:r>
            <a:r>
              <a:rPr lang="es-ES" sz="1000" i="1" spc="-1">
                <a:ea typeface="Soho Gothic Pro Light"/>
              </a:rPr>
              <a:t>, C, C++, PHP, Shell Scripting, </a:t>
            </a:r>
            <a:r>
              <a:rPr lang="es-ES" sz="1000" i="1" spc="-1" err="1">
                <a:ea typeface="Soho Gothic Pro Light"/>
              </a:rPr>
              <a:t>Javascript</a:t>
            </a:r>
            <a:r>
              <a:rPr lang="es-ES" sz="1000" i="1" spc="-1">
                <a:ea typeface="Soho Gothic Pro Light"/>
              </a:rPr>
              <a:t>, </a:t>
            </a:r>
            <a:r>
              <a:rPr lang="es-ES" sz="1000" i="1" spc="-1" err="1">
                <a:ea typeface="Soho Gothic Pro Light"/>
              </a:rPr>
              <a:t>Jquery</a:t>
            </a:r>
            <a:r>
              <a:rPr lang="es-ES" sz="1000" i="1" spc="-1">
                <a:ea typeface="Soho Gothic Pro Light"/>
              </a:rPr>
              <a:t>, </a:t>
            </a:r>
            <a:r>
              <a:rPr lang="es-ES" sz="1000" i="1" spc="-1" err="1">
                <a:ea typeface="Soho Gothic Pro Light"/>
              </a:rPr>
              <a:t>OpenLayers</a:t>
            </a:r>
            <a:r>
              <a:rPr lang="es-ES" sz="1000" i="1" spc="-1">
                <a:ea typeface="Soho Gothic Pro Light"/>
              </a:rPr>
              <a:t>, Mainframe</a:t>
            </a:r>
          </a:p>
          <a:p>
            <a:r>
              <a:rPr lang="en-US" sz="1000" b="1" strike="noStrike" spc="-1">
                <a:latin typeface="Soho Gothic Pro Light"/>
                <a:ea typeface="Soho Gothic Pro Light"/>
              </a:rPr>
              <a:t>Databases</a:t>
            </a:r>
            <a:r>
              <a:rPr lang="en-US" sz="1000" b="0" strike="noStrike" spc="-1">
                <a:latin typeface="Soho Gothic Pro Light"/>
                <a:ea typeface="Soho Gothic Pro Light"/>
              </a:rPr>
              <a:t>: </a:t>
            </a:r>
            <a:r>
              <a:rPr lang="en-US" sz="1000" i="1" spc="-1">
                <a:ea typeface="Soho Gothic Pro Light"/>
              </a:rPr>
              <a:t>AWSBBDD: </a:t>
            </a:r>
            <a:r>
              <a:rPr lang="en-US" sz="1000" i="1" spc="-1" err="1">
                <a:ea typeface="Soho Gothic Pro Light"/>
              </a:rPr>
              <a:t>Diseño</a:t>
            </a:r>
            <a:r>
              <a:rPr lang="en-US" sz="1000" i="1" spc="-1">
                <a:ea typeface="Soho Gothic Pro Light"/>
              </a:rPr>
              <a:t> e </a:t>
            </a:r>
            <a:r>
              <a:rPr lang="en-US" sz="1000" i="1" spc="-1" err="1">
                <a:ea typeface="Soho Gothic Pro Light"/>
              </a:rPr>
              <a:t>implementación</a:t>
            </a:r>
            <a:r>
              <a:rPr lang="en-US" sz="1000" i="1" spc="-1">
                <a:ea typeface="Soho Gothic Pro Light"/>
              </a:rPr>
              <a:t> de </a:t>
            </a:r>
            <a:r>
              <a:rPr lang="en-US" sz="1000" i="1" spc="-1" err="1">
                <a:ea typeface="Soho Gothic Pro Light"/>
              </a:rPr>
              <a:t>modelos</a:t>
            </a:r>
            <a:r>
              <a:rPr lang="en-US" sz="1000" i="1" spc="-1">
                <a:ea typeface="Soho Gothic Pro Light"/>
              </a:rPr>
              <a:t> </a:t>
            </a:r>
            <a:r>
              <a:rPr lang="en-US" sz="1000" i="1" spc="-1" err="1">
                <a:ea typeface="Soho Gothic Pro Light"/>
              </a:rPr>
              <a:t>sobre</a:t>
            </a:r>
            <a:endParaRPr lang="en-US" sz="1000" b="1" i="1" spc="-1">
              <a:ea typeface="Soho Gothic Pro Light"/>
            </a:endParaRPr>
          </a:p>
          <a:p>
            <a:r>
              <a:rPr lang="en-US" sz="1000" i="1" spc="-1">
                <a:ea typeface="Soho Gothic Pro Light"/>
              </a:rPr>
              <a:t>Oracle, </a:t>
            </a:r>
            <a:r>
              <a:rPr lang="en-US" sz="1000" i="1" spc="-1" err="1">
                <a:ea typeface="Soho Gothic Pro Light"/>
              </a:rPr>
              <a:t>SQLServer</a:t>
            </a:r>
            <a:r>
              <a:rPr lang="en-US" sz="1000" i="1" spc="-1">
                <a:ea typeface="Soho Gothic Pro Light"/>
              </a:rPr>
              <a:t>, MySQL, PostgreSQL, MongoDB, Apache Kudu, </a:t>
            </a:r>
            <a:r>
              <a:rPr lang="en-US" sz="1000" i="1" spc="-1" err="1">
                <a:ea typeface="Soho Gothic Pro Light"/>
              </a:rPr>
              <a:t>DinamoDB</a:t>
            </a:r>
            <a:r>
              <a:rPr lang="en-US" sz="1000" i="1" spc="-1">
                <a:ea typeface="Soho Gothic Pro Light"/>
              </a:rPr>
              <a:t> y PostgreSQL</a:t>
            </a:r>
          </a:p>
          <a:p>
            <a:r>
              <a:rPr lang="en-US" sz="1000" b="1" spc="-1">
                <a:ea typeface="Soho Gothic Pro Light"/>
              </a:rPr>
              <a:t>DevOps: </a:t>
            </a:r>
            <a:r>
              <a:rPr lang="en-US" sz="1000" b="1" i="1" spc="-1">
                <a:ea typeface="Soho Gothic Pro Light"/>
              </a:rPr>
              <a:t>Jenkins, SonarQube, </a:t>
            </a:r>
            <a:r>
              <a:rPr lang="en-US" sz="1000" b="1" i="1" spc="-1" err="1">
                <a:ea typeface="Soho Gothic Pro Light"/>
              </a:rPr>
              <a:t>Kiuwan</a:t>
            </a:r>
            <a:r>
              <a:rPr lang="en-US" sz="1000" b="1" i="1" spc="-1">
                <a:ea typeface="Soho Gothic Pro Light"/>
              </a:rPr>
              <a:t>, GIT. </a:t>
            </a:r>
          </a:p>
          <a:p>
            <a:pPr>
              <a:lnSpc>
                <a:spcPct val="100000"/>
              </a:lnSpc>
            </a:pPr>
            <a:r>
              <a:rPr lang="en-US" sz="1000" b="1" spc="-1">
                <a:ea typeface="Soho Gothic Pro Light"/>
              </a:rPr>
              <a:t>Big Data (</a:t>
            </a:r>
            <a:r>
              <a:rPr lang="en-US" sz="1000" b="1" spc="-1" err="1">
                <a:ea typeface="Soho Gothic Pro Light"/>
              </a:rPr>
              <a:t>tecnología</a:t>
            </a:r>
            <a:r>
              <a:rPr lang="en-US" sz="1000" b="1" spc="-1">
                <a:ea typeface="Soho Gothic Pro Light"/>
              </a:rPr>
              <a:t>): </a:t>
            </a:r>
            <a:r>
              <a:rPr lang="en-US" sz="1000" i="1" spc="-1">
                <a:ea typeface="Soho Gothic Pro Light"/>
              </a:rPr>
              <a:t>Hadoop; MongoDB</a:t>
            </a:r>
          </a:p>
          <a:p>
            <a:r>
              <a:rPr lang="en-US" sz="1000" i="1" spc="-1">
                <a:ea typeface="Soho Gothic Pro Light"/>
              </a:rPr>
              <a:t>Frameworks: Cloudera Manager, Hadoop, Spring Framework, Hibernate-JPA, Structs, Microservices Stack: Spring Boot, </a:t>
            </a:r>
            <a:endParaRPr lang="en-US" sz="1000" b="1" strike="noStrike" spc="-1">
              <a:solidFill>
                <a:srgbClr val="FF0000"/>
              </a:solidFill>
              <a:latin typeface="Soho Gothic Pro Light"/>
              <a:ea typeface="Soho Gothic Pro Light"/>
            </a:endParaRPr>
          </a:p>
          <a:p>
            <a:pPr>
              <a:lnSpc>
                <a:spcPct val="100000"/>
              </a:lnSpc>
            </a:pPr>
            <a:r>
              <a:rPr lang="en-US" sz="1000" b="1" strike="noStrike" spc="-1" err="1">
                <a:latin typeface="Soho Gothic Pro Light"/>
                <a:ea typeface="Soho Gothic Pro Light"/>
              </a:rPr>
              <a:t>Gestión</a:t>
            </a:r>
            <a:r>
              <a:rPr lang="en-US" sz="1000" b="0" strike="noStrike" spc="-1">
                <a:latin typeface="Soho Gothic Pro Light"/>
                <a:ea typeface="Soho Gothic Pro Light"/>
              </a:rPr>
              <a:t>: </a:t>
            </a:r>
            <a:r>
              <a:rPr lang="en-US" sz="1000" i="1" spc="-1">
                <a:ea typeface="Soho Gothic Pro Light"/>
              </a:rPr>
              <a:t>Jira, ITIL</a:t>
            </a:r>
          </a:p>
          <a:p>
            <a:r>
              <a:rPr lang="en-US" sz="1000" b="1" spc="-1">
                <a:ea typeface="Soho Gothic Pro Light"/>
              </a:rPr>
              <a:t>Agile</a:t>
            </a:r>
            <a:r>
              <a:rPr lang="en-US" sz="1000" spc="-1">
                <a:ea typeface="Soho Gothic Pro Light"/>
              </a:rPr>
              <a:t>:  </a:t>
            </a:r>
            <a:r>
              <a:rPr lang="en-US" sz="1000" i="1" spc="-1">
                <a:ea typeface="Soho Gothic Pro Light"/>
              </a:rPr>
              <a:t> Scrum/Kanban</a:t>
            </a:r>
          </a:p>
        </p:txBody>
      </p:sp>
      <p:sp>
        <p:nvSpPr>
          <p:cNvPr id="111" name="CuadroTexto 50_0"/>
          <p:cNvSpPr/>
          <p:nvPr/>
        </p:nvSpPr>
        <p:spPr>
          <a:xfrm>
            <a:off x="9473194" y="1746214"/>
            <a:ext cx="2651040" cy="1015663"/>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ea typeface="Soho Gothic Pro Light"/>
              </a:rPr>
              <a:t>2021 | </a:t>
            </a:r>
            <a:r>
              <a:rPr lang="es-ES" sz="1000" spc="-1">
                <a:ea typeface="+mn-lt"/>
                <a:cs typeface="+mn-lt"/>
              </a:rPr>
              <a:t>MongoDB</a:t>
            </a:r>
            <a:r>
              <a:rPr lang="es-ES" sz="1000" spc="-1">
                <a:solidFill>
                  <a:srgbClr val="FF0000"/>
                </a:solidFill>
                <a:ea typeface="+mn-lt"/>
                <a:cs typeface="+mn-lt"/>
              </a:rPr>
              <a:t>: </a:t>
            </a:r>
            <a:r>
              <a:rPr lang="es-ES" sz="1000" spc="-1">
                <a:solidFill>
                  <a:srgbClr val="1A3B47"/>
                </a:solidFill>
                <a:ea typeface="+mn-lt"/>
                <a:cs typeface="+mn-lt"/>
              </a:rPr>
              <a:t>M001 MongoDB </a:t>
            </a:r>
            <a:r>
              <a:rPr lang="es-ES" sz="1000" spc="-1" err="1">
                <a:solidFill>
                  <a:srgbClr val="1A3B47"/>
                </a:solidFill>
                <a:ea typeface="+mn-lt"/>
                <a:cs typeface="+mn-lt"/>
              </a:rPr>
              <a:t>Basics</a:t>
            </a:r>
            <a:endParaRPr lang="es-ES" sz="1000" spc="-1" err="1">
              <a:solidFill>
                <a:srgbClr val="1A3B47"/>
              </a:solidFill>
              <a:ea typeface="+mn-lt"/>
              <a:cs typeface="Arial"/>
            </a:endParaRPr>
          </a:p>
          <a:p>
            <a:r>
              <a:rPr lang="es-ES" sz="1000" spc="-1">
                <a:ea typeface="+mn-lt"/>
                <a:cs typeface="+mn-lt"/>
              </a:rPr>
              <a:t>               A300: Atlas Security</a:t>
            </a:r>
          </a:p>
          <a:p>
            <a:r>
              <a:rPr lang="es-ES" sz="1000" spc="-1">
                <a:ea typeface="+mn-lt"/>
                <a:cs typeface="+mn-lt"/>
              </a:rPr>
              <a:t>               M121: </a:t>
            </a:r>
            <a:r>
              <a:rPr lang="es-ES" sz="1000" spc="-1" err="1">
                <a:ea typeface="+mn-lt"/>
                <a:cs typeface="+mn-lt"/>
              </a:rPr>
              <a:t>The</a:t>
            </a:r>
            <a:r>
              <a:rPr lang="es-ES" sz="1000" spc="-1">
                <a:ea typeface="+mn-lt"/>
                <a:cs typeface="+mn-lt"/>
              </a:rPr>
              <a:t> MongoDB </a:t>
            </a:r>
            <a:r>
              <a:rPr lang="es-ES" sz="1000" spc="-1" err="1">
                <a:ea typeface="+mn-lt"/>
                <a:cs typeface="+mn-lt"/>
              </a:rPr>
              <a:t>Aggregation</a:t>
            </a:r>
            <a:r>
              <a:rPr lang="es-ES" sz="1000" spc="-1">
                <a:ea typeface="+mn-lt"/>
                <a:cs typeface="+mn-lt"/>
              </a:rPr>
              <a:t> Framework</a:t>
            </a:r>
            <a:endParaRPr lang="es-ES" sz="1750"/>
          </a:p>
          <a:p>
            <a:r>
              <a:rPr lang="es-ES" sz="1000" spc="-1">
                <a:ea typeface="+mn-lt"/>
                <a:cs typeface="+mn-lt"/>
              </a:rPr>
              <a:t>               M220J: MongoDB </a:t>
            </a:r>
            <a:r>
              <a:rPr lang="es-ES" sz="1000" spc="-1" err="1">
                <a:ea typeface="+mn-lt"/>
                <a:cs typeface="+mn-lt"/>
              </a:rPr>
              <a:t>for</a:t>
            </a:r>
            <a:r>
              <a:rPr lang="es-ES" sz="1000" spc="-1">
                <a:ea typeface="+mn-lt"/>
                <a:cs typeface="+mn-lt"/>
              </a:rPr>
              <a:t> Java </a:t>
            </a:r>
            <a:r>
              <a:rPr lang="es-ES" sz="1000" spc="-1" err="1">
                <a:ea typeface="+mn-lt"/>
                <a:cs typeface="+mn-lt"/>
              </a:rPr>
              <a:t>Developers</a:t>
            </a:r>
            <a:endParaRPr lang="es-ES" err="1"/>
          </a:p>
          <a:p>
            <a:r>
              <a:rPr lang="es-ES" sz="1000" spc="-1">
                <a:ea typeface="+mn-lt"/>
                <a:cs typeface="+mn-lt"/>
              </a:rPr>
              <a:t>               M320: Data </a:t>
            </a:r>
            <a:r>
              <a:rPr lang="es-ES" sz="1000" spc="-1" err="1">
                <a:ea typeface="+mn-lt"/>
                <a:cs typeface="+mn-lt"/>
              </a:rPr>
              <a:t>Modeling</a:t>
            </a:r>
            <a:endParaRPr lang="es-ES" err="1"/>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Educación</a:t>
            </a:r>
            <a:endParaRPr lang="es-ES" sz="1200" b="0" strike="noStrike" spc="-1">
              <a:latin typeface="Arial"/>
            </a:endParaRPr>
          </a:p>
        </p:txBody>
      </p:sp>
      <p:sp>
        <p:nvSpPr>
          <p:cNvPr id="113" name="CuadroTexto 70_0"/>
          <p:cNvSpPr/>
          <p:nvPr/>
        </p:nvSpPr>
        <p:spPr>
          <a:xfrm>
            <a:off x="9827280" y="441123"/>
            <a:ext cx="2349360" cy="116955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r>
              <a:rPr lang="es-ES" sz="1000" spc="-1">
                <a:ea typeface="Soho Gothic Pro Light"/>
              </a:rPr>
              <a:t>Ingeniero Superior en Informática por la </a:t>
            </a:r>
            <a:r>
              <a:rPr lang="es-ES" sz="1000" spc="-1" err="1">
                <a:ea typeface="Soho Gothic Pro Light"/>
              </a:rPr>
              <a:t>Universitat</a:t>
            </a:r>
            <a:r>
              <a:rPr lang="es-ES" sz="1000" spc="-1">
                <a:ea typeface="Soho Gothic Pro Light"/>
              </a:rPr>
              <a:t> de León.</a:t>
            </a:r>
          </a:p>
          <a:p>
            <a:r>
              <a:rPr lang="es-ES" sz="1000" spc="-1">
                <a:ea typeface="Soho Gothic Pro Light"/>
              </a:rPr>
              <a:t>Postgrado en Calidad en Big Data para Ciencias de la Vida por la Universidad Autónoma de Barcelona.</a:t>
            </a:r>
            <a:endParaRPr lang="es-ES" sz="1000" spc="-1"/>
          </a:p>
          <a:p>
            <a:pPr>
              <a:lnSpc>
                <a:spcPct val="100000"/>
              </a:lnSpc>
            </a:pPr>
            <a:r>
              <a:rPr lang="es-ES" sz="1000" spc="-1">
                <a:ea typeface="Soho Gothic Pro Light"/>
              </a:rPr>
              <a:t>Business </a:t>
            </a:r>
            <a:r>
              <a:rPr lang="es-ES" sz="1000" spc="-1" err="1">
                <a:ea typeface="Soho Gothic Pro Light"/>
              </a:rPr>
              <a:t>Intelligence</a:t>
            </a:r>
            <a:r>
              <a:rPr lang="es-ES" sz="1000" spc="-1">
                <a:ea typeface="Soho Gothic Pro Light"/>
              </a:rPr>
              <a:t> y Big Data por la Universidad Oberta de Catalunya.</a:t>
            </a:r>
            <a:endParaRPr lang="es-ES" sz="1000" b="0" strike="noStrike" spc="-1">
              <a:latin typeface="Arial"/>
            </a:endParaRPr>
          </a:p>
        </p:txBody>
      </p:sp>
      <p:sp>
        <p:nvSpPr>
          <p:cNvPr id="114" name="CuadroTexto 73_0"/>
          <p:cNvSpPr/>
          <p:nvPr/>
        </p:nvSpPr>
        <p:spPr>
          <a:xfrm>
            <a:off x="9438055" y="338645"/>
            <a:ext cx="543665" cy="369332"/>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endParaRPr lang="es-ES" sz="900" b="0" strike="noStrike" spc="-1">
              <a:solidFill>
                <a:srgbClr val="FF0000"/>
              </a:solidFill>
              <a:latin typeface="Soho Gothic Pro Medium"/>
            </a:endParaRPr>
          </a:p>
          <a:p>
            <a:pPr>
              <a:lnSpc>
                <a:spcPct val="100000"/>
              </a:lnSpc>
            </a:pPr>
            <a:r>
              <a:rPr lang="es-ES" sz="900" spc="-1">
                <a:latin typeface="Soho Gothic Pro Medium"/>
              </a:rPr>
              <a:t>2013</a:t>
            </a:r>
            <a:endParaRPr lang="es-ES" sz="900" b="0" strike="noStrike" spc="-1">
              <a:latin typeface="Arial"/>
              <a:cs typeface="Arial"/>
            </a:endParaRPr>
          </a:p>
        </p:txBody>
      </p:sp>
      <p:sp>
        <p:nvSpPr>
          <p:cNvPr id="115" name="CuadroTexto 45_2"/>
          <p:cNvSpPr/>
          <p:nvPr/>
        </p:nvSpPr>
        <p:spPr>
          <a:xfrm>
            <a:off x="651600" y="3632785"/>
            <a:ext cx="3848400" cy="2799313"/>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Ingeniero de datos / Desarrollo de Software</a:t>
            </a:r>
            <a:endParaRPr lang="es-ES" sz="1100"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
              <a:buChar char="•"/>
            </a:pPr>
            <a:r>
              <a:rPr lang="es-ES" sz="1100" spc="-1"/>
              <a:t>Proyecto TSB Bank - </a:t>
            </a:r>
            <a:r>
              <a:rPr lang="es-ES" sz="1100" spc="-1" err="1"/>
              <a:t>Banc</a:t>
            </a:r>
            <a:r>
              <a:rPr lang="es-ES" sz="1100" spc="-1"/>
              <a:t> Sabadell. Construcción e implantación de middleware ICS para el ámbito de cheques. </a:t>
            </a:r>
          </a:p>
          <a:p>
            <a:pPr marL="171360" indent="-171000" algn="just">
              <a:lnSpc>
                <a:spcPct val="100000"/>
              </a:lnSpc>
              <a:buClr>
                <a:srgbClr val="1A3B47"/>
              </a:buClr>
              <a:buFont typeface="Arial"/>
              <a:buChar char="•"/>
            </a:pPr>
            <a:r>
              <a:rPr lang="es-ES" sz="1100" spc="-1"/>
              <a:t>Realización de tareas en la puesta en producción, gestión de incidencias de la aplicación siendo el enlace entre el equipo y el cliente para la resolución de incidencias, monitorización de la aplicación y estabilidad en el entorno de Producción.</a:t>
            </a:r>
          </a:p>
          <a:p>
            <a:pPr marL="171360" indent="-171000" algn="just">
              <a:lnSpc>
                <a:spcPct val="100000"/>
              </a:lnSpc>
              <a:buClr>
                <a:srgbClr val="1A3B47"/>
              </a:buClr>
              <a:buFont typeface="Arial"/>
              <a:buChar char="•"/>
            </a:pPr>
            <a:r>
              <a:rPr lang="es-ES" sz="1100" spc="-1"/>
              <a:t>Desarrollo y refactorización del aplicativo Middleware para la comunicación entre sistemas Host, </a:t>
            </a:r>
            <a:r>
              <a:rPr lang="es-ES" sz="1100" spc="-1" err="1"/>
              <a:t>Vocalink</a:t>
            </a:r>
            <a:r>
              <a:rPr lang="es-ES" sz="1100" spc="-1"/>
              <a:t> y Kappa para </a:t>
            </a:r>
            <a:r>
              <a:rPr lang="es-ES" sz="1100" spc="-1" err="1"/>
              <a:t>Midrange</a:t>
            </a:r>
            <a:r>
              <a:rPr lang="es-ES" sz="1100" spc="-1"/>
              <a:t> (Banco TSB) utilizando las tecnologías Java 8, </a:t>
            </a:r>
            <a:r>
              <a:rPr lang="es-ES" sz="1100" spc="-1" err="1"/>
              <a:t>Hibernate</a:t>
            </a:r>
            <a:r>
              <a:rPr lang="es-ES" sz="1100" spc="-1"/>
              <a:t> 5, </a:t>
            </a:r>
            <a:r>
              <a:rPr lang="es-ES" sz="1100" spc="-1" err="1"/>
              <a:t>JUnit</a:t>
            </a:r>
            <a:r>
              <a:rPr lang="es-ES" sz="1100" spc="-1"/>
              <a:t>, </a:t>
            </a:r>
            <a:r>
              <a:rPr lang="es-ES" sz="1100" spc="-1" err="1"/>
              <a:t>Mockito</a:t>
            </a:r>
            <a:r>
              <a:rPr lang="es-ES" sz="1100" spc="-1"/>
              <a:t>, </a:t>
            </a:r>
            <a:r>
              <a:rPr lang="es-ES" sz="1100" spc="-1" err="1"/>
              <a:t>Maven</a:t>
            </a:r>
            <a:r>
              <a:rPr lang="es-ES" sz="1100" spc="-1"/>
              <a:t> 3, A2IA OCR, Oracle 12c, </a:t>
            </a:r>
            <a:r>
              <a:rPr lang="es-ES" sz="1100" spc="-1" err="1"/>
              <a:t>Git</a:t>
            </a:r>
            <a:r>
              <a:rPr lang="es-ES" sz="1100" spc="-1"/>
              <a:t>, </a:t>
            </a:r>
            <a:r>
              <a:rPr lang="es-ES" sz="1100" spc="-1" err="1"/>
              <a:t>Svn</a:t>
            </a:r>
            <a:r>
              <a:rPr lang="es-ES" sz="1100" spc="-1"/>
              <a:t>.</a:t>
            </a:r>
          </a:p>
        </p:txBody>
      </p:sp>
      <p:sp>
        <p:nvSpPr>
          <p:cNvPr id="116" name="CuadroTexto 48_2"/>
          <p:cNvSpPr/>
          <p:nvPr/>
        </p:nvSpPr>
        <p:spPr>
          <a:xfrm>
            <a:off x="240120" y="3533065"/>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8</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9</a:t>
            </a:r>
            <a:endParaRPr lang="es-ES" sz="900" b="1" strike="noStrike" spc="-1">
              <a:latin typeface="Arial"/>
            </a:endParaRPr>
          </a:p>
        </p:txBody>
      </p:sp>
      <p:sp>
        <p:nvSpPr>
          <p:cNvPr id="117" name="CuadroTexto 33_0"/>
          <p:cNvSpPr/>
          <p:nvPr/>
        </p:nvSpPr>
        <p:spPr>
          <a:xfrm>
            <a:off x="9477155" y="1476136"/>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1" strike="noStrike" spc="-1">
                <a:latin typeface="Soho Gothic Pro Light"/>
              </a:rPr>
              <a:t>Cursos Relevantes</a:t>
            </a:r>
            <a:endParaRPr lang="es-ES" sz="1200" b="0" strike="noStrike" spc="-1">
              <a:latin typeface="Arial"/>
            </a:endParaRPr>
          </a:p>
        </p:txBody>
      </p:sp>
      <p:sp>
        <p:nvSpPr>
          <p:cNvPr id="35" name="CuadroTexto 45_2"/>
          <p:cNvSpPr/>
          <p:nvPr/>
        </p:nvSpPr>
        <p:spPr>
          <a:xfrm>
            <a:off x="5312880" y="1845575"/>
            <a:ext cx="3848400" cy="1445096"/>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Ingeniero de datos / Desarrollo de Software</a:t>
            </a:r>
          </a:p>
          <a:p>
            <a:pPr algn="just">
              <a:lnSpc>
                <a:spcPct val="100000"/>
              </a:lnSpc>
            </a:pPr>
            <a:endParaRPr lang="es-ES" sz="1100" b="0" strike="noStrike" spc="-1">
              <a:latin typeface="Arial"/>
            </a:endParaRPr>
          </a:p>
          <a:p>
            <a:pPr marL="171450" indent="-171450" algn="just" defTabSz="914377">
              <a:buFont typeface="Arial" panose="020B0604020202020204" pitchFamily="34" charset="0"/>
              <a:buChar char="•"/>
              <a:defRPr b="0" i="0"/>
            </a:pPr>
            <a:r>
              <a:rPr lang="es-ES" sz="1100"/>
              <a:t>Análisis, desarrollo e implantación de Arquitecturas y aplicaciones en la parte Back y Front </a:t>
            </a:r>
            <a:r>
              <a:rPr lang="es-ES" sz="1100" err="1"/>
              <a:t>End</a:t>
            </a:r>
            <a:r>
              <a:rPr lang="es-ES" sz="1100"/>
              <a:t> para los departamentos de </a:t>
            </a:r>
            <a:r>
              <a:rPr lang="es-ES" sz="1100" err="1"/>
              <a:t>Turisme</a:t>
            </a:r>
            <a:r>
              <a:rPr lang="es-ES" sz="1100"/>
              <a:t> e Interior de la Generalitat de Catalunya y en aplicaciones con </a:t>
            </a:r>
            <a:r>
              <a:rPr lang="es-ES" sz="1100" err="1"/>
              <a:t>microservicios</a:t>
            </a:r>
            <a:r>
              <a:rPr lang="es-ES" sz="1100"/>
              <a:t> y mapas usando visores con tecnología GIS</a:t>
            </a:r>
          </a:p>
        </p:txBody>
      </p:sp>
      <p:sp>
        <p:nvSpPr>
          <p:cNvPr id="36" name="CuadroTexto 48_2"/>
          <p:cNvSpPr/>
          <p:nvPr/>
        </p:nvSpPr>
        <p:spPr>
          <a:xfrm>
            <a:off x="4901400" y="1745855"/>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7</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8</a:t>
            </a:r>
            <a:endParaRPr lang="es-ES" sz="900" b="1" strike="noStrike" spc="-1">
              <a:latin typeface="Arial"/>
            </a:endParaRPr>
          </a:p>
        </p:txBody>
      </p:sp>
      <p:sp>
        <p:nvSpPr>
          <p:cNvPr id="37" name="CuadroTexto 30_0"/>
          <p:cNvSpPr/>
          <p:nvPr/>
        </p:nvSpPr>
        <p:spPr>
          <a:xfrm>
            <a:off x="5143500" y="152640"/>
            <a:ext cx="421470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2000" spc="-1">
                <a:solidFill>
                  <a:schemeClr val="bg1"/>
                </a:solidFill>
                <a:ea typeface="Soho Gothic Pro Light"/>
              </a:rPr>
              <a:t>Alejandro Rebaque Hernández</a:t>
            </a:r>
            <a:endParaRPr lang="es-ES" sz="2000" b="0" strike="noStrike" spc="-1">
              <a:solidFill>
                <a:schemeClr val="bg1"/>
              </a:solidFill>
              <a:latin typeface="Arial"/>
            </a:endParaRPr>
          </a:p>
        </p:txBody>
      </p:sp>
      <p:sp>
        <p:nvSpPr>
          <p:cNvPr id="27" name="CuadroTexto 45_2"/>
          <p:cNvSpPr/>
          <p:nvPr/>
        </p:nvSpPr>
        <p:spPr>
          <a:xfrm>
            <a:off x="5312880" y="3728945"/>
            <a:ext cx="3848400" cy="1275819"/>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Software </a:t>
            </a:r>
            <a:r>
              <a:rPr lang="es-ES" sz="1100" spc="-1" err="1">
                <a:ea typeface="Soho Gothic Pro Light"/>
              </a:rPr>
              <a:t>Developer</a:t>
            </a:r>
            <a:r>
              <a:rPr lang="es-ES" sz="1100" spc="-1">
                <a:ea typeface="Soho Gothic Pro Light"/>
              </a:rPr>
              <a:t> / Análisis</a:t>
            </a:r>
            <a:endParaRPr lang="es-ES" sz="1100" spc="-1">
              <a:latin typeface="Arial"/>
            </a:endParaRPr>
          </a:p>
          <a:p>
            <a:pPr algn="just">
              <a:lnSpc>
                <a:spcPct val="100000"/>
              </a:lnSpc>
            </a:pPr>
            <a:endParaRPr lang="es-ES" sz="1100" b="0" strike="noStrike" spc="-1">
              <a:latin typeface="Arial"/>
            </a:endParaRPr>
          </a:p>
          <a:p>
            <a:pPr marL="171450" indent="-171450" algn="just" defTabSz="914377">
              <a:buFont typeface="Arial" panose="020B0604020202020204" pitchFamily="34" charset="0"/>
              <a:buChar char="•"/>
              <a:defRPr b="0" i="0"/>
            </a:pPr>
            <a:r>
              <a:rPr lang="es-ES" sz="1100"/>
              <a:t>Realizando funciones de desarrollador de software en distintas tecnologías de aplicaciones en el ámbito de la banca y los seguros teniendo el doble perfil (Java &amp; Host).</a:t>
            </a:r>
          </a:p>
        </p:txBody>
      </p:sp>
      <p:sp>
        <p:nvSpPr>
          <p:cNvPr id="28" name="CuadroTexto 48_2"/>
          <p:cNvSpPr/>
          <p:nvPr/>
        </p:nvSpPr>
        <p:spPr>
          <a:xfrm>
            <a:off x="4901400" y="3629225"/>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5</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7</a:t>
            </a:r>
            <a:endParaRPr lang="es-ES" sz="900" b="1" strike="noStrike" spc="-1">
              <a:latin typeface="Arial"/>
            </a:endParaRPr>
          </a:p>
        </p:txBody>
      </p:sp>
      <p:sp>
        <p:nvSpPr>
          <p:cNvPr id="29" name="CuadroTexto 73_0"/>
          <p:cNvSpPr/>
          <p:nvPr/>
        </p:nvSpPr>
        <p:spPr>
          <a:xfrm>
            <a:off x="9438056" y="1183135"/>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latin typeface="Soho Gothic Pro Medium"/>
              </a:rPr>
              <a:t>2019</a:t>
            </a:r>
            <a:endParaRPr lang="es-ES" sz="900" strike="noStrike" spc="-1">
              <a:latin typeface="Arial"/>
            </a:endParaRPr>
          </a:p>
          <a:p>
            <a:pPr>
              <a:lnSpc>
                <a:spcPct val="100000"/>
              </a:lnSpc>
            </a:pPr>
            <a:endParaRPr lang="es-ES" sz="900" b="0" strike="noStrike" spc="-1">
              <a:solidFill>
                <a:srgbClr val="FF0000"/>
              </a:solidFill>
              <a:latin typeface="Soho Gothic Pro Medium"/>
            </a:endParaRPr>
          </a:p>
          <a:p>
            <a:pPr>
              <a:lnSpc>
                <a:spcPct val="100000"/>
              </a:lnSpc>
            </a:pPr>
            <a:endParaRPr lang="es-ES" sz="900" b="0" strike="noStrike" spc="-1">
              <a:solidFill>
                <a:srgbClr val="FF0000"/>
              </a:solidFill>
              <a:latin typeface="Soho Gothic Pro Medium"/>
            </a:endParaRPr>
          </a:p>
        </p:txBody>
      </p:sp>
      <p:sp>
        <p:nvSpPr>
          <p:cNvPr id="32" name="CuadroTexto 45_2"/>
          <p:cNvSpPr/>
          <p:nvPr/>
        </p:nvSpPr>
        <p:spPr>
          <a:xfrm>
            <a:off x="5312880" y="5208936"/>
            <a:ext cx="3848400" cy="937264"/>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Software </a:t>
            </a:r>
            <a:r>
              <a:rPr lang="es-ES" sz="1100" spc="-1" err="1">
                <a:ea typeface="Soho Gothic Pro Light"/>
              </a:rPr>
              <a:t>Developer</a:t>
            </a:r>
            <a:endParaRPr lang="es-ES" sz="1100" spc="-1">
              <a:ea typeface="Soho Gothic Pro Light"/>
            </a:endParaRPr>
          </a:p>
          <a:p>
            <a:pPr algn="just">
              <a:lnSpc>
                <a:spcPct val="100000"/>
              </a:lnSpc>
            </a:pPr>
            <a:endParaRPr lang="es-ES" sz="1100" b="0" strike="noStrike" spc="-1">
              <a:latin typeface="Arial"/>
            </a:endParaRPr>
          </a:p>
          <a:p>
            <a:pPr marL="171450" indent="-171450" algn="just" defTabSz="914377">
              <a:buFont typeface="Arial" panose="020B0604020202020204" pitchFamily="34" charset="0"/>
              <a:buChar char="•"/>
              <a:defRPr b="0" i="0"/>
            </a:pPr>
            <a:r>
              <a:rPr lang="es-ES" sz="1100"/>
              <a:t>Formando parte en el desarrollo de aplicaciones Web en la parte Back </a:t>
            </a:r>
            <a:r>
              <a:rPr lang="es-ES" sz="1100" err="1"/>
              <a:t>End</a:t>
            </a:r>
            <a:r>
              <a:rPr lang="es-ES" sz="1100"/>
              <a:t> y Front </a:t>
            </a:r>
            <a:r>
              <a:rPr lang="es-ES" sz="1100" err="1"/>
              <a:t>End</a:t>
            </a:r>
            <a:r>
              <a:rPr lang="es-ES" sz="1100"/>
              <a:t>.</a:t>
            </a:r>
          </a:p>
        </p:txBody>
      </p:sp>
      <p:sp>
        <p:nvSpPr>
          <p:cNvPr id="38" name="CuadroTexto 48_2"/>
          <p:cNvSpPr/>
          <p:nvPr/>
        </p:nvSpPr>
        <p:spPr>
          <a:xfrm>
            <a:off x="4901400" y="5109216"/>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0</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4</a:t>
            </a:r>
            <a:endParaRPr lang="es-ES" sz="900" b="1" strike="noStrike" spc="-1">
              <a:latin typeface="Arial"/>
            </a:endParaRPr>
          </a:p>
        </p:txBody>
      </p:sp>
      <p:sp>
        <p:nvSpPr>
          <p:cNvPr id="31" name="CuadroTexto 73_0">
            <a:extLst>
              <a:ext uri="{FF2B5EF4-FFF2-40B4-BE49-F238E27FC236}">
                <a16:creationId xmlns:a16="http://schemas.microsoft.com/office/drawing/2014/main" id="{7796213A-8BEC-48C5-8800-871952BC6CB4}"/>
              </a:ext>
            </a:extLst>
          </p:cNvPr>
          <p:cNvSpPr/>
          <p:nvPr/>
        </p:nvSpPr>
        <p:spPr>
          <a:xfrm>
            <a:off x="9438057" y="751074"/>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latin typeface="Soho Gothic Pro Medium"/>
              </a:rPr>
              <a:t>2019</a:t>
            </a:r>
            <a:endParaRPr lang="es-ES" sz="900" b="0" strike="noStrike" spc="-1">
              <a:latin typeface="Arial"/>
            </a:endParaRPr>
          </a:p>
          <a:p>
            <a:pPr>
              <a:lnSpc>
                <a:spcPct val="100000"/>
              </a:lnSpc>
            </a:pPr>
            <a:endParaRPr lang="es-ES" sz="900" b="0" strike="noStrike" spc="-1">
              <a:solidFill>
                <a:srgbClr val="FF0000"/>
              </a:solidFill>
              <a:latin typeface="Soho Gothic Pro Medium"/>
            </a:endParaRPr>
          </a:p>
          <a:p>
            <a:pPr>
              <a:lnSpc>
                <a:spcPct val="100000"/>
              </a:lnSpc>
            </a:pPr>
            <a:endParaRPr lang="es-ES" sz="900" b="0" strike="noStrike" spc="-1">
              <a:solidFill>
                <a:srgbClr val="FF0000"/>
              </a:solidFill>
              <a:latin typeface="Soho Gothic Pro Medium"/>
            </a:endParaRPr>
          </a:p>
        </p:txBody>
      </p:sp>
      <p:sp>
        <p:nvSpPr>
          <p:cNvPr id="34" name="CuadroTexto 50_0">
            <a:extLst>
              <a:ext uri="{FF2B5EF4-FFF2-40B4-BE49-F238E27FC236}">
                <a16:creationId xmlns:a16="http://schemas.microsoft.com/office/drawing/2014/main" id="{3F2A8E2F-6B21-4E0A-80EE-BC5CBEF477D0}"/>
              </a:ext>
            </a:extLst>
          </p:cNvPr>
          <p:cNvSpPr/>
          <p:nvPr/>
        </p:nvSpPr>
        <p:spPr>
          <a:xfrm>
            <a:off x="9473194" y="2704606"/>
            <a:ext cx="2651040" cy="1015663"/>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ea typeface="Soho Gothic Pro Light"/>
              </a:rPr>
              <a:t>2019 | </a:t>
            </a:r>
            <a:r>
              <a:rPr lang="es-ES" sz="1000" spc="-1">
                <a:ea typeface="+mn-lt"/>
                <a:cs typeface="+mn-lt"/>
              </a:rPr>
              <a:t>ELK</a:t>
            </a:r>
            <a:r>
              <a:rPr lang="es-ES" sz="1000" spc="-1">
                <a:solidFill>
                  <a:srgbClr val="FF0000"/>
                </a:solidFill>
                <a:ea typeface="+mn-lt"/>
                <a:cs typeface="+mn-lt"/>
              </a:rPr>
              <a:t>: </a:t>
            </a:r>
            <a:r>
              <a:rPr lang="es-ES" sz="1000" spc="-1" err="1">
                <a:ea typeface="+mn-lt"/>
                <a:cs typeface="+mn-lt"/>
              </a:rPr>
              <a:t>Elastic</a:t>
            </a:r>
            <a:r>
              <a:rPr lang="es-ES" sz="1000" spc="-1">
                <a:ea typeface="+mn-lt"/>
                <a:cs typeface="+mn-lt"/>
              </a:rPr>
              <a:t> Training: APM Fundamentals</a:t>
            </a:r>
            <a:endParaRPr lang="es-ES" sz="1000" spc="-1" err="1">
              <a:cs typeface="Arial"/>
            </a:endParaRPr>
          </a:p>
          <a:p>
            <a:r>
              <a:rPr lang="es-ES" sz="1000" spc="-1">
                <a:ea typeface="+mn-lt"/>
                <a:cs typeface="+mn-lt"/>
              </a:rPr>
              <a:t>                  </a:t>
            </a:r>
            <a:r>
              <a:rPr lang="es-ES" sz="1000" spc="-1" err="1">
                <a:ea typeface="+mn-lt"/>
                <a:cs typeface="+mn-lt"/>
              </a:rPr>
              <a:t>Elastic</a:t>
            </a:r>
            <a:r>
              <a:rPr lang="es-ES" sz="1000" spc="-1">
                <a:ea typeface="+mn-lt"/>
                <a:cs typeface="+mn-lt"/>
              </a:rPr>
              <a:t> Machine </a:t>
            </a:r>
            <a:r>
              <a:rPr lang="es-ES" sz="1000" spc="-1" err="1">
                <a:ea typeface="+mn-lt"/>
                <a:cs typeface="+mn-lt"/>
              </a:rPr>
              <a:t>Learning</a:t>
            </a:r>
            <a:r>
              <a:rPr lang="es-ES" sz="1000" spc="-1">
                <a:ea typeface="+mn-lt"/>
                <a:cs typeface="+mn-lt"/>
              </a:rPr>
              <a:t> </a:t>
            </a:r>
            <a:r>
              <a:rPr lang="es-ES" sz="1000" spc="-1" err="1">
                <a:ea typeface="+mn-lt"/>
                <a:cs typeface="+mn-lt"/>
              </a:rPr>
              <a:t>for</a:t>
            </a:r>
            <a:r>
              <a:rPr lang="es-ES" sz="1000" spc="-1">
                <a:ea typeface="+mn-lt"/>
                <a:cs typeface="+mn-lt"/>
              </a:rPr>
              <a:t> </a:t>
            </a:r>
            <a:r>
              <a:rPr lang="es-ES" sz="1000" spc="-1" err="1">
                <a:ea typeface="+mn-lt"/>
                <a:cs typeface="+mn-lt"/>
              </a:rPr>
              <a:t>Cybersecurity</a:t>
            </a:r>
            <a:endParaRPr lang="es-ES" err="1"/>
          </a:p>
          <a:p>
            <a:r>
              <a:rPr lang="es-ES" sz="1000" spc="-1">
                <a:ea typeface="+mn-lt"/>
                <a:cs typeface="+mn-lt"/>
              </a:rPr>
              <a:t>                  </a:t>
            </a:r>
            <a:r>
              <a:rPr lang="es-ES" sz="1000" spc="-1" err="1">
                <a:ea typeface="+mn-lt"/>
                <a:cs typeface="+mn-lt"/>
              </a:rPr>
              <a:t>Loggin</a:t>
            </a:r>
            <a:r>
              <a:rPr lang="es-ES" sz="1000" spc="-1">
                <a:ea typeface="+mn-lt"/>
                <a:cs typeface="+mn-lt"/>
              </a:rPr>
              <a:t> Fundamentals</a:t>
            </a:r>
            <a:endParaRPr lang="es-ES"/>
          </a:p>
          <a:p>
            <a:r>
              <a:rPr lang="es-ES" sz="1000" spc="-1">
                <a:ea typeface="+mn-lt"/>
                <a:cs typeface="+mn-lt"/>
              </a:rPr>
              <a:t>                  </a:t>
            </a:r>
            <a:r>
              <a:rPr lang="es-ES" sz="1000" spc="-1" err="1">
                <a:ea typeface="+mn-lt"/>
                <a:cs typeface="+mn-lt"/>
              </a:rPr>
              <a:t>Metric</a:t>
            </a:r>
            <a:r>
              <a:rPr lang="es-ES" sz="1000" spc="-1">
                <a:ea typeface="+mn-lt"/>
                <a:cs typeface="+mn-lt"/>
              </a:rPr>
              <a:t> Fundamentals</a:t>
            </a:r>
            <a:endParaRPr lang="es-ES"/>
          </a:p>
          <a:p>
            <a:r>
              <a:rPr lang="es-ES" sz="1000" spc="-1">
                <a:ea typeface="+mn-lt"/>
                <a:cs typeface="+mn-lt"/>
              </a:rPr>
              <a:t>                  X-Pack - Security</a:t>
            </a:r>
            <a:endParaRPr lang="es-ES"/>
          </a:p>
        </p:txBody>
      </p:sp>
    </p:spTree>
    <p:extLst>
      <p:ext uri="{BB962C8B-B14F-4D97-AF65-F5344CB8AC3E}">
        <p14:creationId xmlns:p14="http://schemas.microsoft.com/office/powerpoint/2010/main" val="36951701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81767" y="267093"/>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95142" y="564685"/>
            <a:ext cx="9378052" cy="100027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s-ES" sz="1180" spc="-1">
                <a:ea typeface="Soho Gothic Pro Light"/>
              </a:rPr>
              <a:t>Ingeniero y Arquitecto en </a:t>
            </a:r>
            <a:r>
              <a:rPr lang="es-ES" sz="1180" spc="-1" err="1">
                <a:ea typeface="Soho Gothic Pro Light"/>
              </a:rPr>
              <a:t>Microservicios</a:t>
            </a:r>
            <a:r>
              <a:rPr lang="es-ES" sz="1180" spc="-1">
                <a:ea typeface="Soho Gothic Pro Light"/>
              </a:rPr>
              <a:t> &amp; AP con más de 9 años de experiencia en el análisis, definición y desarrollo de arquitecturas y aplicaciones (</a:t>
            </a:r>
            <a:r>
              <a:rPr lang="es-ES" sz="1180" spc="-1" err="1">
                <a:ea typeface="Soho Gothic Pro Light"/>
              </a:rPr>
              <a:t>WebServices</a:t>
            </a:r>
            <a:r>
              <a:rPr lang="es-ES" sz="1180" spc="-1">
                <a:ea typeface="Soho Gothic Pro Light"/>
              </a:rPr>
              <a:t>, SOAP, </a:t>
            </a:r>
            <a:r>
              <a:rPr lang="es-ES" sz="1180" spc="-1" err="1">
                <a:ea typeface="Soho Gothic Pro Light"/>
              </a:rPr>
              <a:t>Rest</a:t>
            </a:r>
            <a:r>
              <a:rPr lang="es-ES" sz="1180" spc="-1">
                <a:ea typeface="Soho Gothic Pro Light"/>
              </a:rPr>
              <a:t>, </a:t>
            </a:r>
            <a:r>
              <a:rPr lang="es-ES" sz="1180" spc="-1" err="1">
                <a:ea typeface="Soho Gothic Pro Light"/>
              </a:rPr>
              <a:t>Canigó</a:t>
            </a:r>
            <a:r>
              <a:rPr lang="es-ES" sz="1180" spc="-1">
                <a:ea typeface="Soho Gothic Pro Light"/>
              </a:rPr>
              <a:t>, SQLJ, EJB, </a:t>
            </a:r>
            <a:r>
              <a:rPr lang="es-ES" sz="1180" spc="-1" err="1">
                <a:ea typeface="Soho Gothic Pro Light"/>
              </a:rPr>
              <a:t>Microservicios</a:t>
            </a:r>
            <a:r>
              <a:rPr lang="es-ES" sz="1180" spc="-1">
                <a:ea typeface="Soho Gothic Pro Light"/>
              </a:rPr>
              <a:t>, Mainframe..) tanto en la parte </a:t>
            </a:r>
            <a:r>
              <a:rPr lang="es-ES" sz="1180" spc="-1" err="1">
                <a:ea typeface="Soho Gothic Pro Light"/>
              </a:rPr>
              <a:t>Batch</a:t>
            </a:r>
            <a:r>
              <a:rPr lang="es-ES" sz="1180" spc="-1">
                <a:ea typeface="Soho Gothic Pro Light"/>
              </a:rPr>
              <a:t> como Front </a:t>
            </a:r>
            <a:r>
              <a:rPr lang="es-ES" sz="1180" spc="-1" err="1">
                <a:ea typeface="Soho Gothic Pro Light"/>
              </a:rPr>
              <a:t>End</a:t>
            </a:r>
            <a:r>
              <a:rPr lang="es-ES" sz="1180" spc="-1">
                <a:ea typeface="Soho Gothic Pro Light"/>
              </a:rPr>
              <a:t> utilizando distintos lenguajes de programación, siendo Java el principal e interactuando con otros lenguajes y plataformas, aseguramiento de la calidad QA y control de calidad QC. Colaborando en la realización de proyectos para los sectores de Banca, Seguros y Administración Pública (Generalitat de Catalunya).</a:t>
            </a:r>
          </a:p>
        </p:txBody>
      </p:sp>
      <p:sp>
        <p:nvSpPr>
          <p:cNvPr id="98" name="CuadroTexto 39_0"/>
          <p:cNvSpPr/>
          <p:nvPr/>
        </p:nvSpPr>
        <p:spPr>
          <a:xfrm>
            <a:off x="69955" y="2789864"/>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latin typeface="Soho Gothic Pro Light"/>
              </a:rPr>
              <a:t>2019</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21</a:t>
            </a:r>
            <a:endParaRPr lang="es-ES" sz="900" b="1" strike="noStrike" spc="-1">
              <a:latin typeface="Arial"/>
            </a:endParaRPr>
          </a:p>
          <a:p>
            <a:pPr>
              <a:lnSpc>
                <a:spcPct val="100000"/>
              </a:lnSpc>
            </a:pPr>
            <a:endParaRPr lang="es-ES" sz="900" b="0" strike="noStrike" spc="-1">
              <a:latin typeface="Arial"/>
            </a:endParaRPr>
          </a:p>
        </p:txBody>
      </p:sp>
      <p:sp>
        <p:nvSpPr>
          <p:cNvPr id="99" name="CuadroTexto 44_0"/>
          <p:cNvSpPr/>
          <p:nvPr/>
        </p:nvSpPr>
        <p:spPr>
          <a:xfrm>
            <a:off x="458774" y="2781599"/>
            <a:ext cx="4313565" cy="178510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r>
              <a:rPr lang="es-ES" sz="1100" b="1" spc="-1" err="1">
                <a:ea typeface="Soho Gothic Pro Light"/>
              </a:rPr>
              <a:t>Minsait</a:t>
            </a:r>
            <a:r>
              <a:rPr lang="es-ES" sz="1100" b="1" spc="-1">
                <a:ea typeface="Soho Gothic Pro Light"/>
              </a:rPr>
              <a:t> </a:t>
            </a:r>
            <a:r>
              <a:rPr lang="es-ES" sz="1100" b="1" spc="-1" err="1">
                <a:ea typeface="Soho Gothic Pro Light"/>
              </a:rPr>
              <a:t>by</a:t>
            </a:r>
            <a:r>
              <a:rPr lang="es-ES" sz="1100" b="1" spc="-1">
                <a:ea typeface="Soho Gothic Pro Light"/>
              </a:rPr>
              <a:t> Indra (Barcelona, España)</a:t>
            </a:r>
          </a:p>
          <a:p>
            <a:pPr algn="just">
              <a:lnSpc>
                <a:spcPct val="100000"/>
              </a:lnSpc>
            </a:pPr>
            <a:r>
              <a:rPr lang="es-ES" sz="1100" spc="-1">
                <a:latin typeface="Soho Gothic Pro Light"/>
                <a:ea typeface="Soho Gothic Pro Light"/>
              </a:rPr>
              <a:t>Ingeniero de datos / Software </a:t>
            </a:r>
            <a:r>
              <a:rPr lang="es-ES" sz="1100" spc="-1" err="1">
                <a:latin typeface="Soho Gothic Pro Light"/>
                <a:ea typeface="Soho Gothic Pro Light"/>
              </a:rPr>
              <a:t>Developer</a:t>
            </a:r>
            <a:endParaRPr lang="es-ES" sz="1100" b="0" strike="noStrike"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050" spc="-1"/>
              <a:t>En la actualidad formo parte del equipo de Gestor Documental sobre Mongo-HDFS (caché o zona caliente) e histórico (zona fría) de la Agencia </a:t>
            </a:r>
            <a:r>
              <a:rPr lang="es-ES" sz="1050" spc="-1" err="1"/>
              <a:t>Tributària</a:t>
            </a:r>
            <a:r>
              <a:rPr lang="es-ES" sz="1050" spc="-1"/>
              <a:t> de Catalunya. Sistema que permite la copia auténtica e integración con otros gestores documentales utilizando tecnología Big Data.</a:t>
            </a:r>
          </a:p>
          <a:p>
            <a:pPr marL="171360" indent="-171000" algn="just">
              <a:lnSpc>
                <a:spcPct val="100000"/>
              </a:lnSpc>
              <a:buClr>
                <a:srgbClr val="1A3B47"/>
              </a:buClr>
              <a:buFont typeface="Arial,Sans-Serif"/>
              <a:buChar char="•"/>
            </a:pPr>
            <a:r>
              <a:rPr lang="es-ES" sz="1050" spc="-1"/>
              <a:t>Análisis y desarrollo de los procesos de la parte </a:t>
            </a:r>
            <a:r>
              <a:rPr lang="es-ES" sz="1050" spc="-1" err="1"/>
              <a:t>Batch</a:t>
            </a:r>
            <a:r>
              <a:rPr lang="es-ES" sz="1050" spc="-1"/>
              <a:t> de la aplicación y de la API del sistema.</a:t>
            </a:r>
          </a:p>
        </p:txBody>
      </p:sp>
      <p:sp>
        <p:nvSpPr>
          <p:cNvPr id="102" name="CuadroTexto 54_0"/>
          <p:cNvSpPr/>
          <p:nvPr/>
        </p:nvSpPr>
        <p:spPr>
          <a:xfrm>
            <a:off x="9438480" y="6119278"/>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diomas</a:t>
            </a:r>
            <a:endParaRPr lang="es-ES" sz="1200" b="0" strike="noStrike" spc="-1">
              <a:latin typeface="Arial"/>
            </a:endParaRPr>
          </a:p>
        </p:txBody>
      </p:sp>
      <p:sp>
        <p:nvSpPr>
          <p:cNvPr id="103" name="CuadroTexto 55_0"/>
          <p:cNvSpPr/>
          <p:nvPr/>
        </p:nvSpPr>
        <p:spPr>
          <a:xfrm>
            <a:off x="9474840" y="6340337"/>
            <a:ext cx="2712240" cy="553998"/>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r>
              <a:rPr lang="es-ES" sz="1000" b="1" strike="noStrike" spc="-1">
                <a:latin typeface="Soho Gothic Pro Light"/>
                <a:ea typeface="Soho Gothic Pro Light"/>
              </a:rPr>
              <a:t>Castellano - </a:t>
            </a:r>
            <a:r>
              <a:rPr lang="es-ES" sz="1000" b="0" strike="noStrike" spc="-1">
                <a:latin typeface="Soho Gothic Pro Light"/>
                <a:ea typeface="Soho Gothic Pro Light"/>
              </a:rPr>
              <a:t>Nativo</a:t>
            </a:r>
          </a:p>
          <a:p>
            <a:pPr>
              <a:lnSpc>
                <a:spcPct val="100000"/>
              </a:lnSpc>
            </a:pPr>
            <a:r>
              <a:rPr lang="ca-ES" sz="1000" b="1" spc="-1" err="1">
                <a:latin typeface="Soho Gothic Pro Light"/>
                <a:ea typeface="Soho Gothic Pro Light"/>
              </a:rPr>
              <a:t>Catalán</a:t>
            </a:r>
            <a:r>
              <a:rPr lang="ca-ES" sz="1000" b="1" spc="-1">
                <a:latin typeface="Soho Gothic Pro Light"/>
                <a:ea typeface="Soho Gothic Pro Light"/>
              </a:rPr>
              <a:t> - </a:t>
            </a:r>
            <a:r>
              <a:rPr lang="ca-ES" sz="1000" spc="-1" err="1">
                <a:latin typeface="Soho Gothic Pro Light"/>
                <a:ea typeface="Soho Gothic Pro Light"/>
              </a:rPr>
              <a:t>Nativo</a:t>
            </a:r>
            <a:r>
              <a:rPr lang="ca-ES" sz="1750"/>
              <a:t/>
            </a:r>
            <a:br>
              <a:rPr lang="ca-ES" sz="1750"/>
            </a:br>
            <a:r>
              <a:rPr lang="es-ES" sz="1000" b="1" strike="noStrike" spc="-1">
                <a:latin typeface="Soho Gothic Pro Light"/>
                <a:ea typeface="Soho Gothic Pro Light"/>
              </a:rPr>
              <a:t>Ingles - </a:t>
            </a:r>
            <a:r>
              <a:rPr lang="es-ES" sz="1000" spc="-1">
                <a:latin typeface="Soho Gothic Pro Light"/>
                <a:ea typeface="Soho Gothic Pro Light"/>
              </a:rPr>
              <a:t>B</a:t>
            </a:r>
            <a:r>
              <a:rPr lang="es-ES" sz="1000" b="0" strike="noStrike" spc="-1">
                <a:latin typeface="Soho Gothic Pro Light"/>
                <a:ea typeface="Soho Gothic Pro Light"/>
              </a:rPr>
              <a:t>1</a:t>
            </a:r>
            <a:endParaRPr lang="es-ES" sz="1000" b="0" strike="noStrike" spc="-1">
              <a:latin typeface="Arial"/>
              <a:cs typeface="Arial"/>
            </a:endParaRPr>
          </a:p>
        </p:txBody>
      </p:sp>
      <p:sp>
        <p:nvSpPr>
          <p:cNvPr id="105" name="CuadroTexto 40_0"/>
          <p:cNvSpPr/>
          <p:nvPr/>
        </p:nvSpPr>
        <p:spPr>
          <a:xfrm>
            <a:off x="3451680" y="110520"/>
            <a:ext cx="2692800" cy="461665"/>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400" spc="-1">
                <a:solidFill>
                  <a:schemeClr val="bg1"/>
                </a:solidFill>
                <a:latin typeface="Soho Gothic Pro Medium"/>
              </a:rPr>
              <a:t>Arquitecto</a:t>
            </a:r>
            <a:endParaRPr lang="es-ES" sz="2400" b="0" strike="noStrike" spc="-1">
              <a:solidFill>
                <a:schemeClr val="bg1"/>
              </a:solidFill>
              <a:latin typeface="Aria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A.R.H.</a:t>
            </a:r>
            <a:endParaRPr lang="es-ES" sz="2000" b="0" strike="noStrike" spc="-1">
              <a:solidFill>
                <a:schemeClr val="bg1"/>
              </a:solidFill>
              <a:latin typeface="Arial"/>
            </a:endParaRPr>
          </a:p>
        </p:txBody>
      </p:sp>
      <p:sp>
        <p:nvSpPr>
          <p:cNvPr id="109" name="CuadroTexto 37_0"/>
          <p:cNvSpPr/>
          <p:nvPr/>
        </p:nvSpPr>
        <p:spPr>
          <a:xfrm>
            <a:off x="9416057" y="376772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T</a:t>
            </a:r>
            <a:endParaRPr lang="es-ES" sz="1200" b="0" strike="noStrike" spc="-1">
              <a:latin typeface="Arial"/>
            </a:endParaRPr>
          </a:p>
        </p:txBody>
      </p:sp>
      <p:sp>
        <p:nvSpPr>
          <p:cNvPr id="110" name="CuadroTexto 52_0"/>
          <p:cNvSpPr/>
          <p:nvPr/>
        </p:nvSpPr>
        <p:spPr>
          <a:xfrm>
            <a:off x="9334916" y="3978565"/>
            <a:ext cx="2786734" cy="2259255"/>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n-US" sz="1000" b="1" strike="noStrike" spc="-1">
                <a:latin typeface="Soho Gothic Pro Light"/>
                <a:ea typeface="Soho Gothic Pro Light"/>
              </a:rPr>
              <a:t>Programming languages</a:t>
            </a:r>
            <a:r>
              <a:rPr lang="en-US" sz="1000" b="0" strike="noStrike" spc="-1">
                <a:latin typeface="Soho Gothic Pro Light"/>
                <a:ea typeface="Soho Gothic Pro Light"/>
              </a:rPr>
              <a:t>: </a:t>
            </a:r>
            <a:r>
              <a:rPr lang="es-ES" sz="1000" i="1" spc="-1">
                <a:ea typeface="Soho Gothic Pro Light"/>
              </a:rPr>
              <a:t>Java J2EE, </a:t>
            </a:r>
            <a:r>
              <a:rPr lang="es-ES" sz="1000" i="1" spc="-1" err="1">
                <a:ea typeface="Soho Gothic Pro Light"/>
              </a:rPr>
              <a:t>Scala</a:t>
            </a:r>
            <a:r>
              <a:rPr lang="es-ES" sz="1000" i="1" spc="-1">
                <a:ea typeface="Soho Gothic Pro Light"/>
              </a:rPr>
              <a:t>, </a:t>
            </a:r>
            <a:r>
              <a:rPr lang="es-ES" sz="1000" i="1" spc="-1" err="1">
                <a:ea typeface="Soho Gothic Pro Light"/>
              </a:rPr>
              <a:t>Spark</a:t>
            </a:r>
            <a:r>
              <a:rPr lang="es-ES" sz="1000" i="1" spc="-1">
                <a:ea typeface="Soho Gothic Pro Light"/>
              </a:rPr>
              <a:t>, C, C++, PHP, Shell Scripting, </a:t>
            </a:r>
            <a:r>
              <a:rPr lang="es-ES" sz="1000" i="1" spc="-1" err="1">
                <a:ea typeface="Soho Gothic Pro Light"/>
              </a:rPr>
              <a:t>Javascript</a:t>
            </a:r>
            <a:r>
              <a:rPr lang="es-ES" sz="1000" i="1" spc="-1">
                <a:ea typeface="Soho Gothic Pro Light"/>
              </a:rPr>
              <a:t>, </a:t>
            </a:r>
            <a:r>
              <a:rPr lang="es-ES" sz="1000" i="1" spc="-1" err="1">
                <a:ea typeface="Soho Gothic Pro Light"/>
              </a:rPr>
              <a:t>Jquery</a:t>
            </a:r>
            <a:r>
              <a:rPr lang="es-ES" sz="1000" i="1" spc="-1">
                <a:ea typeface="Soho Gothic Pro Light"/>
              </a:rPr>
              <a:t>, </a:t>
            </a:r>
            <a:r>
              <a:rPr lang="es-ES" sz="1000" i="1" spc="-1" err="1">
                <a:ea typeface="Soho Gothic Pro Light"/>
              </a:rPr>
              <a:t>OpenLayers</a:t>
            </a:r>
            <a:r>
              <a:rPr lang="es-ES" sz="1000" i="1" spc="-1">
                <a:ea typeface="Soho Gothic Pro Light"/>
              </a:rPr>
              <a:t>, Mainframe</a:t>
            </a:r>
          </a:p>
          <a:p>
            <a:r>
              <a:rPr lang="en-US" sz="1000" b="1" strike="noStrike" spc="-1">
                <a:latin typeface="Soho Gothic Pro Light"/>
                <a:ea typeface="Soho Gothic Pro Light"/>
              </a:rPr>
              <a:t>Databases</a:t>
            </a:r>
            <a:r>
              <a:rPr lang="en-US" sz="1000" b="0" strike="noStrike" spc="-1">
                <a:latin typeface="Soho Gothic Pro Light"/>
                <a:ea typeface="Soho Gothic Pro Light"/>
              </a:rPr>
              <a:t>: </a:t>
            </a:r>
            <a:r>
              <a:rPr lang="en-US" sz="1000" i="1" spc="-1">
                <a:ea typeface="Soho Gothic Pro Light"/>
              </a:rPr>
              <a:t>AWSBBDD: </a:t>
            </a:r>
            <a:r>
              <a:rPr lang="en-US" sz="1000" i="1" spc="-1" err="1">
                <a:ea typeface="Soho Gothic Pro Light"/>
              </a:rPr>
              <a:t>Diseño</a:t>
            </a:r>
            <a:r>
              <a:rPr lang="en-US" sz="1000" i="1" spc="-1">
                <a:ea typeface="Soho Gothic Pro Light"/>
              </a:rPr>
              <a:t> e </a:t>
            </a:r>
            <a:r>
              <a:rPr lang="en-US" sz="1000" i="1" spc="-1" err="1">
                <a:ea typeface="Soho Gothic Pro Light"/>
              </a:rPr>
              <a:t>implementación</a:t>
            </a:r>
            <a:r>
              <a:rPr lang="en-US" sz="1000" i="1" spc="-1">
                <a:ea typeface="Soho Gothic Pro Light"/>
              </a:rPr>
              <a:t> de </a:t>
            </a:r>
            <a:r>
              <a:rPr lang="en-US" sz="1000" i="1" spc="-1" err="1">
                <a:ea typeface="Soho Gothic Pro Light"/>
              </a:rPr>
              <a:t>modelos</a:t>
            </a:r>
            <a:r>
              <a:rPr lang="en-US" sz="1000" i="1" spc="-1">
                <a:ea typeface="Soho Gothic Pro Light"/>
              </a:rPr>
              <a:t> </a:t>
            </a:r>
            <a:r>
              <a:rPr lang="en-US" sz="1000" i="1" spc="-1" err="1">
                <a:ea typeface="Soho Gothic Pro Light"/>
              </a:rPr>
              <a:t>sobre</a:t>
            </a:r>
            <a:endParaRPr lang="en-US" sz="1000" b="1" i="1" spc="-1">
              <a:ea typeface="Soho Gothic Pro Light"/>
            </a:endParaRPr>
          </a:p>
          <a:p>
            <a:r>
              <a:rPr lang="en-US" sz="1000" i="1" spc="-1">
                <a:ea typeface="Soho Gothic Pro Light"/>
              </a:rPr>
              <a:t>Oracle, </a:t>
            </a:r>
            <a:r>
              <a:rPr lang="en-US" sz="1000" i="1" spc="-1" err="1">
                <a:ea typeface="Soho Gothic Pro Light"/>
              </a:rPr>
              <a:t>SQLServer</a:t>
            </a:r>
            <a:r>
              <a:rPr lang="en-US" sz="1000" i="1" spc="-1">
                <a:ea typeface="Soho Gothic Pro Light"/>
              </a:rPr>
              <a:t>, MySQL, PostgreSQL, MongoDB, Apache Kudu, </a:t>
            </a:r>
            <a:r>
              <a:rPr lang="en-US" sz="1000" i="1" spc="-1" err="1">
                <a:ea typeface="Soho Gothic Pro Light"/>
              </a:rPr>
              <a:t>DinamoDB</a:t>
            </a:r>
            <a:r>
              <a:rPr lang="en-US" sz="1000" i="1" spc="-1">
                <a:ea typeface="Soho Gothic Pro Light"/>
              </a:rPr>
              <a:t> y PostgreSQL</a:t>
            </a:r>
          </a:p>
          <a:p>
            <a:r>
              <a:rPr lang="en-US" sz="1000" b="1" spc="-1">
                <a:ea typeface="Soho Gothic Pro Light"/>
              </a:rPr>
              <a:t>DevOps: </a:t>
            </a:r>
            <a:r>
              <a:rPr lang="en-US" sz="1000" b="1" i="1" spc="-1">
                <a:ea typeface="Soho Gothic Pro Light"/>
              </a:rPr>
              <a:t>Jenkins, </a:t>
            </a:r>
            <a:r>
              <a:rPr lang="en-US" sz="1000" b="1" i="1" spc="-1" err="1">
                <a:ea typeface="Soho Gothic Pro Light"/>
              </a:rPr>
              <a:t>SonarQube</a:t>
            </a:r>
            <a:r>
              <a:rPr lang="en-US" sz="1000" b="1" i="1" spc="-1">
                <a:ea typeface="Soho Gothic Pro Light"/>
              </a:rPr>
              <a:t>, </a:t>
            </a:r>
            <a:r>
              <a:rPr lang="en-US" sz="1000" b="1" i="1" spc="-1" err="1">
                <a:ea typeface="Soho Gothic Pro Light"/>
              </a:rPr>
              <a:t>Kiuwan</a:t>
            </a:r>
            <a:r>
              <a:rPr lang="en-US" sz="1000" b="1" i="1" spc="-1">
                <a:ea typeface="Soho Gothic Pro Light"/>
              </a:rPr>
              <a:t>, GIT. </a:t>
            </a:r>
          </a:p>
          <a:p>
            <a:pPr>
              <a:lnSpc>
                <a:spcPct val="100000"/>
              </a:lnSpc>
            </a:pPr>
            <a:r>
              <a:rPr lang="en-US" sz="1000" b="1" spc="-1">
                <a:ea typeface="Soho Gothic Pro Light"/>
              </a:rPr>
              <a:t>Big Data (</a:t>
            </a:r>
            <a:r>
              <a:rPr lang="en-US" sz="1000" b="1" spc="-1" err="1">
                <a:ea typeface="Soho Gothic Pro Light"/>
              </a:rPr>
              <a:t>tecnología</a:t>
            </a:r>
            <a:r>
              <a:rPr lang="en-US" sz="1000" b="1" spc="-1">
                <a:ea typeface="Soho Gothic Pro Light"/>
              </a:rPr>
              <a:t>): </a:t>
            </a:r>
            <a:r>
              <a:rPr lang="en-US" sz="1000" i="1" spc="-1">
                <a:ea typeface="Soho Gothic Pro Light"/>
              </a:rPr>
              <a:t>Hadoop; MongoDB</a:t>
            </a:r>
          </a:p>
          <a:p>
            <a:r>
              <a:rPr lang="en-US" sz="1000" i="1" spc="-1">
                <a:ea typeface="Soho Gothic Pro Light"/>
              </a:rPr>
              <a:t>Frameworks: Cloudera Manager, Hadoop, Spring Framework, Hibernate-JPA, </a:t>
            </a:r>
            <a:r>
              <a:rPr lang="en-US" sz="1000" i="1" spc="-1" err="1">
                <a:ea typeface="Soho Gothic Pro Light"/>
              </a:rPr>
              <a:t>Structs</a:t>
            </a:r>
            <a:r>
              <a:rPr lang="en-US" sz="1000" i="1" spc="-1">
                <a:ea typeface="Soho Gothic Pro Light"/>
              </a:rPr>
              <a:t>, </a:t>
            </a:r>
            <a:r>
              <a:rPr lang="en-US" sz="1000" i="1" spc="-1" err="1">
                <a:ea typeface="Soho Gothic Pro Light"/>
              </a:rPr>
              <a:t>Microservices</a:t>
            </a:r>
            <a:r>
              <a:rPr lang="en-US" sz="1000" i="1" spc="-1">
                <a:ea typeface="Soho Gothic Pro Light"/>
              </a:rPr>
              <a:t> Stack: Spring Boot, </a:t>
            </a:r>
            <a:endParaRPr lang="en-US" sz="1000" b="1" strike="noStrike" spc="-1">
              <a:solidFill>
                <a:srgbClr val="FF0000"/>
              </a:solidFill>
              <a:latin typeface="Soho Gothic Pro Light"/>
              <a:ea typeface="Soho Gothic Pro Light"/>
            </a:endParaRPr>
          </a:p>
          <a:p>
            <a:pPr>
              <a:lnSpc>
                <a:spcPct val="100000"/>
              </a:lnSpc>
            </a:pPr>
            <a:r>
              <a:rPr lang="en-US" sz="1000" b="1" strike="noStrike" spc="-1" err="1">
                <a:latin typeface="Soho Gothic Pro Light"/>
                <a:ea typeface="Soho Gothic Pro Light"/>
              </a:rPr>
              <a:t>Gestión</a:t>
            </a:r>
            <a:r>
              <a:rPr lang="en-US" sz="1000" b="0" strike="noStrike" spc="-1">
                <a:latin typeface="Soho Gothic Pro Light"/>
                <a:ea typeface="Soho Gothic Pro Light"/>
              </a:rPr>
              <a:t>: </a:t>
            </a:r>
            <a:r>
              <a:rPr lang="en-US" sz="1000" i="1" spc="-1">
                <a:ea typeface="Soho Gothic Pro Light"/>
              </a:rPr>
              <a:t>Jira, ITIL</a:t>
            </a:r>
          </a:p>
          <a:p>
            <a:r>
              <a:rPr lang="en-US" sz="1000" b="1" spc="-1">
                <a:ea typeface="Soho Gothic Pro Light"/>
              </a:rPr>
              <a:t>Agile</a:t>
            </a:r>
            <a:r>
              <a:rPr lang="en-US" sz="1000" spc="-1">
                <a:ea typeface="Soho Gothic Pro Light"/>
              </a:rPr>
              <a:t>:  </a:t>
            </a:r>
            <a:r>
              <a:rPr lang="en-US" sz="1000" i="1" spc="-1">
                <a:ea typeface="Soho Gothic Pro Light"/>
              </a:rPr>
              <a:t> Scrum/Kanban</a:t>
            </a:r>
          </a:p>
        </p:txBody>
      </p:sp>
      <p:sp>
        <p:nvSpPr>
          <p:cNvPr id="111" name="CuadroTexto 50_0"/>
          <p:cNvSpPr/>
          <p:nvPr/>
        </p:nvSpPr>
        <p:spPr>
          <a:xfrm>
            <a:off x="9473194" y="1746214"/>
            <a:ext cx="2651040" cy="1015663"/>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ea typeface="Soho Gothic Pro Light"/>
              </a:rPr>
              <a:t>2021 | </a:t>
            </a:r>
            <a:r>
              <a:rPr lang="es-ES" sz="1000" spc="-1" err="1">
                <a:ea typeface="+mn-lt"/>
                <a:cs typeface="+mn-lt"/>
              </a:rPr>
              <a:t>MongoDB</a:t>
            </a:r>
            <a:r>
              <a:rPr lang="es-ES" sz="1000" spc="-1">
                <a:solidFill>
                  <a:srgbClr val="FF0000"/>
                </a:solidFill>
                <a:ea typeface="+mn-lt"/>
                <a:cs typeface="+mn-lt"/>
              </a:rPr>
              <a:t>: </a:t>
            </a:r>
            <a:r>
              <a:rPr lang="es-ES" sz="1000" spc="-1">
                <a:ea typeface="+mn-lt"/>
                <a:cs typeface="+mn-lt"/>
              </a:rPr>
              <a:t>M001 </a:t>
            </a:r>
            <a:r>
              <a:rPr lang="es-ES" sz="1000" spc="-1" err="1">
                <a:ea typeface="+mn-lt"/>
                <a:cs typeface="+mn-lt"/>
              </a:rPr>
              <a:t>MongoDB</a:t>
            </a:r>
            <a:r>
              <a:rPr lang="es-ES" sz="1000" spc="-1">
                <a:ea typeface="+mn-lt"/>
                <a:cs typeface="+mn-lt"/>
              </a:rPr>
              <a:t> </a:t>
            </a:r>
            <a:r>
              <a:rPr lang="es-ES" sz="1000" spc="-1" err="1">
                <a:ea typeface="+mn-lt"/>
                <a:cs typeface="+mn-lt"/>
              </a:rPr>
              <a:t>Basics</a:t>
            </a:r>
            <a:endParaRPr lang="es-ES" sz="1000" spc="-1">
              <a:ea typeface="+mn-lt"/>
              <a:cs typeface="+mn-lt"/>
            </a:endParaRPr>
          </a:p>
          <a:p>
            <a:r>
              <a:rPr lang="es-ES" sz="1000" spc="-1">
                <a:ea typeface="+mn-lt"/>
                <a:cs typeface="+mn-lt"/>
              </a:rPr>
              <a:t>               A300: Atlas Security</a:t>
            </a:r>
          </a:p>
          <a:p>
            <a:r>
              <a:rPr lang="es-ES" sz="1000" spc="-1">
                <a:ea typeface="+mn-lt"/>
                <a:cs typeface="+mn-lt"/>
              </a:rPr>
              <a:t>               M121: </a:t>
            </a:r>
            <a:r>
              <a:rPr lang="es-ES" sz="1000" spc="-1" err="1">
                <a:ea typeface="+mn-lt"/>
                <a:cs typeface="+mn-lt"/>
              </a:rPr>
              <a:t>The</a:t>
            </a:r>
            <a:r>
              <a:rPr lang="es-ES" sz="1000" spc="-1">
                <a:ea typeface="+mn-lt"/>
                <a:cs typeface="+mn-lt"/>
              </a:rPr>
              <a:t> </a:t>
            </a:r>
            <a:r>
              <a:rPr lang="es-ES" sz="1000" spc="-1" err="1">
                <a:ea typeface="+mn-lt"/>
                <a:cs typeface="+mn-lt"/>
              </a:rPr>
              <a:t>MongoDB</a:t>
            </a:r>
            <a:r>
              <a:rPr lang="es-ES" sz="1000" spc="-1">
                <a:ea typeface="+mn-lt"/>
                <a:cs typeface="+mn-lt"/>
              </a:rPr>
              <a:t> </a:t>
            </a:r>
            <a:r>
              <a:rPr lang="es-ES" sz="1000" spc="-1" err="1">
                <a:ea typeface="+mn-lt"/>
                <a:cs typeface="+mn-lt"/>
              </a:rPr>
              <a:t>Aggregation</a:t>
            </a:r>
            <a:r>
              <a:rPr lang="es-ES" sz="1000" spc="-1">
                <a:ea typeface="+mn-lt"/>
                <a:cs typeface="+mn-lt"/>
              </a:rPr>
              <a:t> Framework</a:t>
            </a:r>
            <a:endParaRPr lang="es-ES" sz="1750"/>
          </a:p>
          <a:p>
            <a:r>
              <a:rPr lang="es-ES" sz="1000" spc="-1">
                <a:ea typeface="+mn-lt"/>
                <a:cs typeface="+mn-lt"/>
              </a:rPr>
              <a:t>               M220J: </a:t>
            </a:r>
            <a:r>
              <a:rPr lang="es-ES" sz="1000" spc="-1" err="1">
                <a:ea typeface="+mn-lt"/>
                <a:cs typeface="+mn-lt"/>
              </a:rPr>
              <a:t>MongoDB</a:t>
            </a:r>
            <a:r>
              <a:rPr lang="es-ES" sz="1000" spc="-1">
                <a:ea typeface="+mn-lt"/>
                <a:cs typeface="+mn-lt"/>
              </a:rPr>
              <a:t> </a:t>
            </a:r>
            <a:r>
              <a:rPr lang="es-ES" sz="1000" spc="-1" err="1">
                <a:ea typeface="+mn-lt"/>
                <a:cs typeface="+mn-lt"/>
              </a:rPr>
              <a:t>for</a:t>
            </a:r>
            <a:r>
              <a:rPr lang="es-ES" sz="1000" spc="-1">
                <a:ea typeface="+mn-lt"/>
                <a:cs typeface="+mn-lt"/>
              </a:rPr>
              <a:t> Java </a:t>
            </a:r>
            <a:r>
              <a:rPr lang="es-ES" sz="1000" spc="-1" err="1">
                <a:ea typeface="+mn-lt"/>
                <a:cs typeface="+mn-lt"/>
              </a:rPr>
              <a:t>Developers</a:t>
            </a:r>
            <a:endParaRPr lang="es-ES"/>
          </a:p>
          <a:p>
            <a:r>
              <a:rPr lang="es-ES" sz="1000" spc="-1">
                <a:ea typeface="+mn-lt"/>
                <a:cs typeface="+mn-lt"/>
              </a:rPr>
              <a:t>               M320: Data </a:t>
            </a:r>
            <a:r>
              <a:rPr lang="es-ES" sz="1000" spc="-1" err="1">
                <a:ea typeface="+mn-lt"/>
                <a:cs typeface="+mn-lt"/>
              </a:rPr>
              <a:t>Modeling</a:t>
            </a:r>
            <a:endParaRPr lang="es-ES"/>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Educación</a:t>
            </a:r>
            <a:endParaRPr lang="es-ES" sz="1200" b="0" strike="noStrike" spc="-1">
              <a:latin typeface="Arial"/>
            </a:endParaRPr>
          </a:p>
        </p:txBody>
      </p:sp>
      <p:sp>
        <p:nvSpPr>
          <p:cNvPr id="113" name="CuadroTexto 70_0"/>
          <p:cNvSpPr/>
          <p:nvPr/>
        </p:nvSpPr>
        <p:spPr>
          <a:xfrm>
            <a:off x="9827280" y="441123"/>
            <a:ext cx="2349360" cy="116955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r>
              <a:rPr lang="es-ES" sz="1000" spc="-1">
                <a:ea typeface="Soho Gothic Pro Light"/>
              </a:rPr>
              <a:t>Ingeniero Superior en Informática por la Universidad de León.</a:t>
            </a:r>
          </a:p>
          <a:p>
            <a:r>
              <a:rPr lang="es-ES" sz="1000" spc="-1">
                <a:ea typeface="Soho Gothic Pro Light"/>
              </a:rPr>
              <a:t>Postgrado en Calidad en Big Data para Ciencias de la Vida por la Universidad Autónoma de Barcelona.</a:t>
            </a:r>
            <a:endParaRPr lang="es-ES" sz="1000" spc="-1"/>
          </a:p>
          <a:p>
            <a:pPr>
              <a:lnSpc>
                <a:spcPct val="100000"/>
              </a:lnSpc>
            </a:pPr>
            <a:r>
              <a:rPr lang="es-ES" sz="1000" spc="-1">
                <a:ea typeface="Soho Gothic Pro Light"/>
              </a:rPr>
              <a:t>Business </a:t>
            </a:r>
            <a:r>
              <a:rPr lang="es-ES" sz="1000" spc="-1" err="1">
                <a:ea typeface="Soho Gothic Pro Light"/>
              </a:rPr>
              <a:t>Intelligence</a:t>
            </a:r>
            <a:r>
              <a:rPr lang="es-ES" sz="1000" spc="-1">
                <a:ea typeface="Soho Gothic Pro Light"/>
              </a:rPr>
              <a:t> y Big Data por la Universidad </a:t>
            </a:r>
            <a:r>
              <a:rPr lang="es-ES" sz="1000" spc="-1" err="1">
                <a:ea typeface="Soho Gothic Pro Light"/>
              </a:rPr>
              <a:t>Oberta</a:t>
            </a:r>
            <a:r>
              <a:rPr lang="es-ES" sz="1000" spc="-1">
                <a:ea typeface="Soho Gothic Pro Light"/>
              </a:rPr>
              <a:t> de Catalunya.</a:t>
            </a:r>
            <a:endParaRPr lang="es-ES" sz="1000" b="0" strike="noStrike" spc="-1">
              <a:latin typeface="Arial"/>
            </a:endParaRPr>
          </a:p>
        </p:txBody>
      </p:sp>
      <p:sp>
        <p:nvSpPr>
          <p:cNvPr id="114" name="CuadroTexto 73_0"/>
          <p:cNvSpPr/>
          <p:nvPr/>
        </p:nvSpPr>
        <p:spPr>
          <a:xfrm>
            <a:off x="9438055" y="338645"/>
            <a:ext cx="543665" cy="369332"/>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endParaRPr lang="es-ES" sz="900" b="0" strike="noStrike" spc="-1">
              <a:solidFill>
                <a:srgbClr val="FF0000"/>
              </a:solidFill>
              <a:latin typeface="Soho Gothic Pro Medium"/>
            </a:endParaRPr>
          </a:p>
          <a:p>
            <a:pPr>
              <a:lnSpc>
                <a:spcPct val="100000"/>
              </a:lnSpc>
            </a:pPr>
            <a:r>
              <a:rPr lang="es-ES" sz="900" spc="-1">
                <a:latin typeface="Soho Gothic Pro Medium"/>
              </a:rPr>
              <a:t>2013</a:t>
            </a:r>
            <a:endParaRPr lang="es-ES" sz="900" b="0" strike="noStrike" spc="-1">
              <a:latin typeface="Arial"/>
              <a:cs typeface="Arial"/>
            </a:endParaRPr>
          </a:p>
        </p:txBody>
      </p:sp>
      <p:sp>
        <p:nvSpPr>
          <p:cNvPr id="115" name="CuadroTexto 45_2"/>
          <p:cNvSpPr/>
          <p:nvPr/>
        </p:nvSpPr>
        <p:spPr>
          <a:xfrm>
            <a:off x="455957" y="4501789"/>
            <a:ext cx="4271807" cy="2214537"/>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algn="just">
              <a:lnSpc>
                <a:spcPct val="100000"/>
              </a:lnSpc>
            </a:pPr>
            <a:r>
              <a:rPr lang="es-ES" sz="1100" b="1" spc="-1" err="1">
                <a:ea typeface="Soho Gothic Pro Light"/>
              </a:rPr>
              <a:t>Minsait</a:t>
            </a:r>
            <a:r>
              <a:rPr lang="es-ES" sz="1100" b="1" spc="-1">
                <a:ea typeface="Soho Gothic Pro Light"/>
              </a:rPr>
              <a: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Ingeniero de datos / Software </a:t>
            </a:r>
            <a:r>
              <a:rPr lang="es-ES" sz="1100" spc="-1" err="1">
                <a:ea typeface="Soho Gothic Pro Light"/>
              </a:rPr>
              <a:t>Developer</a:t>
            </a:r>
            <a:endParaRPr lang="es-ES" sz="1100" spc="-1">
              <a:ea typeface="Soho Gothic Pro Light"/>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
              <a:buChar char="•"/>
            </a:pPr>
            <a:r>
              <a:rPr lang="es-ES" sz="1050" spc="-1"/>
              <a:t>Proyecto TSB Bank - </a:t>
            </a:r>
            <a:r>
              <a:rPr lang="es-ES" sz="1050" spc="-1" err="1"/>
              <a:t>Banc</a:t>
            </a:r>
            <a:r>
              <a:rPr lang="es-ES" sz="1050" spc="-1"/>
              <a:t> Sabadell. Construcción e implantación de middleware ICS para el ámbito de cheques. </a:t>
            </a:r>
          </a:p>
          <a:p>
            <a:pPr marL="171360" indent="-171000" algn="just">
              <a:lnSpc>
                <a:spcPct val="100000"/>
              </a:lnSpc>
              <a:buClr>
                <a:srgbClr val="1A3B47"/>
              </a:buClr>
              <a:buFont typeface="Arial"/>
              <a:buChar char="•"/>
            </a:pPr>
            <a:r>
              <a:rPr lang="es-ES" sz="1050" spc="-1"/>
              <a:t>Realización de tareas en la puesta en producción, gestión de incidencias de la aplicación siendo el enlace entre el equipo y el cliente para la resolución de incidencias, monitorización de la aplicación y estabilidad en el entorno de Producción.</a:t>
            </a:r>
          </a:p>
          <a:p>
            <a:pPr marL="171360" indent="-171000" algn="just">
              <a:lnSpc>
                <a:spcPct val="100000"/>
              </a:lnSpc>
              <a:buClr>
                <a:srgbClr val="1A3B47"/>
              </a:buClr>
              <a:buFont typeface="Arial"/>
              <a:buChar char="•"/>
            </a:pPr>
            <a:r>
              <a:rPr lang="es-ES" sz="1050" spc="-1"/>
              <a:t>Desarrollo y refactorización del aplicativo Middleware para la comunicación entre sistemas Host, </a:t>
            </a:r>
            <a:r>
              <a:rPr lang="es-ES" sz="1050" spc="-1" err="1"/>
              <a:t>Vocalink</a:t>
            </a:r>
            <a:r>
              <a:rPr lang="es-ES" sz="1050" spc="-1"/>
              <a:t> y Kappa para </a:t>
            </a:r>
            <a:r>
              <a:rPr lang="es-ES" sz="1050" spc="-1" err="1"/>
              <a:t>Midrange</a:t>
            </a:r>
            <a:r>
              <a:rPr lang="es-ES" sz="1050" spc="-1"/>
              <a:t> (Banco TSB) utilizando las tecnologías Java 8, </a:t>
            </a:r>
            <a:r>
              <a:rPr lang="es-ES" sz="1050" spc="-1" err="1"/>
              <a:t>Hibernate</a:t>
            </a:r>
            <a:r>
              <a:rPr lang="es-ES" sz="1050" spc="-1"/>
              <a:t> 5, </a:t>
            </a:r>
            <a:r>
              <a:rPr lang="es-ES" sz="1050" spc="-1" err="1"/>
              <a:t>JUnit</a:t>
            </a:r>
            <a:r>
              <a:rPr lang="es-ES" sz="1050" spc="-1"/>
              <a:t>, </a:t>
            </a:r>
            <a:r>
              <a:rPr lang="es-ES" sz="1050" spc="-1" err="1"/>
              <a:t>Mockito</a:t>
            </a:r>
            <a:r>
              <a:rPr lang="es-ES" sz="1050" spc="-1"/>
              <a:t>, </a:t>
            </a:r>
            <a:r>
              <a:rPr lang="es-ES" sz="1050" spc="-1" err="1"/>
              <a:t>Maven</a:t>
            </a:r>
            <a:r>
              <a:rPr lang="es-ES" sz="1050" spc="-1"/>
              <a:t> 3, A2IA OCR, Oracle 12c, </a:t>
            </a:r>
            <a:r>
              <a:rPr lang="es-ES" sz="1050" spc="-1" err="1"/>
              <a:t>Git</a:t>
            </a:r>
            <a:r>
              <a:rPr lang="es-ES" sz="1050" spc="-1"/>
              <a:t>, </a:t>
            </a:r>
            <a:r>
              <a:rPr lang="es-ES" sz="1050" spc="-1" err="1"/>
              <a:t>Svn</a:t>
            </a:r>
            <a:r>
              <a:rPr lang="es-ES" sz="1050" spc="-1"/>
              <a:t>.</a:t>
            </a:r>
          </a:p>
        </p:txBody>
      </p:sp>
      <p:sp>
        <p:nvSpPr>
          <p:cNvPr id="116" name="CuadroTexto 48_2"/>
          <p:cNvSpPr/>
          <p:nvPr/>
        </p:nvSpPr>
        <p:spPr>
          <a:xfrm>
            <a:off x="80148" y="4501789"/>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8</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9</a:t>
            </a:r>
            <a:endParaRPr lang="es-ES" sz="900" b="1" strike="noStrike" spc="-1">
              <a:latin typeface="Arial"/>
            </a:endParaRPr>
          </a:p>
        </p:txBody>
      </p:sp>
      <p:sp>
        <p:nvSpPr>
          <p:cNvPr id="117" name="CuadroTexto 33_0"/>
          <p:cNvSpPr/>
          <p:nvPr/>
        </p:nvSpPr>
        <p:spPr>
          <a:xfrm>
            <a:off x="9477155" y="1476136"/>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1" strike="noStrike" spc="-1">
                <a:latin typeface="Soho Gothic Pro Light"/>
              </a:rPr>
              <a:t>Cursos Relevantes</a:t>
            </a:r>
            <a:endParaRPr lang="es-ES" sz="1200" b="0" strike="noStrike" spc="-1">
              <a:latin typeface="Arial"/>
            </a:endParaRPr>
          </a:p>
        </p:txBody>
      </p:sp>
      <p:sp>
        <p:nvSpPr>
          <p:cNvPr id="35" name="CuadroTexto 45_2"/>
          <p:cNvSpPr/>
          <p:nvPr/>
        </p:nvSpPr>
        <p:spPr>
          <a:xfrm>
            <a:off x="5312880" y="1845575"/>
            <a:ext cx="3848400" cy="1445096"/>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pc="-1" err="1">
                <a:ea typeface="Soho Gothic Pro Light"/>
              </a:rPr>
              <a:t>Minsait</a:t>
            </a:r>
            <a:r>
              <a:rPr lang="es-ES" sz="1100" b="1" spc="-1">
                <a:ea typeface="Soho Gothic Pro Light"/>
              </a:rPr>
              <a: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Ingeniero de datos / Software </a:t>
            </a:r>
            <a:r>
              <a:rPr lang="es-ES" sz="1100" spc="-1" err="1">
                <a:ea typeface="Soho Gothic Pro Light"/>
              </a:rPr>
              <a:t>Developer</a:t>
            </a:r>
            <a:endParaRPr lang="es-ES" sz="1100" spc="-1">
              <a:ea typeface="Soho Gothic Pro Light"/>
            </a:endParaRPr>
          </a:p>
          <a:p>
            <a:pPr algn="just">
              <a:lnSpc>
                <a:spcPct val="100000"/>
              </a:lnSpc>
            </a:pPr>
            <a:endParaRPr lang="es-ES" sz="1050" b="0" strike="noStrike" spc="-1">
              <a:latin typeface="Arial"/>
            </a:endParaRPr>
          </a:p>
          <a:p>
            <a:pPr marL="171450" indent="-171450" algn="just" defTabSz="914377">
              <a:buFont typeface="Arial" panose="020B0604020202020204" pitchFamily="34" charset="0"/>
              <a:buChar char="•"/>
              <a:defRPr b="0" i="0"/>
            </a:pPr>
            <a:r>
              <a:rPr lang="es-ES" sz="1050"/>
              <a:t>Análisis, desarrollo e implantación de Arquitecturas y aplicaciones en la parte Back y Front </a:t>
            </a:r>
            <a:r>
              <a:rPr lang="es-ES" sz="1050" err="1"/>
              <a:t>End</a:t>
            </a:r>
            <a:r>
              <a:rPr lang="es-ES" sz="1050"/>
              <a:t> para los departamentos de </a:t>
            </a:r>
            <a:r>
              <a:rPr lang="es-ES" sz="1050" err="1"/>
              <a:t>Turisme</a:t>
            </a:r>
            <a:r>
              <a:rPr lang="es-ES" sz="1050"/>
              <a:t> e Interior de la Generalitat de Catalunya y en aplicaciones con </a:t>
            </a:r>
            <a:r>
              <a:rPr lang="es-ES" sz="1050" err="1"/>
              <a:t>microservicios</a:t>
            </a:r>
            <a:r>
              <a:rPr lang="es-ES" sz="1050"/>
              <a:t> y mapas usando visores con tecnología GIS</a:t>
            </a:r>
          </a:p>
        </p:txBody>
      </p:sp>
      <p:sp>
        <p:nvSpPr>
          <p:cNvPr id="36" name="CuadroTexto 48_2"/>
          <p:cNvSpPr/>
          <p:nvPr/>
        </p:nvSpPr>
        <p:spPr>
          <a:xfrm>
            <a:off x="4901400" y="1745855"/>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7</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8</a:t>
            </a:r>
            <a:endParaRPr lang="es-ES" sz="900" b="1" strike="noStrike" spc="-1">
              <a:latin typeface="Arial"/>
            </a:endParaRPr>
          </a:p>
        </p:txBody>
      </p:sp>
      <p:sp>
        <p:nvSpPr>
          <p:cNvPr id="37" name="CuadroTexto 30_0"/>
          <p:cNvSpPr/>
          <p:nvPr/>
        </p:nvSpPr>
        <p:spPr>
          <a:xfrm>
            <a:off x="5143500" y="152640"/>
            <a:ext cx="421470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2000" spc="-1">
                <a:solidFill>
                  <a:schemeClr val="bg1"/>
                </a:solidFill>
                <a:ea typeface="Soho Gothic Pro Light"/>
              </a:rPr>
              <a:t>Alejandro Rebaque Hernández</a:t>
            </a:r>
            <a:endParaRPr lang="es-ES" sz="2000" b="0" strike="noStrike" spc="-1">
              <a:solidFill>
                <a:schemeClr val="bg1"/>
              </a:solidFill>
              <a:latin typeface="Arial"/>
            </a:endParaRPr>
          </a:p>
        </p:txBody>
      </p:sp>
      <p:sp>
        <p:nvSpPr>
          <p:cNvPr id="27" name="CuadroTexto 45_2"/>
          <p:cNvSpPr/>
          <p:nvPr/>
        </p:nvSpPr>
        <p:spPr>
          <a:xfrm>
            <a:off x="5312880" y="3728945"/>
            <a:ext cx="3848400" cy="1098847"/>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pc="-1" err="1">
                <a:ea typeface="Soho Gothic Pro Light"/>
              </a:rPr>
              <a:t>Minsait</a:t>
            </a:r>
            <a:r>
              <a:rPr lang="es-ES" sz="1100" b="1" spc="-1">
                <a:ea typeface="Soho Gothic Pro Light"/>
              </a:rPr>
              <a: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Software </a:t>
            </a:r>
            <a:r>
              <a:rPr lang="es-ES" sz="1100" spc="-1" err="1">
                <a:ea typeface="Soho Gothic Pro Light"/>
              </a:rPr>
              <a:t>Developer</a:t>
            </a:r>
            <a:r>
              <a:rPr lang="es-ES" sz="1100" spc="-1">
                <a:ea typeface="Soho Gothic Pro Light"/>
              </a:rPr>
              <a:t> / </a:t>
            </a:r>
            <a:r>
              <a:rPr lang="es-ES" sz="1100" spc="-1" err="1">
                <a:ea typeface="Soho Gothic Pro Light"/>
              </a:rPr>
              <a:t>Analyst</a:t>
            </a:r>
            <a:endParaRPr lang="es-ES" sz="1100" spc="-1">
              <a:latin typeface="Arial"/>
            </a:endParaRPr>
          </a:p>
          <a:p>
            <a:pPr algn="just">
              <a:lnSpc>
                <a:spcPct val="100000"/>
              </a:lnSpc>
            </a:pPr>
            <a:endParaRPr lang="es-ES" sz="1050" b="0" strike="noStrike" spc="-1">
              <a:latin typeface="Arial"/>
            </a:endParaRPr>
          </a:p>
          <a:p>
            <a:pPr marL="171450" indent="-171450" algn="just" defTabSz="914377">
              <a:buFont typeface="Arial" panose="020B0604020202020204" pitchFamily="34" charset="0"/>
              <a:buChar char="•"/>
              <a:defRPr b="0" i="0"/>
            </a:pPr>
            <a:r>
              <a:rPr lang="es-ES" sz="1050"/>
              <a:t>Realizando funciones de desarrollador de software en distintas tecnologías de aplicaciones en el ámbito de la banca y los seguros teniendo el doble perfil (Java &amp; Host).</a:t>
            </a:r>
          </a:p>
        </p:txBody>
      </p:sp>
      <p:sp>
        <p:nvSpPr>
          <p:cNvPr id="28" name="CuadroTexto 48_2"/>
          <p:cNvSpPr/>
          <p:nvPr/>
        </p:nvSpPr>
        <p:spPr>
          <a:xfrm>
            <a:off x="4901400" y="3629225"/>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5</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7</a:t>
            </a:r>
            <a:endParaRPr lang="es-ES" sz="900" b="1" strike="noStrike" spc="-1">
              <a:latin typeface="Arial"/>
            </a:endParaRPr>
          </a:p>
        </p:txBody>
      </p:sp>
      <p:sp>
        <p:nvSpPr>
          <p:cNvPr id="29" name="CuadroTexto 73_0"/>
          <p:cNvSpPr/>
          <p:nvPr/>
        </p:nvSpPr>
        <p:spPr>
          <a:xfrm>
            <a:off x="9438056" y="1183135"/>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latin typeface="Soho Gothic Pro Medium"/>
              </a:rPr>
              <a:t>2019</a:t>
            </a:r>
            <a:endParaRPr lang="es-ES" sz="900" strike="noStrike" spc="-1">
              <a:latin typeface="Arial"/>
            </a:endParaRPr>
          </a:p>
          <a:p>
            <a:pPr>
              <a:lnSpc>
                <a:spcPct val="100000"/>
              </a:lnSpc>
            </a:pPr>
            <a:endParaRPr lang="es-ES" sz="900" b="0" strike="noStrike" spc="-1">
              <a:solidFill>
                <a:srgbClr val="FF0000"/>
              </a:solidFill>
              <a:latin typeface="Soho Gothic Pro Medium"/>
            </a:endParaRPr>
          </a:p>
          <a:p>
            <a:pPr>
              <a:lnSpc>
                <a:spcPct val="100000"/>
              </a:lnSpc>
            </a:pPr>
            <a:endParaRPr lang="es-ES" sz="900" b="0" strike="noStrike" spc="-1">
              <a:solidFill>
                <a:srgbClr val="FF0000"/>
              </a:solidFill>
              <a:latin typeface="Soho Gothic Pro Medium"/>
            </a:endParaRPr>
          </a:p>
        </p:txBody>
      </p:sp>
      <p:sp>
        <p:nvSpPr>
          <p:cNvPr id="32" name="CuadroTexto 45_2"/>
          <p:cNvSpPr/>
          <p:nvPr/>
        </p:nvSpPr>
        <p:spPr>
          <a:xfrm>
            <a:off x="5312880" y="5208936"/>
            <a:ext cx="3848400" cy="937264"/>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pc="-1" err="1">
                <a:ea typeface="Soho Gothic Pro Light"/>
              </a:rPr>
              <a:t>Minsait</a:t>
            </a:r>
            <a:r>
              <a:rPr lang="es-ES" sz="1100" b="1" spc="-1">
                <a:ea typeface="Soho Gothic Pro Light"/>
              </a:rPr>
              <a: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Software </a:t>
            </a:r>
            <a:r>
              <a:rPr lang="es-ES" sz="1100" spc="-1" err="1">
                <a:ea typeface="Soho Gothic Pro Light"/>
              </a:rPr>
              <a:t>Developer</a:t>
            </a:r>
            <a:endParaRPr lang="es-ES" sz="1100" spc="-1">
              <a:ea typeface="Soho Gothic Pro Light"/>
            </a:endParaRPr>
          </a:p>
          <a:p>
            <a:pPr algn="just">
              <a:lnSpc>
                <a:spcPct val="100000"/>
              </a:lnSpc>
            </a:pPr>
            <a:endParaRPr lang="es-ES" sz="1100" b="0" strike="noStrike" spc="-1">
              <a:latin typeface="Arial"/>
            </a:endParaRPr>
          </a:p>
          <a:p>
            <a:pPr marL="171450" indent="-171450" algn="just" defTabSz="914377">
              <a:buFont typeface="Arial" panose="020B0604020202020204" pitchFamily="34" charset="0"/>
              <a:buChar char="•"/>
              <a:defRPr b="0" i="0"/>
            </a:pPr>
            <a:r>
              <a:rPr lang="es-ES" sz="1050"/>
              <a:t>Formando parte en el desarrollo de aplicaciones Web en la parte Back </a:t>
            </a:r>
            <a:r>
              <a:rPr lang="es-ES" sz="1050" err="1"/>
              <a:t>End</a:t>
            </a:r>
            <a:r>
              <a:rPr lang="es-ES" sz="1050"/>
              <a:t> y Front </a:t>
            </a:r>
            <a:r>
              <a:rPr lang="es-ES" sz="1050" err="1"/>
              <a:t>End</a:t>
            </a:r>
            <a:r>
              <a:rPr lang="es-ES" sz="1050"/>
              <a:t>.</a:t>
            </a:r>
          </a:p>
        </p:txBody>
      </p:sp>
      <p:sp>
        <p:nvSpPr>
          <p:cNvPr id="38" name="CuadroTexto 48_2"/>
          <p:cNvSpPr/>
          <p:nvPr/>
        </p:nvSpPr>
        <p:spPr>
          <a:xfrm>
            <a:off x="4901400" y="5109216"/>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0</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4</a:t>
            </a:r>
            <a:endParaRPr lang="es-ES" sz="900" b="1" strike="noStrike" spc="-1">
              <a:latin typeface="Arial"/>
            </a:endParaRPr>
          </a:p>
        </p:txBody>
      </p:sp>
      <p:sp>
        <p:nvSpPr>
          <p:cNvPr id="31" name="CuadroTexto 73_0">
            <a:extLst>
              <a:ext uri="{FF2B5EF4-FFF2-40B4-BE49-F238E27FC236}">
                <a16:creationId xmlns:a16="http://schemas.microsoft.com/office/drawing/2014/main" id="{7796213A-8BEC-48C5-8800-871952BC6CB4}"/>
              </a:ext>
            </a:extLst>
          </p:cNvPr>
          <p:cNvSpPr/>
          <p:nvPr/>
        </p:nvSpPr>
        <p:spPr>
          <a:xfrm>
            <a:off x="9438057" y="751074"/>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latin typeface="Soho Gothic Pro Medium"/>
              </a:rPr>
              <a:t>2019</a:t>
            </a:r>
            <a:endParaRPr lang="es-ES" sz="900" b="0" strike="noStrike" spc="-1">
              <a:latin typeface="Arial"/>
            </a:endParaRPr>
          </a:p>
          <a:p>
            <a:pPr>
              <a:lnSpc>
                <a:spcPct val="100000"/>
              </a:lnSpc>
            </a:pPr>
            <a:endParaRPr lang="es-ES" sz="900" b="0" strike="noStrike" spc="-1">
              <a:solidFill>
                <a:srgbClr val="FF0000"/>
              </a:solidFill>
              <a:latin typeface="Soho Gothic Pro Medium"/>
            </a:endParaRPr>
          </a:p>
          <a:p>
            <a:pPr>
              <a:lnSpc>
                <a:spcPct val="100000"/>
              </a:lnSpc>
            </a:pPr>
            <a:endParaRPr lang="es-ES" sz="900" b="0" strike="noStrike" spc="-1">
              <a:solidFill>
                <a:srgbClr val="FF0000"/>
              </a:solidFill>
              <a:latin typeface="Soho Gothic Pro Medium"/>
            </a:endParaRPr>
          </a:p>
        </p:txBody>
      </p:sp>
      <p:sp>
        <p:nvSpPr>
          <p:cNvPr id="34" name="CuadroTexto 50_0">
            <a:extLst>
              <a:ext uri="{FF2B5EF4-FFF2-40B4-BE49-F238E27FC236}">
                <a16:creationId xmlns:a16="http://schemas.microsoft.com/office/drawing/2014/main" id="{3F2A8E2F-6B21-4E0A-80EE-BC5CBEF477D0}"/>
              </a:ext>
            </a:extLst>
          </p:cNvPr>
          <p:cNvSpPr/>
          <p:nvPr/>
        </p:nvSpPr>
        <p:spPr>
          <a:xfrm>
            <a:off x="9473194" y="2704606"/>
            <a:ext cx="2651040" cy="1015663"/>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ea typeface="Soho Gothic Pro Light"/>
              </a:rPr>
              <a:t>2019 | </a:t>
            </a:r>
            <a:r>
              <a:rPr lang="es-ES" sz="1000" spc="-1">
                <a:ea typeface="+mn-lt"/>
                <a:cs typeface="+mn-lt"/>
              </a:rPr>
              <a:t>ELK</a:t>
            </a:r>
            <a:r>
              <a:rPr lang="es-ES" sz="1000" spc="-1">
                <a:solidFill>
                  <a:srgbClr val="FF0000"/>
                </a:solidFill>
                <a:ea typeface="+mn-lt"/>
                <a:cs typeface="+mn-lt"/>
              </a:rPr>
              <a:t>: </a:t>
            </a:r>
            <a:r>
              <a:rPr lang="es-ES" sz="1000" spc="-1" err="1">
                <a:ea typeface="+mn-lt"/>
                <a:cs typeface="+mn-lt"/>
              </a:rPr>
              <a:t>Elastic</a:t>
            </a:r>
            <a:r>
              <a:rPr lang="es-ES" sz="1000" spc="-1">
                <a:ea typeface="+mn-lt"/>
                <a:cs typeface="+mn-lt"/>
              </a:rPr>
              <a:t> Training: APM Fundamentals</a:t>
            </a:r>
            <a:endParaRPr lang="es-ES" sz="1000" spc="-1" err="1">
              <a:cs typeface="Arial"/>
            </a:endParaRPr>
          </a:p>
          <a:p>
            <a:r>
              <a:rPr lang="es-ES" sz="1000" spc="-1">
                <a:ea typeface="+mn-lt"/>
                <a:cs typeface="+mn-lt"/>
              </a:rPr>
              <a:t>                  </a:t>
            </a:r>
            <a:r>
              <a:rPr lang="es-ES" sz="1000" spc="-1" err="1">
                <a:ea typeface="+mn-lt"/>
                <a:cs typeface="+mn-lt"/>
              </a:rPr>
              <a:t>Elastic</a:t>
            </a:r>
            <a:r>
              <a:rPr lang="es-ES" sz="1000" spc="-1">
                <a:ea typeface="+mn-lt"/>
                <a:cs typeface="+mn-lt"/>
              </a:rPr>
              <a:t> Machine </a:t>
            </a:r>
            <a:r>
              <a:rPr lang="es-ES" sz="1000" spc="-1" err="1">
                <a:ea typeface="+mn-lt"/>
                <a:cs typeface="+mn-lt"/>
              </a:rPr>
              <a:t>Learning</a:t>
            </a:r>
            <a:r>
              <a:rPr lang="es-ES" sz="1000" spc="-1">
                <a:ea typeface="+mn-lt"/>
                <a:cs typeface="+mn-lt"/>
              </a:rPr>
              <a:t> </a:t>
            </a:r>
            <a:r>
              <a:rPr lang="es-ES" sz="1000" spc="-1" err="1">
                <a:ea typeface="+mn-lt"/>
                <a:cs typeface="+mn-lt"/>
              </a:rPr>
              <a:t>for</a:t>
            </a:r>
            <a:r>
              <a:rPr lang="es-ES" sz="1000" spc="-1">
                <a:ea typeface="+mn-lt"/>
                <a:cs typeface="+mn-lt"/>
              </a:rPr>
              <a:t> </a:t>
            </a:r>
            <a:r>
              <a:rPr lang="es-ES" sz="1000" spc="-1" err="1">
                <a:ea typeface="+mn-lt"/>
                <a:cs typeface="+mn-lt"/>
              </a:rPr>
              <a:t>Cybersecurity</a:t>
            </a:r>
            <a:endParaRPr lang="es-ES" err="1"/>
          </a:p>
          <a:p>
            <a:r>
              <a:rPr lang="es-ES" sz="1000" spc="-1">
                <a:ea typeface="+mn-lt"/>
                <a:cs typeface="+mn-lt"/>
              </a:rPr>
              <a:t>                  </a:t>
            </a:r>
            <a:r>
              <a:rPr lang="es-ES" sz="1000" spc="-1" err="1">
                <a:ea typeface="+mn-lt"/>
                <a:cs typeface="+mn-lt"/>
              </a:rPr>
              <a:t>Loggin</a:t>
            </a:r>
            <a:r>
              <a:rPr lang="es-ES" sz="1000" spc="-1">
                <a:ea typeface="+mn-lt"/>
                <a:cs typeface="+mn-lt"/>
              </a:rPr>
              <a:t> Fundamentals</a:t>
            </a:r>
            <a:endParaRPr lang="es-ES"/>
          </a:p>
          <a:p>
            <a:r>
              <a:rPr lang="es-ES" sz="1000" spc="-1">
                <a:ea typeface="+mn-lt"/>
                <a:cs typeface="+mn-lt"/>
              </a:rPr>
              <a:t>                  </a:t>
            </a:r>
            <a:r>
              <a:rPr lang="es-ES" sz="1000" spc="-1" err="1">
                <a:ea typeface="+mn-lt"/>
                <a:cs typeface="+mn-lt"/>
              </a:rPr>
              <a:t>Metric</a:t>
            </a:r>
            <a:r>
              <a:rPr lang="es-ES" sz="1000" spc="-1">
                <a:ea typeface="+mn-lt"/>
                <a:cs typeface="+mn-lt"/>
              </a:rPr>
              <a:t> Fundamentals</a:t>
            </a:r>
            <a:endParaRPr lang="es-ES"/>
          </a:p>
          <a:p>
            <a:r>
              <a:rPr lang="es-ES" sz="1000" spc="-1">
                <a:ea typeface="+mn-lt"/>
                <a:cs typeface="+mn-lt"/>
              </a:rPr>
              <a:t>                  X-Pack - Security</a:t>
            </a:r>
            <a:endParaRPr lang="es-ES"/>
          </a:p>
        </p:txBody>
      </p:sp>
      <p:sp>
        <p:nvSpPr>
          <p:cNvPr id="30" name="CuadroTexto 39_0"/>
          <p:cNvSpPr/>
          <p:nvPr/>
        </p:nvSpPr>
        <p:spPr>
          <a:xfrm>
            <a:off x="101871" y="1539385"/>
            <a:ext cx="551134" cy="646331"/>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900" b="1" strike="noStrike" spc="-1">
                <a:latin typeface="Soho Gothic Pro Light"/>
                <a:ea typeface="Soho Gothic Pro Light"/>
              </a:rPr>
              <a:t>ACT</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21</a:t>
            </a:r>
            <a:endParaRPr lang="es-ES" sz="900" b="1" strike="noStrike" spc="-1">
              <a:latin typeface="Arial"/>
            </a:endParaRPr>
          </a:p>
          <a:p>
            <a:pPr>
              <a:lnSpc>
                <a:spcPct val="100000"/>
              </a:lnSpc>
            </a:pPr>
            <a:endParaRPr lang="es-ES" sz="900" b="0" strike="noStrike" spc="-1">
              <a:latin typeface="Arial"/>
            </a:endParaRPr>
          </a:p>
        </p:txBody>
      </p:sp>
      <p:sp>
        <p:nvSpPr>
          <p:cNvPr id="33" name="CuadroTexto 44_0"/>
          <p:cNvSpPr/>
          <p:nvPr/>
        </p:nvSpPr>
        <p:spPr>
          <a:xfrm>
            <a:off x="455957" y="1525266"/>
            <a:ext cx="4316381" cy="1246495"/>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r>
              <a:rPr lang="es-ES" sz="1100" b="1" spc="-1" err="1">
                <a:ea typeface="Soho Gothic Pro Light"/>
              </a:rPr>
              <a:t>Minsait</a:t>
            </a:r>
            <a:r>
              <a:rPr lang="es-ES" sz="1100" b="1" spc="-1">
                <a:ea typeface="Soho Gothic Pro Light"/>
              </a:rPr>
              <a:t> </a:t>
            </a:r>
            <a:r>
              <a:rPr lang="es-ES" sz="1100" b="1" spc="-1" err="1">
                <a:ea typeface="Soho Gothic Pro Light"/>
              </a:rPr>
              <a:t>by</a:t>
            </a:r>
            <a:r>
              <a:rPr lang="es-ES" sz="1100" b="1" spc="-1">
                <a:ea typeface="Soho Gothic Pro Light"/>
              </a:rPr>
              <a:t> Indra (Barcelona, España)</a:t>
            </a:r>
          </a:p>
          <a:p>
            <a:pPr algn="just">
              <a:lnSpc>
                <a:spcPct val="100000"/>
              </a:lnSpc>
            </a:pPr>
            <a:r>
              <a:rPr lang="es-ES" sz="1100" spc="-1">
                <a:ea typeface="Soho Gothic Pro Light"/>
              </a:rPr>
              <a:t>Data </a:t>
            </a:r>
            <a:r>
              <a:rPr lang="es-ES" sz="1100" spc="-1" err="1">
                <a:ea typeface="Soho Gothic Pro Light"/>
              </a:rPr>
              <a:t>Engineer</a:t>
            </a:r>
            <a:r>
              <a:rPr lang="es-ES" sz="1100" spc="-1">
                <a:ea typeface="Soho Gothic Pro Light"/>
              </a:rPr>
              <a:t> / Software </a:t>
            </a:r>
            <a:r>
              <a:rPr lang="es-ES" sz="1100" spc="-1" err="1">
                <a:ea typeface="Soho Gothic Pro Light"/>
              </a:rPr>
              <a:t>Developer</a:t>
            </a:r>
            <a:endParaRPr lang="es-ES" sz="1100" spc="-1">
              <a:ea typeface="Soho Gothic Pro Light"/>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050" spc="-1"/>
              <a:t>Actualmente estoy trabajando con el equipo de empadronamiento de la "Agencia Tributaria de Cataluña". Este sistema se encarga de crear un repositorio centralizado, fiable, de alta calidad y único para centralizar la información consolidada de vehículos y personas.</a:t>
            </a:r>
          </a:p>
        </p:txBody>
      </p:sp>
    </p:spTree>
    <p:extLst>
      <p:ext uri="{BB962C8B-B14F-4D97-AF65-F5344CB8AC3E}">
        <p14:creationId xmlns:p14="http://schemas.microsoft.com/office/powerpoint/2010/main" val="8155168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1015663"/>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r>
              <a:rPr lang="es-ES" sz="1200" spc="-1">
                <a:ea typeface="Soho Gothic Pro Light"/>
              </a:rPr>
              <a:t>Ingeniero y Arquitecto Senior </a:t>
            </a:r>
            <a:r>
              <a:rPr lang="es-ES" sz="1200" spc="-1">
                <a:ea typeface="+mn-lt"/>
                <a:cs typeface="+mn-lt"/>
              </a:rPr>
              <a:t>con más de 10 años de experiencia en el análisis, definición y desarrollo de arquitecturas y aplicaciones (Sistemas </a:t>
            </a:r>
            <a:r>
              <a:rPr lang="es-ES" sz="1200" spc="-1" err="1">
                <a:ea typeface="+mn-lt"/>
                <a:cs typeface="+mn-lt"/>
              </a:rPr>
              <a:t>BackEnd</a:t>
            </a:r>
            <a:r>
              <a:rPr lang="es-ES" sz="1200" spc="-1">
                <a:ea typeface="+mn-lt"/>
                <a:cs typeface="+mn-lt"/>
              </a:rPr>
              <a:t>, orquestación de procesos con SOA / OSB, BigData).</a:t>
            </a:r>
            <a:r>
              <a:rPr lang="es-ES" sz="1200" spc="-1">
                <a:ea typeface="+mn-lt"/>
              </a:rPr>
              <a:t> Participando durante más de 6 años en proyectos de la administración publica </a:t>
            </a:r>
            <a:r>
              <a:rPr lang="es-ES" sz="1200" spc="-1">
                <a:ea typeface="Soho Gothic Pro Light"/>
              </a:rPr>
              <a:t>y durante 3 años en el sector de servicios financieros.</a:t>
            </a:r>
            <a:endParaRPr lang="es-ES"/>
          </a:p>
          <a:p>
            <a:r>
              <a:rPr lang="es-ES" sz="1200" spc="-1">
                <a:ea typeface="+mn-lt"/>
              </a:rPr>
              <a:t>En</a:t>
            </a:r>
            <a:r>
              <a:rPr lang="es-ES" sz="1200" spc="-1">
                <a:ea typeface="+mn-lt"/>
                <a:cs typeface="+mn-lt"/>
              </a:rPr>
              <a:t> los últimos 5 años he estado trabajando en proyectos BigData como </a:t>
            </a:r>
            <a:r>
              <a:rPr lang="es-ES" sz="1200" spc="-1" err="1">
                <a:ea typeface="+mn-lt"/>
                <a:cs typeface="+mn-lt"/>
              </a:rPr>
              <a:t>TeamLeader</a:t>
            </a:r>
            <a:r>
              <a:rPr lang="es-ES" sz="1200" spc="-1">
                <a:ea typeface="+mn-lt"/>
                <a:cs typeface="+mn-lt"/>
              </a:rPr>
              <a:t> y realizando desarrollos e implantaciones de procesos utilizando tecnologías como </a:t>
            </a:r>
            <a:r>
              <a:rPr lang="es-ES" sz="1200" spc="-1" err="1">
                <a:ea typeface="+mn-lt"/>
                <a:cs typeface="+mn-lt"/>
              </a:rPr>
              <a:t>Cloudera</a:t>
            </a:r>
            <a:r>
              <a:rPr lang="es-ES" sz="1200" spc="-1">
                <a:ea typeface="+mn-lt"/>
                <a:cs typeface="+mn-lt"/>
              </a:rPr>
              <a:t>, </a:t>
            </a:r>
            <a:r>
              <a:rPr lang="es-ES" sz="1200" spc="-1" err="1">
                <a:ea typeface="+mn-lt"/>
                <a:cs typeface="+mn-lt"/>
              </a:rPr>
              <a:t>Spark</a:t>
            </a:r>
            <a:r>
              <a:rPr lang="es-ES" sz="1200" spc="-1">
                <a:ea typeface="+mn-lt"/>
                <a:cs typeface="+mn-lt"/>
              </a:rPr>
              <a:t>, MongoDB, Impala, </a:t>
            </a:r>
            <a:r>
              <a:rPr lang="es-ES" sz="1200" spc="-1" err="1">
                <a:ea typeface="+mn-lt"/>
                <a:cs typeface="+mn-lt"/>
              </a:rPr>
              <a:t>Kudu</a:t>
            </a:r>
            <a:r>
              <a:rPr lang="es-ES" sz="1200" spc="-1">
                <a:ea typeface="+mn-lt"/>
                <a:cs typeface="+mn-lt"/>
              </a:rPr>
              <a:t>, et</a:t>
            </a:r>
            <a:r>
              <a:rPr lang="en-US" sz="1200" spc="-1">
                <a:ea typeface="+mn-lt"/>
                <a:cs typeface="+mn-lt"/>
              </a:rPr>
              <a:t>c.</a:t>
            </a:r>
            <a:endParaRPr lang="es-ES" sz="1750"/>
          </a:p>
        </p:txBody>
      </p:sp>
      <p:sp>
        <p:nvSpPr>
          <p:cNvPr id="98" name="CuadroTexto 39_0"/>
          <p:cNvSpPr/>
          <p:nvPr/>
        </p:nvSpPr>
        <p:spPr>
          <a:xfrm>
            <a:off x="250200" y="1709640"/>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ACT</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9</a:t>
            </a:r>
            <a:endParaRPr lang="es-ES" sz="900" b="1" strike="noStrike" spc="-1">
              <a:latin typeface="Arial"/>
            </a:endParaRPr>
          </a:p>
          <a:p>
            <a:pPr>
              <a:lnSpc>
                <a:spcPct val="100000"/>
              </a:lnSpc>
            </a:pPr>
            <a:endParaRPr lang="es-ES" sz="900" b="0" strike="noStrike" spc="-1">
              <a:latin typeface="Arial"/>
            </a:endParaRPr>
          </a:p>
        </p:txBody>
      </p:sp>
      <p:sp>
        <p:nvSpPr>
          <p:cNvPr id="99" name="CuadroTexto 44_0"/>
          <p:cNvSpPr/>
          <p:nvPr/>
        </p:nvSpPr>
        <p:spPr>
          <a:xfrm>
            <a:off x="685800" y="1743120"/>
            <a:ext cx="3988800" cy="1615827"/>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gn="just">
              <a:lnSpc>
                <a:spcPct val="100000"/>
              </a:lnSpc>
            </a:pPr>
            <a:r>
              <a:rPr lang="es-ES" sz="1100" b="1" strike="noStrike" spc="-1">
                <a:latin typeface="Soho Gothic Pro Light"/>
                <a:ea typeface="Soho Gothic Pro Light"/>
              </a:rPr>
              <a:t>Minsai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0" strike="noStrike" spc="-1">
              <a:latin typeface="Arial"/>
            </a:endParaRPr>
          </a:p>
          <a:p>
            <a:pPr algn="just">
              <a:lnSpc>
                <a:spcPct val="100000"/>
              </a:lnSpc>
            </a:pPr>
            <a:r>
              <a:rPr lang="es-ES" sz="1100" spc="-1">
                <a:ea typeface="Soho Gothic Pro Light"/>
              </a:rPr>
              <a:t>Software </a:t>
            </a:r>
            <a:r>
              <a:rPr lang="es-ES" sz="1100" spc="-1" err="1">
                <a:ea typeface="Soho Gothic Pro Light"/>
              </a:rPr>
              <a:t>Developer</a:t>
            </a:r>
            <a:r>
              <a:rPr lang="es-ES" sz="1100" spc="-1">
                <a:ea typeface="Soho Gothic Pro Light"/>
              </a:rPr>
              <a:t> / Coordinador</a:t>
            </a:r>
            <a:endParaRPr lang="es-ES" sz="1100"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100" spc="-1" err="1"/>
              <a:t>Team</a:t>
            </a:r>
            <a:r>
              <a:rPr lang="es-ES" sz="1100" spc="-1"/>
              <a:t> Leader del equipo de Frontales de Gobierno (Data </a:t>
            </a:r>
            <a:r>
              <a:rPr lang="es-ES" sz="1100" spc="-1" err="1"/>
              <a:t>Quality</a:t>
            </a:r>
            <a:r>
              <a:rPr lang="es-ES" sz="1100" spc="-1"/>
              <a:t>, </a:t>
            </a:r>
            <a:r>
              <a:rPr lang="es-ES" sz="1100" spc="-1" err="1"/>
              <a:t>DataLake</a:t>
            </a:r>
            <a:r>
              <a:rPr lang="es-ES" sz="1100" spc="-1"/>
              <a:t> Operativo, Gestor Documental) de BigData para la Agencia Tributaria de Catalunya (a partir de ahora ATC).</a:t>
            </a:r>
          </a:p>
          <a:p>
            <a:pPr marL="171360" indent="-171000" algn="just">
              <a:lnSpc>
                <a:spcPct val="100000"/>
              </a:lnSpc>
              <a:buClr>
                <a:srgbClr val="1A3B47"/>
              </a:buClr>
              <a:buFont typeface="Arial,Sans-Serif"/>
              <a:buChar char="•"/>
            </a:pPr>
            <a:r>
              <a:rPr lang="es-ES" sz="1100" spc="-1"/>
              <a:t>Desarrollador de evolutivos y mejoras sobre el motor del Data </a:t>
            </a:r>
            <a:r>
              <a:rPr lang="es-ES" sz="1100" spc="-1" err="1"/>
              <a:t>Quality</a:t>
            </a:r>
            <a:r>
              <a:rPr lang="es-ES" sz="1100" spc="-1"/>
              <a:t> de la ATC de la Generalitat de Catalunya.</a:t>
            </a:r>
          </a:p>
        </p:txBody>
      </p:sp>
      <p:sp>
        <p:nvSpPr>
          <p:cNvPr id="102" name="CuadroTexto 54_0"/>
          <p:cNvSpPr/>
          <p:nvPr/>
        </p:nvSpPr>
        <p:spPr>
          <a:xfrm>
            <a:off x="9438480" y="5748343"/>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diomas</a:t>
            </a:r>
            <a:endParaRPr lang="es-ES" sz="1200" b="0" strike="noStrike" spc="-1">
              <a:latin typeface="Arial"/>
            </a:endParaRPr>
          </a:p>
        </p:txBody>
      </p:sp>
      <p:sp>
        <p:nvSpPr>
          <p:cNvPr id="103" name="CuadroTexto 55_0"/>
          <p:cNvSpPr/>
          <p:nvPr/>
        </p:nvSpPr>
        <p:spPr>
          <a:xfrm>
            <a:off x="9474840" y="6102583"/>
            <a:ext cx="2712240" cy="1015663"/>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r>
              <a:rPr lang="es-ES" sz="1000" b="1" strike="noStrike" spc="-1">
                <a:latin typeface="Soho Gothic Pro Light"/>
                <a:ea typeface="Soho Gothic Pro Light"/>
              </a:rPr>
              <a:t>Castellano - </a:t>
            </a:r>
            <a:r>
              <a:rPr lang="es-ES" sz="1000" b="0" strike="noStrike" spc="-1">
                <a:latin typeface="Soho Gothic Pro Light"/>
                <a:ea typeface="Soho Gothic Pro Light"/>
              </a:rPr>
              <a:t>Nativo</a:t>
            </a:r>
          </a:p>
          <a:p>
            <a:pPr>
              <a:lnSpc>
                <a:spcPct val="100000"/>
              </a:lnSpc>
            </a:pPr>
            <a:r>
              <a:rPr lang="es-ES" sz="1000" spc="-1">
                <a:latin typeface="Soho Gothic Pro Light"/>
                <a:ea typeface="Soho Gothic Pro Light"/>
              </a:rPr>
              <a:t>Gallego - Nativo</a:t>
            </a:r>
            <a:endParaRPr lang="es-ES" sz="1000" b="0" strike="noStrike" spc="-1">
              <a:latin typeface="Soho Gothic Pro Light"/>
              <a:ea typeface="Soho Gothic Pro Light"/>
            </a:endParaRPr>
          </a:p>
          <a:p>
            <a:r>
              <a:rPr lang="ca-ES" sz="1000" b="1" spc="-1" err="1">
                <a:solidFill>
                  <a:srgbClr val="1A3B47"/>
                </a:solidFill>
                <a:latin typeface="Soho Gothic Pro Light"/>
                <a:ea typeface="Soho Gothic Pro Light"/>
              </a:rPr>
              <a:t>Catalán</a:t>
            </a:r>
            <a:r>
              <a:rPr lang="ca-ES" sz="1000" b="1" spc="-1">
                <a:solidFill>
                  <a:srgbClr val="1A3B47"/>
                </a:solidFill>
                <a:latin typeface="Soho Gothic Pro Light"/>
                <a:ea typeface="Soho Gothic Pro Light"/>
              </a:rPr>
              <a:t> </a:t>
            </a:r>
            <a:r>
              <a:rPr lang="ca-ES" sz="1750"/>
              <a:t/>
            </a:r>
            <a:br>
              <a:rPr lang="ca-ES" sz="1750"/>
            </a:br>
            <a:r>
              <a:rPr lang="es-ES" sz="1000" b="1" strike="noStrike" spc="-1">
                <a:solidFill>
                  <a:srgbClr val="1A3B47"/>
                </a:solidFill>
                <a:latin typeface="Soho Gothic Pro Light"/>
                <a:ea typeface="Soho Gothic Pro Light"/>
              </a:rPr>
              <a:t>Ingles - </a:t>
            </a:r>
            <a:r>
              <a:rPr lang="es-ES" sz="1000" spc="-1">
                <a:solidFill>
                  <a:srgbClr val="1A3B47"/>
                </a:solidFill>
                <a:latin typeface="Soho Gothic Pro Light"/>
                <a:ea typeface="Soho Gothic Pro Light"/>
              </a:rPr>
              <a:t>Nivel intermedio</a:t>
            </a:r>
            <a:endParaRPr lang="es-ES" sz="1000" b="0" strike="noStrike" spc="-1">
              <a:solidFill>
                <a:srgbClr val="1A3B47"/>
              </a:solidFill>
              <a:latin typeface="Arial"/>
            </a:endParaRPr>
          </a:p>
          <a:p>
            <a:pPr>
              <a:lnSpc>
                <a:spcPct val="100000"/>
              </a:lnSpc>
            </a:pPr>
            <a:endParaRPr lang="es-ES" sz="1000" b="0" strike="noStrike" spc="-1">
              <a:solidFill>
                <a:srgbClr val="FF0000"/>
              </a:solidFill>
              <a:latin typeface="Arial"/>
            </a:endParaRPr>
          </a:p>
          <a:p>
            <a:pPr>
              <a:lnSpc>
                <a:spcPct val="100000"/>
              </a:lnSpc>
            </a:pPr>
            <a:endParaRPr lang="es-ES" sz="1000" b="0" strike="noStrike" spc="-1">
              <a:solidFill>
                <a:srgbClr val="FF0000"/>
              </a:solidFill>
              <a:latin typeface="Arial"/>
            </a:endParaRPr>
          </a:p>
        </p:txBody>
      </p:sp>
      <p:sp>
        <p:nvSpPr>
          <p:cNvPr id="105" name="CuadroTexto 40_0"/>
          <p:cNvSpPr/>
          <p:nvPr/>
        </p:nvSpPr>
        <p:spPr>
          <a:xfrm>
            <a:off x="3451680" y="110520"/>
            <a:ext cx="2692800" cy="45756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400" b="0" strike="noStrike" spc="-1">
                <a:solidFill>
                  <a:schemeClr val="bg1"/>
                </a:solidFill>
                <a:latin typeface="Soho Gothic Pro Medium"/>
              </a:rPr>
              <a:t>Data </a:t>
            </a:r>
            <a:r>
              <a:rPr lang="es-ES" sz="2400" b="0" strike="noStrike" spc="-1" err="1">
                <a:solidFill>
                  <a:schemeClr val="bg1"/>
                </a:solidFill>
                <a:latin typeface="Soho Gothic Pro Medium"/>
              </a:rPr>
              <a:t>Engineer</a:t>
            </a:r>
            <a:endParaRPr lang="es-ES" sz="2400" b="0" strike="noStrike" spc="-1">
              <a:solidFill>
                <a:schemeClr val="bg1"/>
              </a:solidFill>
              <a:latin typeface="Aria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A.G.N.</a:t>
            </a:r>
            <a:endParaRPr lang="es-ES" sz="2000" b="0" strike="noStrike" spc="-1">
              <a:solidFill>
                <a:schemeClr val="bg1"/>
              </a:solidFill>
              <a:latin typeface="Arial"/>
            </a:endParaRPr>
          </a:p>
        </p:txBody>
      </p:sp>
      <p:sp>
        <p:nvSpPr>
          <p:cNvPr id="109" name="CuadroTexto 37_0"/>
          <p:cNvSpPr/>
          <p:nvPr/>
        </p:nvSpPr>
        <p:spPr>
          <a:xfrm>
            <a:off x="9447480" y="3681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T</a:t>
            </a:r>
            <a:endParaRPr lang="es-ES" sz="1200" b="0" strike="noStrike" spc="-1">
              <a:latin typeface="Arial"/>
            </a:endParaRPr>
          </a:p>
        </p:txBody>
      </p:sp>
      <p:sp>
        <p:nvSpPr>
          <p:cNvPr id="110" name="CuadroTexto 52_0"/>
          <p:cNvSpPr/>
          <p:nvPr/>
        </p:nvSpPr>
        <p:spPr>
          <a:xfrm>
            <a:off x="9429185" y="4009680"/>
            <a:ext cx="2747455" cy="1785104"/>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n-US" sz="1000" b="1" strike="noStrike" spc="-1">
                <a:ea typeface="+mn-lt"/>
                <a:cs typeface="+mn-lt"/>
              </a:rPr>
              <a:t>Programming languages:</a:t>
            </a:r>
            <a:r>
              <a:rPr lang="en-US" sz="1000" b="1" spc="-1">
                <a:ea typeface="+mn-lt"/>
                <a:cs typeface="+mn-lt"/>
              </a:rPr>
              <a:t> </a:t>
            </a:r>
            <a:r>
              <a:rPr lang="en-US" sz="1000" spc="-1">
                <a:ea typeface="+mn-lt"/>
                <a:cs typeface="+mn-lt"/>
              </a:rPr>
              <a:t>Java/Scala/Spark</a:t>
            </a:r>
          </a:p>
          <a:p>
            <a:r>
              <a:rPr lang="en-US" sz="1000" b="1" spc="-1">
                <a:ea typeface="+mn-lt"/>
                <a:cs typeface="+mn-lt"/>
              </a:rPr>
              <a:t>Scripting language: </a:t>
            </a:r>
            <a:r>
              <a:rPr lang="en-US" sz="1000" spc="-1">
                <a:ea typeface="+mn-lt"/>
                <a:cs typeface="+mn-lt"/>
              </a:rPr>
              <a:t>Linux Scripting</a:t>
            </a:r>
          </a:p>
          <a:p>
            <a:r>
              <a:rPr lang="en-US" sz="1000" b="1" spc="-1">
                <a:ea typeface="+mn-lt"/>
                <a:cs typeface="+mn-lt"/>
              </a:rPr>
              <a:t>SQL: </a:t>
            </a:r>
            <a:r>
              <a:rPr lang="en-US" sz="1000" spc="-1">
                <a:ea typeface="+mn-lt"/>
                <a:cs typeface="+mn-lt"/>
              </a:rPr>
              <a:t>Transact-SQL, Pl-SQL, H-SQL</a:t>
            </a:r>
          </a:p>
          <a:p>
            <a:r>
              <a:rPr lang="en-US" sz="1000" b="1" spc="-1">
                <a:ea typeface="+mn-lt"/>
                <a:cs typeface="+mn-lt"/>
              </a:rPr>
              <a:t>Databases: </a:t>
            </a:r>
            <a:r>
              <a:rPr lang="en-US" sz="1000" spc="-1">
                <a:ea typeface="+mn-lt"/>
                <a:cs typeface="+mn-lt"/>
              </a:rPr>
              <a:t>MongoDB, Hive/Impala, Kudu, Oracle, MySQL, </a:t>
            </a:r>
            <a:r>
              <a:rPr lang="en-US" sz="1000" spc="-1" err="1">
                <a:ea typeface="+mn-lt"/>
                <a:cs typeface="+mn-lt"/>
              </a:rPr>
              <a:t>Postgres</a:t>
            </a:r>
            <a:endParaRPr lang="en-US" sz="1000" spc="-1">
              <a:ea typeface="+mn-lt"/>
              <a:cs typeface="+mn-lt"/>
            </a:endParaRPr>
          </a:p>
          <a:p>
            <a:r>
              <a:rPr lang="en-US" sz="1000" b="1" spc="-1">
                <a:ea typeface="+mn-lt"/>
                <a:cs typeface="+mn-lt"/>
              </a:rPr>
              <a:t>Platforms: </a:t>
            </a:r>
            <a:r>
              <a:rPr lang="en-US" sz="1000" spc="-1">
                <a:ea typeface="+mn-lt"/>
                <a:cs typeface="+mn-lt"/>
              </a:rPr>
              <a:t>Cloudera, AWS</a:t>
            </a:r>
          </a:p>
          <a:p>
            <a:r>
              <a:rPr lang="en-US" sz="1000" b="1" spc="-1">
                <a:ea typeface="+mn-lt"/>
                <a:cs typeface="+mn-lt"/>
              </a:rPr>
              <a:t>DevOps: </a:t>
            </a:r>
            <a:r>
              <a:rPr lang="en-US" sz="1000" spc="-1">
                <a:ea typeface="+mn-lt"/>
                <a:cs typeface="+mn-lt"/>
              </a:rPr>
              <a:t>SVN, GIT, Jenkins</a:t>
            </a:r>
          </a:p>
          <a:p>
            <a:r>
              <a:rPr lang="en-US" sz="1000" b="1" spc="-1" err="1">
                <a:ea typeface="+mn-lt"/>
                <a:cs typeface="+mn-lt"/>
              </a:rPr>
              <a:t>Atlassian</a:t>
            </a:r>
            <a:r>
              <a:rPr lang="en-US" sz="1000" b="1" spc="-1">
                <a:ea typeface="+mn-lt"/>
                <a:cs typeface="+mn-lt"/>
              </a:rPr>
              <a:t> Tools:  </a:t>
            </a:r>
            <a:r>
              <a:rPr lang="en-US" sz="1000" spc="-1">
                <a:ea typeface="+mn-lt"/>
                <a:cs typeface="+mn-lt"/>
              </a:rPr>
              <a:t>Jira, Confluence, </a:t>
            </a:r>
            <a:r>
              <a:rPr lang="en-US" sz="1000" spc="-1" err="1">
                <a:ea typeface="+mn-lt"/>
                <a:cs typeface="+mn-lt"/>
              </a:rPr>
              <a:t>Bitbucket</a:t>
            </a:r>
            <a:r>
              <a:rPr lang="en-US" sz="1000" spc="-1">
                <a:ea typeface="+mn-lt"/>
                <a:cs typeface="+mn-lt"/>
              </a:rPr>
              <a:t> and Nexus.</a:t>
            </a:r>
          </a:p>
          <a:p>
            <a:pPr>
              <a:lnSpc>
                <a:spcPct val="100000"/>
              </a:lnSpc>
            </a:pPr>
            <a:r>
              <a:rPr lang="en-US" sz="1000" b="1" strike="noStrike" spc="-1" err="1">
                <a:latin typeface="Soho Gothic Pro Light"/>
                <a:ea typeface="Soho Gothic Pro Light"/>
              </a:rPr>
              <a:t>Gestión</a:t>
            </a:r>
            <a:r>
              <a:rPr lang="en-US" sz="1000" b="0" strike="noStrike" spc="-1">
                <a:latin typeface="Soho Gothic Pro Light"/>
                <a:ea typeface="Soho Gothic Pro Light"/>
              </a:rPr>
              <a:t>: </a:t>
            </a:r>
            <a:r>
              <a:rPr lang="en-US" sz="1000" i="1" spc="-1">
                <a:ea typeface="Soho Gothic Pro Light"/>
              </a:rPr>
              <a:t>Jira</a:t>
            </a:r>
            <a:endParaRPr lang="en-US" sz="1000" i="1" spc="-1">
              <a:solidFill>
                <a:srgbClr val="FF0000"/>
              </a:solidFill>
              <a:ea typeface="Soho Gothic Pro Light"/>
            </a:endParaRPr>
          </a:p>
          <a:p>
            <a:pPr>
              <a:lnSpc>
                <a:spcPct val="100000"/>
              </a:lnSpc>
            </a:pPr>
            <a:r>
              <a:rPr lang="en-US" sz="1000" b="1" spc="-1">
                <a:ea typeface="Soho Gothic Pro Light"/>
              </a:rPr>
              <a:t>Agile</a:t>
            </a:r>
            <a:r>
              <a:rPr lang="en-US" sz="1000" spc="-1">
                <a:ea typeface="Soho Gothic Pro Light"/>
              </a:rPr>
              <a:t>: </a:t>
            </a:r>
            <a:r>
              <a:rPr lang="en-US" sz="1000" i="1" spc="-1">
                <a:ea typeface="Soho Gothic Pro Light"/>
              </a:rPr>
              <a:t>Scrum/Kanban</a:t>
            </a:r>
            <a:endParaRPr lang="en-US" sz="1000" i="1" spc="-1">
              <a:solidFill>
                <a:srgbClr val="FF0000"/>
              </a:solidFill>
              <a:ea typeface="Soho Gothic Pro Light"/>
            </a:endParaRPr>
          </a:p>
        </p:txBody>
      </p:sp>
      <p:sp>
        <p:nvSpPr>
          <p:cNvPr id="111" name="CuadroTexto 50_0"/>
          <p:cNvSpPr/>
          <p:nvPr/>
        </p:nvSpPr>
        <p:spPr>
          <a:xfrm>
            <a:off x="9543895" y="2031480"/>
            <a:ext cx="2643185" cy="861774"/>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solidFill>
                  <a:srgbClr val="1A3B47"/>
                </a:solidFill>
                <a:latin typeface="Soho Gothic Pro Light"/>
                <a:ea typeface="Soho Gothic Pro Light"/>
              </a:rPr>
              <a:t>2021</a:t>
            </a:r>
            <a:r>
              <a:rPr lang="es-ES" sz="1000" b="0" strike="noStrike" spc="-1">
                <a:solidFill>
                  <a:srgbClr val="1A3B47"/>
                </a:solidFill>
                <a:latin typeface="Soho Gothic Pro Light"/>
                <a:ea typeface="Soho Gothic Pro Light"/>
              </a:rPr>
              <a:t> |</a:t>
            </a:r>
            <a:r>
              <a:rPr lang="es-ES" sz="1000" spc="-1">
                <a:solidFill>
                  <a:srgbClr val="1A3B47"/>
                </a:solidFill>
                <a:latin typeface="Soho Gothic Pro Light"/>
                <a:ea typeface="Soho Gothic Pro Light"/>
              </a:rPr>
              <a:t> </a:t>
            </a:r>
            <a:r>
              <a:rPr lang="es-ES" sz="1000" spc="-1">
                <a:solidFill>
                  <a:srgbClr val="1A3B47"/>
                </a:solidFill>
                <a:ea typeface="+mn-lt"/>
                <a:cs typeface="+mn-lt"/>
              </a:rPr>
              <a:t>Google Cloud Fundamentals Core </a:t>
            </a:r>
            <a:r>
              <a:rPr lang="es-ES" sz="1000" spc="-1" err="1">
                <a:solidFill>
                  <a:srgbClr val="1A3B47"/>
                </a:solidFill>
                <a:ea typeface="+mn-lt"/>
                <a:cs typeface="+mn-lt"/>
              </a:rPr>
              <a:t>Infrastructure</a:t>
            </a:r>
            <a:r>
              <a:rPr lang="es-ES" sz="1000" spc="-1">
                <a:solidFill>
                  <a:srgbClr val="1A3B47"/>
                </a:solidFill>
                <a:latin typeface="Soho Gothic Pro Light"/>
              </a:rPr>
              <a:t> (9h)</a:t>
            </a:r>
            <a:endParaRPr lang="es-ES" sz="1000" spc="-1">
              <a:solidFill>
                <a:srgbClr val="1A3B47"/>
              </a:solidFill>
              <a:latin typeface="Arial"/>
              <a:cs typeface="Arial"/>
            </a:endParaRPr>
          </a:p>
          <a:p>
            <a:r>
              <a:rPr lang="es-ES" sz="1000" spc="-1">
                <a:solidFill>
                  <a:srgbClr val="1A3B47"/>
                </a:solidFill>
                <a:latin typeface="Soho Gothic Pro Light"/>
                <a:ea typeface="Soho Gothic Pro Light"/>
              </a:rPr>
              <a:t>2020 | AWS </a:t>
            </a:r>
            <a:r>
              <a:rPr lang="es-ES" sz="1000" spc="-1" err="1">
                <a:solidFill>
                  <a:srgbClr val="1A3B47"/>
                </a:solidFill>
                <a:latin typeface="Soho Gothic Pro Light"/>
                <a:ea typeface="Soho Gothic Pro Light"/>
              </a:rPr>
              <a:t>Technical</a:t>
            </a:r>
            <a:r>
              <a:rPr lang="es-ES" sz="1000" spc="-1">
                <a:solidFill>
                  <a:srgbClr val="1A3B47"/>
                </a:solidFill>
                <a:latin typeface="Soho Gothic Pro Light"/>
                <a:ea typeface="Soho Gothic Pro Light"/>
              </a:rPr>
              <a:t> Essentials (7h)</a:t>
            </a:r>
            <a:endParaRPr lang="es-ES" sz="1000" spc="-1">
              <a:solidFill>
                <a:srgbClr val="1A3B47"/>
              </a:solidFill>
              <a:latin typeface="Arial"/>
            </a:endParaRPr>
          </a:p>
          <a:p>
            <a:r>
              <a:rPr lang="es-ES" sz="1000" spc="-1">
                <a:solidFill>
                  <a:srgbClr val="1A3B47"/>
                </a:solidFill>
                <a:latin typeface="Soho Gothic Pro Light"/>
                <a:ea typeface="Soho Gothic Pro Light"/>
              </a:rPr>
              <a:t>2018 | </a:t>
            </a:r>
            <a:r>
              <a:rPr lang="es-ES" sz="1000" spc="-1" err="1">
                <a:ea typeface="+mn-lt"/>
                <a:cs typeface="+mn-lt"/>
              </a:rPr>
              <a:t>Cloudera</a:t>
            </a:r>
            <a:r>
              <a:rPr lang="es-ES" sz="1000" spc="-1">
                <a:ea typeface="+mn-lt"/>
                <a:cs typeface="+mn-lt"/>
              </a:rPr>
              <a:t> Data </a:t>
            </a:r>
            <a:r>
              <a:rPr lang="es-ES" sz="1000" spc="-1" err="1">
                <a:ea typeface="+mn-lt"/>
                <a:cs typeface="+mn-lt"/>
              </a:rPr>
              <a:t>Analyst</a:t>
            </a:r>
            <a:r>
              <a:rPr lang="es-ES" sz="1000" spc="-1">
                <a:ea typeface="+mn-lt"/>
                <a:cs typeface="+mn-lt"/>
              </a:rPr>
              <a:t> Training</a:t>
            </a:r>
            <a:r>
              <a:rPr lang="es-ES" sz="1000" spc="-1">
                <a:solidFill>
                  <a:srgbClr val="1A3B47"/>
                </a:solidFill>
                <a:latin typeface="Soho Gothic Pro Light"/>
                <a:ea typeface="Soho Gothic Pro Light"/>
              </a:rPr>
              <a:t> (28h)</a:t>
            </a:r>
            <a:endParaRPr lang="es-ES" sz="1000" spc="-1">
              <a:solidFill>
                <a:srgbClr val="1A3B47"/>
              </a:solidFill>
              <a:latin typeface="Arial"/>
            </a:endParaRPr>
          </a:p>
          <a:p>
            <a:r>
              <a:rPr lang="es-ES" sz="1000" spc="-1">
                <a:solidFill>
                  <a:srgbClr val="1A3B47"/>
                </a:solidFill>
                <a:latin typeface="Soho Gothic Pro Light"/>
                <a:ea typeface="Soho Gothic Pro Light"/>
              </a:rPr>
              <a:t>2018 | Amazon WS + BigData (24h)</a:t>
            </a:r>
            <a:endParaRPr lang="es-ES" sz="1000" spc="-1">
              <a:solidFill>
                <a:srgbClr val="1A3B47"/>
              </a:solidFill>
              <a:latin typeface="Soho Gothic Pro Light"/>
            </a:endParaRPr>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Educación</a:t>
            </a:r>
            <a:endParaRPr lang="es-ES" sz="1200" b="0" strike="noStrike" spc="-1">
              <a:latin typeface="Arial"/>
            </a:endParaRPr>
          </a:p>
        </p:txBody>
      </p:sp>
      <p:sp>
        <p:nvSpPr>
          <p:cNvPr id="113" name="CuadroTexto 70_0"/>
          <p:cNvSpPr/>
          <p:nvPr/>
        </p:nvSpPr>
        <p:spPr>
          <a:xfrm>
            <a:off x="9827280" y="441123"/>
            <a:ext cx="2349360" cy="861774"/>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r>
              <a:rPr lang="es-ES" sz="1000" spc="-1">
                <a:ea typeface="Soho Gothic Pro Light"/>
              </a:rPr>
              <a:t>Diplomado en Ingeniería Técnica en Informática de Gestión por la </a:t>
            </a:r>
            <a:r>
              <a:rPr lang="es-ES" sz="1000" spc="-1" err="1">
                <a:ea typeface="Soho Gothic Pro Light"/>
              </a:rPr>
              <a:t>Universitat</a:t>
            </a:r>
            <a:r>
              <a:rPr lang="es-ES" sz="1000" spc="-1">
                <a:ea typeface="Soho Gothic Pro Light"/>
              </a:rPr>
              <a:t> Politécnica de Catalunya</a:t>
            </a:r>
          </a:p>
          <a:p>
            <a:pPr>
              <a:lnSpc>
                <a:spcPct val="100000"/>
              </a:lnSpc>
            </a:pPr>
            <a:r>
              <a:rPr lang="es-ES" sz="1000" spc="-1">
                <a:ea typeface="Soho Gothic Pro Light"/>
              </a:rPr>
              <a:t>Licenciado en Ingeniería Informática por la </a:t>
            </a:r>
            <a:r>
              <a:rPr lang="es-ES" sz="1000" spc="-1" err="1">
                <a:ea typeface="Soho Gothic Pro Light"/>
              </a:rPr>
              <a:t>Universitat</a:t>
            </a:r>
            <a:r>
              <a:rPr lang="es-ES" sz="1000" spc="-1">
                <a:ea typeface="Soho Gothic Pro Light"/>
              </a:rPr>
              <a:t> </a:t>
            </a:r>
            <a:r>
              <a:rPr lang="es-ES" sz="1000" spc="-1" err="1">
                <a:ea typeface="Soho Gothic Pro Light"/>
              </a:rPr>
              <a:t>Pompeu</a:t>
            </a:r>
            <a:r>
              <a:rPr lang="es-ES" sz="1000" spc="-1">
                <a:ea typeface="Soho Gothic Pro Light"/>
              </a:rPr>
              <a:t> </a:t>
            </a:r>
            <a:r>
              <a:rPr lang="es-ES" sz="1000" spc="-1" err="1">
                <a:ea typeface="Soho Gothic Pro Light"/>
              </a:rPr>
              <a:t>Fabra</a:t>
            </a:r>
            <a:endParaRPr lang="es-ES" sz="1000" b="0" strike="noStrike" spc="-1">
              <a:latin typeface="Arial"/>
            </a:endParaRPr>
          </a:p>
        </p:txBody>
      </p:sp>
      <p:sp>
        <p:nvSpPr>
          <p:cNvPr id="114" name="CuadroTexto 73_0"/>
          <p:cNvSpPr/>
          <p:nvPr/>
        </p:nvSpPr>
        <p:spPr>
          <a:xfrm>
            <a:off x="9430200" y="456480"/>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0" strike="noStrike" spc="-1">
                <a:solidFill>
                  <a:srgbClr val="1A3B47"/>
                </a:solidFill>
                <a:latin typeface="Soho Gothic Pro Medium"/>
              </a:rPr>
              <a:t>1998</a:t>
            </a:r>
            <a:endParaRPr lang="es-ES" sz="900" b="0" strike="noStrike" spc="-1">
              <a:solidFill>
                <a:srgbClr val="1A3B47"/>
              </a:solidFill>
              <a:latin typeface="Arial"/>
              <a:cs typeface="Arial"/>
            </a:endParaRPr>
          </a:p>
          <a:p>
            <a:pPr>
              <a:lnSpc>
                <a:spcPct val="100000"/>
              </a:lnSpc>
            </a:pPr>
            <a:r>
              <a:rPr lang="es-ES" sz="900" b="0" strike="noStrike" spc="-1">
                <a:solidFill>
                  <a:srgbClr val="1A3B47"/>
                </a:solidFill>
                <a:latin typeface="Soho Gothic Pro Medium"/>
              </a:rPr>
              <a:t>—</a:t>
            </a:r>
            <a:endParaRPr lang="es-ES" sz="900" b="0" strike="noStrike" spc="-1">
              <a:solidFill>
                <a:srgbClr val="1A3B47"/>
              </a:solidFill>
              <a:latin typeface="Arial"/>
              <a:cs typeface="Arial"/>
            </a:endParaRPr>
          </a:p>
          <a:p>
            <a:pPr>
              <a:lnSpc>
                <a:spcPct val="100000"/>
              </a:lnSpc>
            </a:pPr>
            <a:r>
              <a:rPr lang="es-ES" sz="900" b="0" strike="noStrike" spc="-1">
                <a:solidFill>
                  <a:srgbClr val="1A3B47"/>
                </a:solidFill>
                <a:latin typeface="Soho Gothic Pro Medium"/>
              </a:rPr>
              <a:t>2001</a:t>
            </a:r>
            <a:endParaRPr lang="es-ES" sz="900" b="0" strike="noStrike" spc="-1">
              <a:solidFill>
                <a:srgbClr val="1A3B47"/>
              </a:solidFill>
              <a:latin typeface="Arial"/>
              <a:cs typeface="Arial"/>
            </a:endParaRPr>
          </a:p>
        </p:txBody>
      </p:sp>
      <p:sp>
        <p:nvSpPr>
          <p:cNvPr id="115" name="CuadroTexto 45_2"/>
          <p:cNvSpPr/>
          <p:nvPr/>
        </p:nvSpPr>
        <p:spPr>
          <a:xfrm>
            <a:off x="651600" y="3971239"/>
            <a:ext cx="3848400" cy="178365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Software </a:t>
            </a:r>
            <a:r>
              <a:rPr lang="es-ES" sz="1100" spc="-1" err="1">
                <a:ea typeface="Soho Gothic Pro Light"/>
              </a:rPr>
              <a:t>Developer</a:t>
            </a:r>
            <a:r>
              <a:rPr lang="es-ES" sz="1100" spc="-1">
                <a:ea typeface="Soho Gothic Pro Light"/>
              </a:rPr>
              <a:t> / Coordinador</a:t>
            </a:r>
            <a:endParaRPr lang="es-ES" sz="1100"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
              <a:buChar char="•"/>
            </a:pPr>
            <a:r>
              <a:rPr lang="es-ES" sz="1100" spc="-1"/>
              <a:t>Responsable equipo desarrollo del proyecto BigData de Indra en el </a:t>
            </a:r>
            <a:r>
              <a:rPr lang="es-ES" sz="1100" spc="-1" err="1"/>
              <a:t>Banc</a:t>
            </a:r>
            <a:r>
              <a:rPr lang="es-ES" sz="1100" spc="-1"/>
              <a:t> Sabadell. En contacto directo con el cliente, liderando el desarrollo de aplicaciones ETL y procesos de automatización de Analítica Avanzada.</a:t>
            </a:r>
          </a:p>
          <a:p>
            <a:pPr marL="171360" indent="-171000" algn="just">
              <a:lnSpc>
                <a:spcPct val="100000"/>
              </a:lnSpc>
              <a:buClr>
                <a:srgbClr val="1A3B47"/>
              </a:buClr>
              <a:buFont typeface="Arial"/>
              <a:buChar char="•"/>
            </a:pPr>
            <a:r>
              <a:rPr lang="es-ES" sz="1100" spc="-1"/>
              <a:t>Funciones de Data </a:t>
            </a:r>
            <a:r>
              <a:rPr lang="es-ES" sz="1100" spc="-1" err="1"/>
              <a:t>Governance</a:t>
            </a:r>
            <a:r>
              <a:rPr lang="es-ES" sz="1100" spc="-1"/>
              <a:t> para los procesos BigData de todo el departamento Big Data del </a:t>
            </a:r>
            <a:r>
              <a:rPr lang="es-ES" sz="1100" spc="-1" err="1"/>
              <a:t>Banc</a:t>
            </a:r>
            <a:r>
              <a:rPr lang="es-ES" sz="1100" spc="-1"/>
              <a:t> Sabadell</a:t>
            </a:r>
          </a:p>
        </p:txBody>
      </p:sp>
      <p:sp>
        <p:nvSpPr>
          <p:cNvPr id="116" name="CuadroTexto 48_2"/>
          <p:cNvSpPr/>
          <p:nvPr/>
        </p:nvSpPr>
        <p:spPr>
          <a:xfrm>
            <a:off x="240120" y="3871519"/>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6</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9</a:t>
            </a:r>
            <a:endParaRPr lang="es-ES" sz="900" b="1" strike="noStrike" spc="-1">
              <a:latin typeface="Arial"/>
            </a:endParaRPr>
          </a:p>
        </p:txBody>
      </p:sp>
      <p:sp>
        <p:nvSpPr>
          <p:cNvPr id="117" name="CuadroTexto 33_0"/>
          <p:cNvSpPr/>
          <p:nvPr/>
        </p:nvSpPr>
        <p:spPr>
          <a:xfrm>
            <a:off x="9540000" y="1620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1" strike="noStrike" spc="-1">
                <a:solidFill>
                  <a:srgbClr val="1A3B47"/>
                </a:solidFill>
                <a:latin typeface="Soho Gothic Pro Light"/>
              </a:rPr>
              <a:t>Cursos Relevantes</a:t>
            </a:r>
            <a:endParaRPr lang="es-ES" sz="1200" b="0" strike="noStrike" spc="-1">
              <a:solidFill>
                <a:srgbClr val="1A3B47"/>
              </a:solidFill>
              <a:latin typeface="Arial"/>
              <a:cs typeface="Arial"/>
            </a:endParaRPr>
          </a:p>
        </p:txBody>
      </p:sp>
      <p:sp>
        <p:nvSpPr>
          <p:cNvPr id="33" name="CuadroTexto 39_0"/>
          <p:cNvSpPr/>
          <p:nvPr/>
        </p:nvSpPr>
        <p:spPr>
          <a:xfrm>
            <a:off x="4911480" y="1709640"/>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2</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6</a:t>
            </a:r>
            <a:endParaRPr lang="es-ES" sz="900" b="1" strike="noStrike" spc="-1">
              <a:latin typeface="Arial"/>
            </a:endParaRPr>
          </a:p>
          <a:p>
            <a:pPr>
              <a:lnSpc>
                <a:spcPct val="100000"/>
              </a:lnSpc>
            </a:pPr>
            <a:endParaRPr lang="es-ES" sz="900" b="0" strike="noStrike" spc="-1">
              <a:latin typeface="Arial"/>
            </a:endParaRPr>
          </a:p>
        </p:txBody>
      </p:sp>
      <p:sp>
        <p:nvSpPr>
          <p:cNvPr id="34" name="CuadroTexto 44_0"/>
          <p:cNvSpPr/>
          <p:nvPr/>
        </p:nvSpPr>
        <p:spPr>
          <a:xfrm>
            <a:off x="5347080" y="1743120"/>
            <a:ext cx="3988800" cy="2123658"/>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gn="just">
              <a:lnSpc>
                <a:spcPct val="100000"/>
              </a:lnSpc>
            </a:pPr>
            <a:r>
              <a:rPr lang="es-ES" sz="1100" b="1" strike="noStrike" spc="-1">
                <a:latin typeface="Soho Gothic Pro Light"/>
                <a:ea typeface="Soho Gothic Pro Light"/>
              </a:rPr>
              <a:t>Minsai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0" strike="noStrike" spc="-1">
              <a:latin typeface="Arial"/>
            </a:endParaRPr>
          </a:p>
          <a:p>
            <a:pPr algn="just">
              <a:lnSpc>
                <a:spcPct val="100000"/>
              </a:lnSpc>
            </a:pPr>
            <a:r>
              <a:rPr lang="es-ES" sz="1100" spc="-1">
                <a:ea typeface="Soho Gothic Pro Light"/>
              </a:rPr>
              <a:t>Software </a:t>
            </a:r>
            <a:r>
              <a:rPr lang="es-ES" sz="1100" spc="-1" err="1">
                <a:ea typeface="Soho Gothic Pro Light"/>
              </a:rPr>
              <a:t>Developer</a:t>
            </a:r>
            <a:endParaRPr lang="es-ES" sz="1100"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100" spc="-1"/>
              <a:t>Análisis, diseño y desarrollo de las integraciones de los servicios de la PICA para el CTTI mediante la utilización del OSB, la SOA Suite de Oracle. </a:t>
            </a:r>
          </a:p>
          <a:p>
            <a:pPr marL="171360" indent="-171000" algn="just">
              <a:lnSpc>
                <a:spcPct val="100000"/>
              </a:lnSpc>
              <a:buClr>
                <a:srgbClr val="1A3B47"/>
              </a:buClr>
              <a:buFont typeface="Arial,Sans-Serif"/>
              <a:buChar char="•"/>
            </a:pPr>
            <a:r>
              <a:rPr lang="es-ES" sz="1100" spc="-1"/>
              <a:t>Análisis, diseño y desarrollos sobre la plataforma antigua de la PICA con Bea </a:t>
            </a:r>
            <a:r>
              <a:rPr lang="es-ES" sz="1100" spc="-1" err="1"/>
              <a:t>Weblogic</a:t>
            </a:r>
            <a:r>
              <a:rPr lang="es-ES" sz="1100" spc="-1"/>
              <a:t> 9.2.3 y J2EE.</a:t>
            </a:r>
          </a:p>
          <a:p>
            <a:pPr marL="171360" indent="-171000" algn="just">
              <a:lnSpc>
                <a:spcPct val="100000"/>
              </a:lnSpc>
              <a:buClr>
                <a:srgbClr val="1A3B47"/>
              </a:buClr>
              <a:buFont typeface="Arial,Sans-Serif"/>
              <a:buChar char="•"/>
            </a:pPr>
            <a:r>
              <a:rPr lang="es-ES" sz="1100" spc="-1"/>
              <a:t>Análisis, diseño y desarrollo de los distintos productos que son utilizados por los funcionarios y por los ciudadanos para efectuar los distintos trámites con la administración de manera electrónica.</a:t>
            </a:r>
          </a:p>
        </p:txBody>
      </p:sp>
      <p:sp>
        <p:nvSpPr>
          <p:cNvPr id="35" name="CuadroTexto 45_2"/>
          <p:cNvSpPr/>
          <p:nvPr/>
        </p:nvSpPr>
        <p:spPr>
          <a:xfrm>
            <a:off x="5312880" y="3971239"/>
            <a:ext cx="3848400" cy="178365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Software </a:t>
            </a:r>
            <a:r>
              <a:rPr lang="es-ES" sz="1100" spc="-1" err="1">
                <a:ea typeface="Soho Gothic Pro Light"/>
              </a:rPr>
              <a:t>Developer</a:t>
            </a:r>
            <a:endParaRPr lang="es-ES" sz="1100" spc="-1">
              <a:latin typeface="Arial"/>
            </a:endParaRPr>
          </a:p>
          <a:p>
            <a:pPr algn="just">
              <a:lnSpc>
                <a:spcPct val="100000"/>
              </a:lnSpc>
            </a:pPr>
            <a:endParaRPr lang="es-ES" sz="1100" b="0" strike="noStrike" spc="-1">
              <a:latin typeface="Arial"/>
            </a:endParaRPr>
          </a:p>
          <a:p>
            <a:pPr marL="171450" indent="-171450" algn="just" defTabSz="914377">
              <a:buFont typeface="Arial" panose="020B0604020202020204" pitchFamily="34" charset="0"/>
              <a:buChar char="•"/>
              <a:defRPr b="0" i="0"/>
            </a:pPr>
            <a:r>
              <a:rPr lang="es-ES" sz="1100"/>
              <a:t>Piloto de </a:t>
            </a:r>
            <a:r>
              <a:rPr lang="es-ES" sz="1100" err="1"/>
              <a:t>webMethods</a:t>
            </a:r>
            <a:r>
              <a:rPr lang="es-ES" sz="1100"/>
              <a:t> para la integración de aplicaciones internas de AXA España mediante comunicación con WS, y colas </a:t>
            </a:r>
            <a:r>
              <a:rPr lang="es-ES" sz="1100" err="1"/>
              <a:t>Websphere</a:t>
            </a:r>
            <a:r>
              <a:rPr lang="es-ES" sz="1100"/>
              <a:t> MQ. Toma de requerimientos, análisis, diseño, implementación y despliegue en DES, INT, y PRO de servicios de negocio haciendo uso de los componentes genéricos del Framework de Arquitectura de AXA España.</a:t>
            </a:r>
            <a:endParaRPr lang="es-ES" sz="1100" b="0" strike="noStrike" spc="-1">
              <a:latin typeface="Arial"/>
            </a:endParaRPr>
          </a:p>
        </p:txBody>
      </p:sp>
      <p:sp>
        <p:nvSpPr>
          <p:cNvPr id="36" name="CuadroTexto 48_2"/>
          <p:cNvSpPr/>
          <p:nvPr/>
        </p:nvSpPr>
        <p:spPr>
          <a:xfrm>
            <a:off x="4901400" y="3871519"/>
            <a:ext cx="83988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trike="noStrike" spc="-1">
                <a:solidFill>
                  <a:srgbClr val="1A3B47"/>
                </a:solidFill>
                <a:latin typeface="Soho Gothic Pro Light"/>
                <a:ea typeface="Soho Gothic Pro Light"/>
              </a:rPr>
              <a:t>2014</a:t>
            </a:r>
            <a:endParaRPr lang="es-ES" sz="900" b="1" strike="noStrike" spc="-1">
              <a:solidFill>
                <a:srgbClr val="1A3B47"/>
              </a:solidFill>
              <a:latin typeface="Arial"/>
              <a:cs typeface="Arial"/>
            </a:endParaRPr>
          </a:p>
          <a:p>
            <a:pPr>
              <a:lnSpc>
                <a:spcPct val="100000"/>
              </a:lnSpc>
            </a:pPr>
            <a:r>
              <a:rPr lang="es-ES" sz="900" b="1" strike="noStrike" spc="-1">
                <a:solidFill>
                  <a:srgbClr val="1A3B47"/>
                </a:solidFill>
                <a:latin typeface="Soho Gothic Pro Light"/>
                <a:ea typeface="Soho Gothic Pro Light"/>
              </a:rPr>
              <a:t>—</a:t>
            </a:r>
            <a:endParaRPr lang="es-ES" sz="900" b="1" strike="noStrike" spc="-1">
              <a:solidFill>
                <a:srgbClr val="1A3B47"/>
              </a:solidFill>
              <a:latin typeface="Arial"/>
              <a:cs typeface="Arial"/>
            </a:endParaRPr>
          </a:p>
          <a:p>
            <a:pPr>
              <a:lnSpc>
                <a:spcPct val="100000"/>
              </a:lnSpc>
            </a:pPr>
            <a:r>
              <a:rPr lang="es-ES" sz="900" b="1" strike="noStrike" spc="-1">
                <a:solidFill>
                  <a:srgbClr val="1A3B47"/>
                </a:solidFill>
                <a:latin typeface="Soho Gothic Pro Light"/>
                <a:ea typeface="Soho Gothic Pro Light"/>
              </a:rPr>
              <a:t>2016</a:t>
            </a:r>
            <a:endParaRPr lang="es-ES" sz="900" b="1" strike="noStrike" spc="-1">
              <a:solidFill>
                <a:srgbClr val="1A3B47"/>
              </a:solidFill>
              <a:latin typeface="Arial"/>
              <a:cs typeface="Arial"/>
            </a:endParaRPr>
          </a:p>
        </p:txBody>
      </p:sp>
      <p:sp>
        <p:nvSpPr>
          <p:cNvPr id="37" name="CuadroTexto 30_0"/>
          <p:cNvSpPr/>
          <p:nvPr/>
        </p:nvSpPr>
        <p:spPr>
          <a:xfrm>
            <a:off x="5961185" y="152640"/>
            <a:ext cx="3397015"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2000" spc="-1">
                <a:solidFill>
                  <a:schemeClr val="bg1"/>
                </a:solidFill>
                <a:ea typeface="Soho Gothic Pro Light"/>
              </a:rPr>
              <a:t>Alejandro García Núñez</a:t>
            </a:r>
            <a:endParaRPr lang="es-ES" sz="2000" b="0" strike="noStrike" spc="-1">
              <a:solidFill>
                <a:schemeClr val="bg1"/>
              </a:solidFill>
              <a:latin typeface="Arial"/>
            </a:endParaRPr>
          </a:p>
        </p:txBody>
      </p:sp>
    </p:spTree>
    <p:extLst>
      <p:ext uri="{BB962C8B-B14F-4D97-AF65-F5344CB8AC3E}">
        <p14:creationId xmlns:p14="http://schemas.microsoft.com/office/powerpoint/2010/main" val="23137607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44121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marL="0" lvl="1" algn="just" defTabSz="914377">
              <a:buClr>
                <a:srgbClr val="1A3B47"/>
              </a:buClr>
              <a:defRPr b="0" i="0"/>
            </a:pPr>
            <a:r>
              <a:rPr lang="es-ES" sz="1200" spc="-1">
                <a:ea typeface="Soho Gothic Pro Light"/>
              </a:rPr>
              <a:t>Ingeniero de Datos con más de </a:t>
            </a:r>
            <a:r>
              <a:rPr lang="es-ES" sz="1067"/>
              <a:t>12 años de experiencia TIC en total, 3 de ellos integrando plataformas tradicionales con Big Data para la </a:t>
            </a:r>
            <a:r>
              <a:rPr lang="es-ES" sz="1067" err="1"/>
              <a:t>Agència</a:t>
            </a:r>
            <a:r>
              <a:rPr lang="es-ES" sz="1067"/>
              <a:t> </a:t>
            </a:r>
            <a:r>
              <a:rPr lang="es-ES" sz="1067" err="1"/>
              <a:t>Tributària</a:t>
            </a:r>
            <a:r>
              <a:rPr lang="es-ES" sz="1067"/>
              <a:t> de Catalunya, con énfasis en la parte de arquitectura.</a:t>
            </a:r>
          </a:p>
        </p:txBody>
      </p:sp>
      <p:sp>
        <p:nvSpPr>
          <p:cNvPr id="102" name="CuadroTexto 54_0"/>
          <p:cNvSpPr/>
          <p:nvPr/>
        </p:nvSpPr>
        <p:spPr>
          <a:xfrm>
            <a:off x="9438480" y="5748343"/>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diomas</a:t>
            </a:r>
            <a:endParaRPr lang="es-ES" sz="1200" b="0" strike="noStrike" spc="-1">
              <a:latin typeface="Arial"/>
            </a:endParaRPr>
          </a:p>
        </p:txBody>
      </p:sp>
      <p:sp>
        <p:nvSpPr>
          <p:cNvPr id="103" name="CuadroTexto 55_0"/>
          <p:cNvSpPr/>
          <p:nvPr/>
        </p:nvSpPr>
        <p:spPr>
          <a:xfrm>
            <a:off x="9474840" y="6102583"/>
            <a:ext cx="2712240" cy="707886"/>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trike="noStrike" spc="-1">
                <a:latin typeface="Soho Gothic Pro Light"/>
                <a:ea typeface="Soho Gothic Pro Light"/>
              </a:rPr>
              <a:t>Castellano - </a:t>
            </a:r>
            <a:r>
              <a:rPr lang="es-ES" sz="1000" b="0" strike="noStrike" spc="-1">
                <a:latin typeface="Soho Gothic Pro Light"/>
                <a:ea typeface="Soho Gothic Pro Light"/>
              </a:rPr>
              <a:t>Nativo</a:t>
            </a:r>
            <a:r>
              <a:rPr lang="ca-ES" sz="1000" b="1" spc="-1">
                <a:solidFill>
                  <a:srgbClr val="FF0000"/>
                </a:solidFill>
                <a:latin typeface="Soho Gothic Pro Light"/>
                <a:ea typeface="Soho Gothic Pro Light"/>
              </a:rPr>
              <a:t> </a:t>
            </a:r>
            <a:r>
              <a:rPr lang="ca-ES" sz="1750"/>
              <a:t/>
            </a:r>
            <a:br>
              <a:rPr lang="ca-ES" sz="1750"/>
            </a:br>
            <a:r>
              <a:rPr lang="es-ES" sz="1000" b="1" spc="-1">
                <a:latin typeface="Soho Gothic Pro Light"/>
              </a:rPr>
              <a:t>Ingles - </a:t>
            </a:r>
            <a:r>
              <a:rPr lang="es-ES" sz="1000" spc="-1">
                <a:latin typeface="Soho Gothic Pro Light"/>
              </a:rPr>
              <a:t>C1</a:t>
            </a:r>
          </a:p>
          <a:p>
            <a:pPr>
              <a:lnSpc>
                <a:spcPct val="100000"/>
              </a:lnSpc>
            </a:pPr>
            <a:endParaRPr lang="es-ES" sz="1000" b="0" strike="noStrike" spc="-1">
              <a:solidFill>
                <a:srgbClr val="FF0000"/>
              </a:solidFill>
              <a:latin typeface="Arial"/>
            </a:endParaRPr>
          </a:p>
          <a:p>
            <a:pPr>
              <a:lnSpc>
                <a:spcPct val="100000"/>
              </a:lnSpc>
            </a:pPr>
            <a:endParaRPr lang="es-ES" sz="1000" b="0" strike="noStrike" spc="-1">
              <a:solidFill>
                <a:srgbClr val="FF0000"/>
              </a:solidFill>
              <a:latin typeface="Arial"/>
            </a:endParaRPr>
          </a:p>
        </p:txBody>
      </p:sp>
      <p:sp>
        <p:nvSpPr>
          <p:cNvPr id="105" name="CuadroTexto 40_0"/>
          <p:cNvSpPr/>
          <p:nvPr/>
        </p:nvSpPr>
        <p:spPr>
          <a:xfrm>
            <a:off x="3451680" y="110520"/>
            <a:ext cx="2692800" cy="45756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400" b="0" strike="noStrike" spc="-1">
                <a:solidFill>
                  <a:schemeClr val="bg1"/>
                </a:solidFill>
                <a:latin typeface="Soho Gothic Pro Medium"/>
              </a:rPr>
              <a:t>Data </a:t>
            </a:r>
            <a:r>
              <a:rPr lang="es-ES" sz="2400" b="0" strike="noStrike" spc="-1" err="1">
                <a:solidFill>
                  <a:schemeClr val="bg1"/>
                </a:solidFill>
                <a:latin typeface="Soho Gothic Pro Medium"/>
              </a:rPr>
              <a:t>Engineer</a:t>
            </a:r>
            <a:endParaRPr lang="es-ES" sz="2400" b="0" strike="noStrike" spc="-1">
              <a:solidFill>
                <a:schemeClr val="bg1"/>
              </a:solidFill>
              <a:latin typeface="Aria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G.G.U.</a:t>
            </a:r>
            <a:endParaRPr lang="es-ES" sz="2000" b="0" strike="noStrike" spc="-1">
              <a:solidFill>
                <a:schemeClr val="bg1"/>
              </a:solidFill>
              <a:latin typeface="Arial"/>
            </a:endParaRPr>
          </a:p>
        </p:txBody>
      </p:sp>
      <p:sp>
        <p:nvSpPr>
          <p:cNvPr id="109" name="CuadroTexto 37_0"/>
          <p:cNvSpPr/>
          <p:nvPr/>
        </p:nvSpPr>
        <p:spPr>
          <a:xfrm>
            <a:off x="9447480" y="3681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T</a:t>
            </a:r>
            <a:endParaRPr lang="es-ES" sz="1200" b="0" strike="noStrike" spc="-1">
              <a:latin typeface="Arial"/>
            </a:endParaRPr>
          </a:p>
        </p:txBody>
      </p:sp>
      <p:sp>
        <p:nvSpPr>
          <p:cNvPr id="110" name="CuadroTexto 52_0"/>
          <p:cNvSpPr/>
          <p:nvPr/>
        </p:nvSpPr>
        <p:spPr>
          <a:xfrm>
            <a:off x="9437040" y="4009680"/>
            <a:ext cx="2739600" cy="1477328"/>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n-US" sz="1000" b="1" i="1" spc="-1"/>
              <a:t>Programming languages</a:t>
            </a:r>
            <a:r>
              <a:rPr lang="en-US" sz="1000" i="1" spc="-1"/>
              <a:t>: PL/SQL </a:t>
            </a:r>
            <a:r>
              <a:rPr lang="en-US" sz="1000" i="1" spc="-1" err="1"/>
              <a:t>sobre</a:t>
            </a:r>
            <a:r>
              <a:rPr lang="en-US" sz="1000" i="1" spc="-1"/>
              <a:t> BDD Oracle, </a:t>
            </a:r>
            <a:r>
              <a:rPr lang="es-ES" sz="1000" i="1" spc="-1"/>
              <a:t>: Shell Script</a:t>
            </a:r>
          </a:p>
          <a:p>
            <a:r>
              <a:rPr lang="en-US" sz="1000" b="1" strike="noStrike" spc="-1">
                <a:latin typeface="Soho Gothic Pro Light"/>
                <a:ea typeface="Soho Gothic Pro Light"/>
              </a:rPr>
              <a:t>Databases: </a:t>
            </a:r>
            <a:r>
              <a:rPr lang="en-US" sz="1000" i="1" spc="-1">
                <a:ea typeface="Soho Gothic Pro Light"/>
              </a:rPr>
              <a:t>Oracle </a:t>
            </a:r>
            <a:r>
              <a:rPr lang="en-US" sz="1000" i="1" spc="-1" err="1">
                <a:ea typeface="Soho Gothic Pro Light"/>
              </a:rPr>
              <a:t>Bussines</a:t>
            </a:r>
            <a:r>
              <a:rPr lang="en-US" sz="1000" i="1" spc="-1">
                <a:ea typeface="Soho Gothic Pro Light"/>
              </a:rPr>
              <a:t> Intelligence (OBIEE)</a:t>
            </a:r>
          </a:p>
          <a:p>
            <a:pPr>
              <a:lnSpc>
                <a:spcPct val="100000"/>
              </a:lnSpc>
            </a:pPr>
            <a:r>
              <a:rPr lang="en-US" sz="1000" b="1" spc="-1">
                <a:ea typeface="Soho Gothic Pro Light"/>
              </a:rPr>
              <a:t>Big Data (</a:t>
            </a:r>
            <a:r>
              <a:rPr lang="en-US" sz="1000" b="1" spc="-1" err="1">
                <a:ea typeface="Soho Gothic Pro Light"/>
              </a:rPr>
              <a:t>tecnología</a:t>
            </a:r>
            <a:r>
              <a:rPr lang="en-US" sz="1000" b="1" spc="-1">
                <a:ea typeface="Soho Gothic Pro Light"/>
              </a:rPr>
              <a:t>): </a:t>
            </a:r>
            <a:r>
              <a:rPr lang="en-US" sz="1000" i="1" spc="-1">
                <a:ea typeface="Soho Gothic Pro Light"/>
              </a:rPr>
              <a:t>Hadoop, MongoDB, neo4j + </a:t>
            </a:r>
            <a:r>
              <a:rPr lang="en-US" sz="1000" i="1" spc="-1" err="1">
                <a:ea typeface="Soho Gothic Pro Light"/>
              </a:rPr>
              <a:t>Linkurious</a:t>
            </a:r>
            <a:r>
              <a:rPr lang="en-US" sz="1000" i="1" spc="-1">
                <a:ea typeface="Soho Gothic Pro Light"/>
              </a:rPr>
              <a:t>, kudu, impala</a:t>
            </a:r>
          </a:p>
          <a:p>
            <a:r>
              <a:rPr lang="es-ES" sz="1000" b="1" spc="-1">
                <a:ea typeface="Soho Gothic Pro Light"/>
              </a:rPr>
              <a:t>Seguridad de la información: </a:t>
            </a:r>
            <a:r>
              <a:rPr lang="es-ES" sz="1000" i="1" spc="-1">
                <a:ea typeface="Soho Gothic Pro Light"/>
              </a:rPr>
              <a:t> Integración con Kerberos</a:t>
            </a:r>
            <a:endParaRPr lang="en-US" sz="1000" i="1" spc="-1">
              <a:ea typeface="Soho Gothic Pro Light"/>
            </a:endParaRPr>
          </a:p>
          <a:p>
            <a:pPr>
              <a:lnSpc>
                <a:spcPct val="100000"/>
              </a:lnSpc>
            </a:pPr>
            <a:r>
              <a:rPr lang="en-US" sz="1000" b="1" strike="noStrike" spc="-1" err="1">
                <a:latin typeface="Soho Gothic Pro Light"/>
                <a:ea typeface="Soho Gothic Pro Light"/>
              </a:rPr>
              <a:t>Gestión</a:t>
            </a:r>
            <a:r>
              <a:rPr lang="en-US" sz="1000" b="0" strike="noStrike" spc="-1">
                <a:latin typeface="Soho Gothic Pro Light"/>
                <a:ea typeface="Soho Gothic Pro Light"/>
              </a:rPr>
              <a:t>: </a:t>
            </a:r>
            <a:r>
              <a:rPr lang="en-US" sz="1000" i="1" spc="-1">
                <a:ea typeface="Soho Gothic Pro Light"/>
              </a:rPr>
              <a:t>Jira</a:t>
            </a:r>
          </a:p>
          <a:p>
            <a:pPr>
              <a:lnSpc>
                <a:spcPct val="100000"/>
              </a:lnSpc>
            </a:pPr>
            <a:r>
              <a:rPr lang="en-US" sz="1000" b="1" spc="-1">
                <a:ea typeface="Soho Gothic Pro Light"/>
              </a:rPr>
              <a:t>Agile</a:t>
            </a:r>
            <a:r>
              <a:rPr lang="en-US" sz="1000" spc="-1">
                <a:ea typeface="Soho Gothic Pro Light"/>
              </a:rPr>
              <a:t>: </a:t>
            </a:r>
            <a:r>
              <a:rPr lang="en-US" sz="1000" i="1" spc="-1">
                <a:ea typeface="Soho Gothic Pro Light"/>
              </a:rPr>
              <a:t>Scrum/Kanban</a:t>
            </a:r>
          </a:p>
        </p:txBody>
      </p:sp>
      <p:sp>
        <p:nvSpPr>
          <p:cNvPr id="111" name="CuadroTexto 50_0"/>
          <p:cNvSpPr/>
          <p:nvPr/>
        </p:nvSpPr>
        <p:spPr>
          <a:xfrm>
            <a:off x="9536040" y="2031480"/>
            <a:ext cx="2651040" cy="707886"/>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r>
              <a:rPr lang="es-ES" sz="1000" spc="-1">
                <a:latin typeface="Soho Gothic Pro Light"/>
                <a:ea typeface="Soho Gothic Pro Light"/>
              </a:rPr>
              <a:t>2016</a:t>
            </a:r>
            <a:r>
              <a:rPr lang="es-ES" sz="1000" b="0" strike="noStrike" spc="-1">
                <a:latin typeface="Soho Gothic Pro Light"/>
                <a:ea typeface="Soho Gothic Pro Light"/>
              </a:rPr>
              <a:t> | </a:t>
            </a:r>
            <a:r>
              <a:rPr lang="es-ES" sz="1000" spc="-1">
                <a:ea typeface="Soho Gothic Pro Light"/>
              </a:rPr>
              <a:t>Postgrado BIG DATA </a:t>
            </a:r>
            <a:r>
              <a:rPr lang="es-ES" sz="1000" spc="-1" err="1">
                <a:ea typeface="Soho Gothic Pro Light"/>
              </a:rPr>
              <a:t>management</a:t>
            </a:r>
            <a:r>
              <a:rPr lang="es-ES" sz="1000" spc="-1">
                <a:ea typeface="Soho Gothic Pro Light"/>
              </a:rPr>
              <a:t> and </a:t>
            </a:r>
            <a:r>
              <a:rPr lang="es-ES" sz="1000" spc="-1" err="1">
                <a:ea typeface="Soho Gothic Pro Light"/>
              </a:rPr>
              <a:t>analytics</a:t>
            </a:r>
            <a:r>
              <a:rPr lang="es-ES" sz="1000" spc="-1">
                <a:ea typeface="Soho Gothic Pro Light"/>
              </a:rPr>
              <a:t> por la </a:t>
            </a:r>
            <a:r>
              <a:rPr lang="es-ES" sz="1000" spc="-1" err="1">
                <a:ea typeface="Soho Gothic Pro Light"/>
              </a:rPr>
              <a:t>Universitat</a:t>
            </a:r>
            <a:r>
              <a:rPr lang="es-ES" sz="1000" spc="-1">
                <a:ea typeface="Soho Gothic Pro Light"/>
              </a:rPr>
              <a:t> </a:t>
            </a:r>
            <a:r>
              <a:rPr lang="es-ES" sz="1000" spc="-1" err="1">
                <a:ea typeface="Soho Gothic Pro Light"/>
              </a:rPr>
              <a:t>Politècnica</a:t>
            </a:r>
            <a:r>
              <a:rPr lang="es-ES" sz="1000" spc="-1">
                <a:ea typeface="Soho Gothic Pro Light"/>
              </a:rPr>
              <a:t> de Catalunya</a:t>
            </a:r>
          </a:p>
          <a:p>
            <a:pPr>
              <a:lnSpc>
                <a:spcPct val="100000"/>
              </a:lnSpc>
            </a:pPr>
            <a:r>
              <a:rPr lang="es-ES" sz="1000" spc="-1">
                <a:ea typeface="Soho Gothic Pro Light"/>
              </a:rPr>
              <a:t>2014 | </a:t>
            </a:r>
            <a:r>
              <a:rPr lang="es-ES" sz="1000" spc="-1" err="1">
                <a:ea typeface="Soho Gothic Pro Light"/>
              </a:rPr>
              <a:t>Certification</a:t>
            </a:r>
            <a:r>
              <a:rPr lang="es-ES" sz="1000" spc="-1">
                <a:ea typeface="Soho Gothic Pro Light"/>
              </a:rPr>
              <a:t> OBIEE.</a:t>
            </a:r>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0" strike="noStrike" spc="-1">
                <a:latin typeface="Soho Gothic Pro"/>
              </a:rPr>
              <a:t>Educación</a:t>
            </a:r>
            <a:endParaRPr lang="es-ES" sz="1200" b="0" strike="noStrike" spc="-1">
              <a:latin typeface="Arial"/>
            </a:endParaRPr>
          </a:p>
        </p:txBody>
      </p:sp>
      <p:sp>
        <p:nvSpPr>
          <p:cNvPr id="113" name="CuadroTexto 70_0"/>
          <p:cNvSpPr/>
          <p:nvPr/>
        </p:nvSpPr>
        <p:spPr>
          <a:xfrm>
            <a:off x="9827280" y="441123"/>
            <a:ext cx="2349360" cy="1015663"/>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ea typeface="Soho Gothic Pro Light"/>
              </a:rPr>
              <a:t>Diplomado en Informática por la </a:t>
            </a:r>
            <a:r>
              <a:rPr lang="es-ES" sz="1000" spc="-1" err="1">
                <a:ea typeface="Soho Gothic Pro Light"/>
              </a:rPr>
              <a:t>Universitat</a:t>
            </a:r>
            <a:r>
              <a:rPr lang="es-ES" sz="1000" spc="-1">
                <a:ea typeface="Soho Gothic Pro Light"/>
              </a:rPr>
              <a:t> de Deusto, Bilbao. </a:t>
            </a:r>
          </a:p>
          <a:p>
            <a:pPr>
              <a:lnSpc>
                <a:spcPct val="100000"/>
              </a:lnSpc>
            </a:pPr>
            <a:r>
              <a:rPr lang="es-ES" sz="1000" spc="-1">
                <a:ea typeface="Soho Gothic Pro Light"/>
              </a:rPr>
              <a:t>Ingeniero en Informática por la </a:t>
            </a:r>
            <a:r>
              <a:rPr lang="es-ES" sz="1000" spc="-1" err="1">
                <a:ea typeface="Soho Gothic Pro Light"/>
              </a:rPr>
              <a:t>Universitat</a:t>
            </a:r>
            <a:r>
              <a:rPr lang="es-ES" sz="1000" spc="-1">
                <a:ea typeface="Soho Gothic Pro Light"/>
              </a:rPr>
              <a:t> de Deusto, Bilbao.</a:t>
            </a:r>
          </a:p>
          <a:p>
            <a:r>
              <a:rPr lang="es-ES" sz="1000" spc="-1" err="1">
                <a:ea typeface="+mn-lt"/>
                <a:cs typeface="+mn-lt"/>
              </a:rPr>
              <a:t>Postgraduate</a:t>
            </a:r>
            <a:r>
              <a:rPr lang="es-ES" sz="1000" spc="-1">
                <a:ea typeface="+mn-lt"/>
                <a:cs typeface="+mn-lt"/>
              </a:rPr>
              <a:t> (</a:t>
            </a:r>
            <a:r>
              <a:rPr lang="es-ES" sz="1000" spc="-1" err="1">
                <a:ea typeface="+mn-lt"/>
                <a:cs typeface="+mn-lt"/>
              </a:rPr>
              <a:t>Bologna</a:t>
            </a:r>
            <a:r>
              <a:rPr lang="es-ES" sz="1000" spc="-1">
                <a:ea typeface="+mn-lt"/>
                <a:cs typeface="+mn-lt"/>
              </a:rPr>
              <a:t>) (BIG DATA MANAGEMENT AND ANALYTICS)</a:t>
            </a:r>
            <a:endParaRPr lang="es-ES"/>
          </a:p>
        </p:txBody>
      </p:sp>
      <p:sp>
        <p:nvSpPr>
          <p:cNvPr id="114" name="CuadroTexto 73_0"/>
          <p:cNvSpPr/>
          <p:nvPr/>
        </p:nvSpPr>
        <p:spPr>
          <a:xfrm>
            <a:off x="9430200" y="456480"/>
            <a:ext cx="551520" cy="78483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latin typeface="Soho Gothic Pro Medium"/>
                <a:cs typeface="Arial"/>
              </a:rPr>
              <a:t>2004</a:t>
            </a:r>
            <a:endParaRPr lang="es-ES" sz="900" b="0" strike="noStrike" spc="-1">
              <a:latin typeface="Soho Gothic Pro Medium"/>
              <a:cs typeface="Arial"/>
            </a:endParaRPr>
          </a:p>
          <a:p>
            <a:pPr>
              <a:lnSpc>
                <a:spcPct val="100000"/>
              </a:lnSpc>
            </a:pPr>
            <a:r>
              <a:rPr lang="es-ES" sz="900" b="0" strike="noStrike" spc="-1">
                <a:latin typeface="Soho Gothic Pro Medium"/>
              </a:rPr>
              <a:t>—</a:t>
            </a:r>
            <a:endParaRPr lang="es-ES" sz="900" b="0" strike="noStrike" spc="-1">
              <a:latin typeface="Arial"/>
              <a:cs typeface="Arial"/>
            </a:endParaRPr>
          </a:p>
          <a:p>
            <a:pPr>
              <a:lnSpc>
                <a:spcPct val="100000"/>
              </a:lnSpc>
            </a:pPr>
            <a:r>
              <a:rPr lang="es-ES" sz="900" spc="-1">
                <a:latin typeface="Soho Gothic Pro Medium"/>
              </a:rPr>
              <a:t>2007</a:t>
            </a:r>
          </a:p>
          <a:p>
            <a:r>
              <a:rPr lang="es-ES" sz="900" spc="-1">
                <a:ea typeface="+mn-lt"/>
                <a:cs typeface="+mn-lt"/>
              </a:rPr>
              <a:t>—</a:t>
            </a:r>
          </a:p>
          <a:p>
            <a:r>
              <a:rPr lang="es-ES" sz="900" spc="-1"/>
              <a:t>2016</a:t>
            </a:r>
          </a:p>
        </p:txBody>
      </p:sp>
      <p:sp>
        <p:nvSpPr>
          <p:cNvPr id="117" name="CuadroTexto 33_0"/>
          <p:cNvSpPr/>
          <p:nvPr/>
        </p:nvSpPr>
        <p:spPr>
          <a:xfrm>
            <a:off x="9540000" y="1620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latin typeface="Soho Gothic Pro Light"/>
              </a:rPr>
              <a:t>Cursos Relevantes</a:t>
            </a:r>
            <a:endParaRPr lang="es-ES" sz="1200" b="0" strike="noStrike" spc="-1">
              <a:latin typeface="Arial"/>
            </a:endParaRPr>
          </a:p>
        </p:txBody>
      </p:sp>
      <p:sp>
        <p:nvSpPr>
          <p:cNvPr id="37" name="CuadroTexto 30_0"/>
          <p:cNvSpPr/>
          <p:nvPr/>
        </p:nvSpPr>
        <p:spPr>
          <a:xfrm>
            <a:off x="5463001" y="152640"/>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Guillermo González Uriarte</a:t>
            </a:r>
            <a:endParaRPr lang="es-ES" sz="2000" b="0" strike="noStrike" spc="-1">
              <a:solidFill>
                <a:schemeClr val="bg1"/>
              </a:solidFill>
              <a:latin typeface="Arial"/>
            </a:endParaRPr>
          </a:p>
        </p:txBody>
      </p:sp>
      <p:sp>
        <p:nvSpPr>
          <p:cNvPr id="27" name="CuadroTexto 44_0"/>
          <p:cNvSpPr/>
          <p:nvPr/>
        </p:nvSpPr>
        <p:spPr>
          <a:xfrm>
            <a:off x="685800" y="1346218"/>
            <a:ext cx="4215600" cy="2800767"/>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lnSpc>
                <a:spcPct val="100000"/>
              </a:lnSpc>
            </a:pPr>
            <a:r>
              <a:rPr lang="es-ES" sz="1100" b="1" strike="noStrike" spc="-1">
                <a:latin typeface="Soho Gothic Pro Light"/>
                <a:ea typeface="Soho Gothic Pro Light"/>
              </a:rPr>
              <a:t>Minsai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0" strike="noStrike" spc="-1">
              <a:latin typeface="Arial"/>
            </a:endParaRPr>
          </a:p>
          <a:p>
            <a:pPr algn="just">
              <a:lnSpc>
                <a:spcPct val="100000"/>
              </a:lnSpc>
            </a:pPr>
            <a:r>
              <a:rPr lang="es-ES" sz="1100" spc="-1">
                <a:latin typeface="Soho Gothic Pro Light"/>
                <a:ea typeface="Soho Gothic Pro Light"/>
              </a:rPr>
              <a:t>Ingeniero de Datos</a:t>
            </a:r>
            <a:endParaRPr lang="es-ES" sz="1100" b="0" strike="noStrike" spc="-1">
              <a:latin typeface="Arial"/>
            </a:endParaRPr>
          </a:p>
          <a:p>
            <a:pPr algn="just">
              <a:lnSpc>
                <a:spcPct val="100000"/>
              </a:lnSpc>
            </a:pPr>
            <a:endParaRPr lang="es-ES" sz="1100" b="0" strike="noStrike" spc="-1">
              <a:latin typeface="Arial"/>
            </a:endParaRPr>
          </a:p>
          <a:p>
            <a:pPr marL="170815" indent="-170815" algn="just">
              <a:buClr>
                <a:srgbClr val="1A3B47"/>
              </a:buClr>
              <a:buFont typeface="Arial,Sans-Serif"/>
              <a:buChar char="•"/>
            </a:pPr>
            <a:r>
              <a:rPr lang="es-ES" sz="1100" spc="-1"/>
              <a:t>Instalación y mantenimiento de varios clúster Big Data con diferentes tecnologías así como en la integración de las herramientas de reporting con el ecosistema Big Data (</a:t>
            </a:r>
            <a:r>
              <a:rPr lang="es-ES" sz="1100" spc="-1" err="1"/>
              <a:t>Cloudera</a:t>
            </a:r>
            <a:r>
              <a:rPr lang="es-ES" sz="1100" spc="-1"/>
              <a:t>, Neo4j + </a:t>
            </a:r>
            <a:r>
              <a:rPr lang="es-ES" sz="1100" spc="-1" err="1"/>
              <a:t>Linkurious</a:t>
            </a:r>
            <a:r>
              <a:rPr lang="es-ES" sz="1100" spc="-1"/>
              <a:t>, </a:t>
            </a:r>
            <a:r>
              <a:rPr lang="es-ES" sz="1100" spc="-1" err="1"/>
              <a:t>Hive</a:t>
            </a:r>
            <a:r>
              <a:rPr lang="es-ES" sz="1100" spc="-1"/>
              <a:t>, Impala, </a:t>
            </a:r>
            <a:r>
              <a:rPr lang="es-ES" sz="1100" spc="-1" err="1"/>
              <a:t>Sqoop</a:t>
            </a:r>
            <a:r>
              <a:rPr lang="es-ES" sz="1100" spc="-1"/>
              <a:t>, </a:t>
            </a:r>
            <a:r>
              <a:rPr lang="es-ES" sz="1100" spc="-1" err="1"/>
              <a:t>Kudu</a:t>
            </a:r>
            <a:r>
              <a:rPr lang="es-ES" sz="1100" spc="-1"/>
              <a:t>, MongoDB) Integración de la herramienta Oracle BI con R y con la BDA de Oracle para la ATC.</a:t>
            </a:r>
          </a:p>
          <a:p>
            <a:pPr marL="170815" indent="-170815" algn="just">
              <a:buClr>
                <a:srgbClr val="1A3B47"/>
              </a:buClr>
              <a:buFont typeface="Arial,Sans-Serif"/>
              <a:buChar char="•"/>
            </a:pPr>
            <a:r>
              <a:rPr lang="es-ES" sz="1100" spc="-1"/>
              <a:t>Implementación, definición y carga del grafo en neo4j. Visualización con </a:t>
            </a:r>
            <a:r>
              <a:rPr lang="es-ES" sz="1100" spc="-1" err="1"/>
              <a:t>Linkurious</a:t>
            </a:r>
            <a:r>
              <a:rPr lang="es-ES" sz="1100" spc="-1"/>
              <a:t> e integración con la herramienta OBIEE / OAS para la ATC. Estudio de las relaciones entre personas y sus entidades tributarias (bienes, deudas, </a:t>
            </a:r>
            <a:r>
              <a:rPr lang="es-ES" sz="1100" spc="-1" err="1"/>
              <a:t>etc</a:t>
            </a:r>
            <a:r>
              <a:rPr lang="es-ES" sz="1100" spc="-1"/>
              <a:t>)</a:t>
            </a:r>
          </a:p>
          <a:p>
            <a:pPr marL="170815" indent="-170815" algn="just">
              <a:buClr>
                <a:srgbClr val="1A3B47"/>
              </a:buClr>
              <a:buFont typeface="Arial,Sans-Serif"/>
              <a:buChar char="•"/>
            </a:pPr>
            <a:r>
              <a:rPr lang="es-ES" sz="1100" spc="-1"/>
              <a:t>Instalación de la herramienta neo4j para la explotación de las relaciones obtenidas con datos del BORME a través de un </a:t>
            </a:r>
            <a:r>
              <a:rPr lang="es-ES" sz="1100" spc="-1" err="1"/>
              <a:t>un</a:t>
            </a:r>
            <a:r>
              <a:rPr lang="es-ES" sz="1100" spc="-1"/>
              <a:t> grafo (tecnología neo4j). Definición y carga del grafo. Estudio de la integración con herramientas ETL.</a:t>
            </a:r>
          </a:p>
        </p:txBody>
      </p:sp>
      <p:sp>
        <p:nvSpPr>
          <p:cNvPr id="28" name="CuadroTexto 45_2"/>
          <p:cNvSpPr/>
          <p:nvPr/>
        </p:nvSpPr>
        <p:spPr>
          <a:xfrm>
            <a:off x="5312879" y="4309616"/>
            <a:ext cx="4007341" cy="2122204"/>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Ingeniero de Datos</a:t>
            </a:r>
          </a:p>
          <a:p>
            <a:pPr algn="just">
              <a:lnSpc>
                <a:spcPct val="100000"/>
              </a:lnSpc>
            </a:pPr>
            <a:endParaRPr lang="es-ES" sz="1100" spc="-1">
              <a:latin typeface="Arial"/>
            </a:endParaRPr>
          </a:p>
          <a:p>
            <a:pPr marL="171360" indent="-171000" algn="just">
              <a:buClr>
                <a:srgbClr val="1A3B47"/>
              </a:buClr>
              <a:buFont typeface="Arial,Sans-Serif"/>
              <a:buChar char="•"/>
            </a:pPr>
            <a:r>
              <a:rPr lang="es-ES" sz="1100" spc="-1"/>
              <a:t>Proyecto de BI (DWH y reporting </a:t>
            </a:r>
            <a:r>
              <a:rPr lang="es-ES" sz="1100" spc="-1" err="1"/>
              <a:t>Microstrategy</a:t>
            </a:r>
            <a:r>
              <a:rPr lang="es-ES" sz="1100" spc="-1"/>
              <a:t>) para </a:t>
            </a:r>
            <a:r>
              <a:rPr lang="es-ES" sz="1100" spc="-1" err="1"/>
              <a:t>Criteria</a:t>
            </a:r>
            <a:r>
              <a:rPr lang="es-ES" sz="1100" spc="-1"/>
              <a:t>.</a:t>
            </a:r>
          </a:p>
          <a:p>
            <a:pPr marL="171360" indent="-171000" algn="just">
              <a:buClr>
                <a:srgbClr val="1A3B47"/>
              </a:buClr>
              <a:buFont typeface="Arial,Sans-Serif"/>
              <a:buChar char="•"/>
            </a:pPr>
            <a:r>
              <a:rPr lang="es-ES" sz="1100" spc="-1"/>
              <a:t>Proyecto de BI (DWH y reporting </a:t>
            </a:r>
            <a:r>
              <a:rPr lang="es-ES" sz="1100" spc="-1" err="1"/>
              <a:t>Microstrategy</a:t>
            </a:r>
            <a:r>
              <a:rPr lang="es-ES" sz="1100" spc="-1"/>
              <a:t>) para RRHH Indra.</a:t>
            </a:r>
          </a:p>
          <a:p>
            <a:pPr marL="171360" indent="-171000" algn="just">
              <a:buClr>
                <a:srgbClr val="1A3B47"/>
              </a:buClr>
              <a:buFont typeface="Arial,Sans-Serif"/>
              <a:buChar char="•"/>
            </a:pPr>
            <a:r>
              <a:rPr lang="es-ES" sz="1100" spc="-1"/>
              <a:t>Proyecto de BI (DWH y reporting </a:t>
            </a:r>
            <a:r>
              <a:rPr lang="es-ES" sz="1100" spc="-1" err="1"/>
              <a:t>Microstrategy</a:t>
            </a:r>
            <a:r>
              <a:rPr lang="es-ES" sz="1100" spc="-1"/>
              <a:t>) para Gas Natural.</a:t>
            </a:r>
          </a:p>
          <a:p>
            <a:pPr marL="171360" indent="-171000" algn="just">
              <a:buClr>
                <a:srgbClr val="1A3B47"/>
              </a:buClr>
              <a:buFont typeface="Arial,Sans-Serif"/>
              <a:buChar char="•"/>
            </a:pPr>
            <a:r>
              <a:rPr lang="es-ES" sz="1100" spc="-1"/>
              <a:t>Desarrollo de cubos (</a:t>
            </a:r>
            <a:r>
              <a:rPr lang="es-ES" sz="1100" spc="-1" err="1"/>
              <a:t>Essbase</a:t>
            </a:r>
            <a:r>
              <a:rPr lang="es-ES" sz="1100" spc="-1"/>
              <a:t>) explotación recetas electrónicas para consejería de sanidad de la </a:t>
            </a:r>
            <a:r>
              <a:rPr lang="es-ES" sz="1100" spc="-1" err="1"/>
              <a:t>Genralitat</a:t>
            </a:r>
            <a:r>
              <a:rPr lang="es-ES" sz="1100" spc="-1"/>
              <a:t> Valenciana.</a:t>
            </a:r>
          </a:p>
        </p:txBody>
      </p:sp>
      <p:sp>
        <p:nvSpPr>
          <p:cNvPr id="29" name="CuadroTexto 48_2"/>
          <p:cNvSpPr/>
          <p:nvPr/>
        </p:nvSpPr>
        <p:spPr>
          <a:xfrm>
            <a:off x="4901400" y="4311899"/>
            <a:ext cx="839880" cy="5078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ea typeface="Soho Gothic Pro Light"/>
              </a:rPr>
              <a:t>2008</a:t>
            </a:r>
            <a:endParaRPr lang="es-ES" sz="900" b="1" spc="-1">
              <a:latin typeface="Arial"/>
            </a:endParaRPr>
          </a:p>
          <a:p>
            <a:pPr>
              <a:lnSpc>
                <a:spcPct val="100000"/>
              </a:lnSpc>
            </a:pPr>
            <a:r>
              <a:rPr lang="es-ES" sz="900" b="1" spc="-1">
                <a:ea typeface="Soho Gothic Pro Light"/>
              </a:rPr>
              <a:t>—</a:t>
            </a:r>
            <a:endParaRPr lang="es-ES" sz="900" b="1" spc="-1">
              <a:latin typeface="Arial"/>
            </a:endParaRPr>
          </a:p>
          <a:p>
            <a:pPr>
              <a:lnSpc>
                <a:spcPct val="100000"/>
              </a:lnSpc>
            </a:pPr>
            <a:r>
              <a:rPr lang="es-ES" sz="900" b="1" spc="-1">
                <a:ea typeface="Soho Gothic Pro Light"/>
              </a:rPr>
              <a:t>2010</a:t>
            </a:r>
            <a:endParaRPr lang="es-ES" sz="900" spc="-1">
              <a:latin typeface="Arial"/>
            </a:endParaRPr>
          </a:p>
        </p:txBody>
      </p:sp>
      <p:sp>
        <p:nvSpPr>
          <p:cNvPr id="32" name="CuadroTexto 39_0"/>
          <p:cNvSpPr/>
          <p:nvPr/>
        </p:nvSpPr>
        <p:spPr>
          <a:xfrm>
            <a:off x="240120" y="1312738"/>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ACT</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5</a:t>
            </a:r>
            <a:endParaRPr lang="es-ES" sz="900" b="1" strike="noStrike" spc="-1">
              <a:latin typeface="Arial"/>
            </a:endParaRPr>
          </a:p>
          <a:p>
            <a:pPr>
              <a:lnSpc>
                <a:spcPct val="100000"/>
              </a:lnSpc>
            </a:pPr>
            <a:endParaRPr lang="es-ES" sz="900" b="0" strike="noStrike" spc="-1">
              <a:latin typeface="Arial"/>
            </a:endParaRPr>
          </a:p>
        </p:txBody>
      </p:sp>
      <p:sp>
        <p:nvSpPr>
          <p:cNvPr id="38" name="CuadroTexto 44_0"/>
          <p:cNvSpPr/>
          <p:nvPr/>
        </p:nvSpPr>
        <p:spPr>
          <a:xfrm>
            <a:off x="685800" y="4309616"/>
            <a:ext cx="4215600" cy="212365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lnSpc>
                <a:spcPct val="100000"/>
              </a:lnSpc>
            </a:pPr>
            <a:r>
              <a:rPr lang="es-ES" sz="1100" b="1" strike="noStrike" spc="-1">
                <a:latin typeface="Soho Gothic Pro Light"/>
                <a:ea typeface="Soho Gothic Pro Light"/>
              </a:rPr>
              <a:t>Minsai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0" strike="noStrike" spc="-1">
              <a:latin typeface="Arial"/>
            </a:endParaRPr>
          </a:p>
          <a:p>
            <a:pPr algn="just">
              <a:lnSpc>
                <a:spcPct val="100000"/>
              </a:lnSpc>
            </a:pPr>
            <a:r>
              <a:rPr lang="es-ES" sz="1100" spc="-1">
                <a:latin typeface="Soho Gothic Pro Light"/>
                <a:ea typeface="Soho Gothic Pro Light"/>
              </a:rPr>
              <a:t>Ingeniero de Datos</a:t>
            </a:r>
            <a:endParaRPr lang="es-ES" sz="1100" b="0" strike="noStrike"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100" spc="-1"/>
              <a:t>Instalación, configuración, </a:t>
            </a:r>
            <a:r>
              <a:rPr lang="es-ES" sz="1100" spc="-1" err="1"/>
              <a:t>securización</a:t>
            </a:r>
            <a:r>
              <a:rPr lang="es-ES" sz="1100" spc="-1"/>
              <a:t> con LDAP de terceros bajo la tecnología Oracle </a:t>
            </a:r>
            <a:r>
              <a:rPr lang="es-ES" sz="1100" spc="-1" err="1"/>
              <a:t>Bussines</a:t>
            </a:r>
            <a:r>
              <a:rPr lang="es-ES" sz="1100" spc="-1"/>
              <a:t> </a:t>
            </a:r>
            <a:r>
              <a:rPr lang="es-ES" sz="1100" spc="-1" err="1"/>
              <a:t>Intelligence</a:t>
            </a:r>
            <a:r>
              <a:rPr lang="es-ES" sz="1100" spc="-1"/>
              <a:t> para implementar la estrategia </a:t>
            </a:r>
            <a:r>
              <a:rPr lang="es-ES" sz="1100" spc="-1" err="1"/>
              <a:t>multidepartamental</a:t>
            </a:r>
            <a:r>
              <a:rPr lang="es-ES" sz="1100" spc="-1"/>
              <a:t> de BI para EJIE (Sociedad Informática del Gobierno Vasco)</a:t>
            </a:r>
          </a:p>
          <a:p>
            <a:pPr marL="171360" indent="-171000" algn="just">
              <a:lnSpc>
                <a:spcPct val="100000"/>
              </a:lnSpc>
              <a:buClr>
                <a:srgbClr val="1A3B47"/>
              </a:buClr>
              <a:buFont typeface="Arial,Sans-Serif"/>
              <a:buChar char="•"/>
            </a:pPr>
            <a:r>
              <a:rPr lang="es-ES" sz="1100" spc="-1"/>
              <a:t>Proyecto de BI (DWH y reporting OBIEE) para administración de Justicia del País Vasco.</a:t>
            </a:r>
          </a:p>
          <a:p>
            <a:pPr marL="171360" indent="-171000" algn="just">
              <a:lnSpc>
                <a:spcPct val="100000"/>
              </a:lnSpc>
              <a:buClr>
                <a:srgbClr val="1A3B47"/>
              </a:buClr>
              <a:buFont typeface="Arial,Sans-Serif"/>
              <a:buChar char="•"/>
            </a:pPr>
            <a:r>
              <a:rPr lang="es-ES" sz="1100" spc="-1"/>
              <a:t>Integración de OBIEE con sistemas GIS para Movistar México.</a:t>
            </a:r>
          </a:p>
          <a:p>
            <a:pPr marL="171360" indent="-171000" algn="just">
              <a:lnSpc>
                <a:spcPct val="100000"/>
              </a:lnSpc>
              <a:buClr>
                <a:srgbClr val="1A3B47"/>
              </a:buClr>
              <a:buFont typeface="Arial,Sans-Serif"/>
              <a:buChar char="•"/>
            </a:pPr>
            <a:r>
              <a:rPr lang="es-ES" sz="1100" spc="-1"/>
              <a:t>Consultoría OBIEE para Iberia y Federación Patronal (Argentina).</a:t>
            </a:r>
          </a:p>
        </p:txBody>
      </p:sp>
      <p:sp>
        <p:nvSpPr>
          <p:cNvPr id="39" name="CuadroTexto 39_0"/>
          <p:cNvSpPr/>
          <p:nvPr/>
        </p:nvSpPr>
        <p:spPr>
          <a:xfrm>
            <a:off x="240120" y="4311899"/>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5</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0</a:t>
            </a:r>
            <a:endParaRPr lang="es-ES" sz="900" b="1" strike="noStrike" spc="-1">
              <a:latin typeface="Arial"/>
            </a:endParaRPr>
          </a:p>
          <a:p>
            <a:pPr>
              <a:lnSpc>
                <a:spcPct val="100000"/>
              </a:lnSpc>
            </a:pPr>
            <a:endParaRPr lang="es-ES" sz="900" b="0" strike="noStrike" spc="-1">
              <a:latin typeface="Arial"/>
            </a:endParaRPr>
          </a:p>
        </p:txBody>
      </p:sp>
      <p:sp>
        <p:nvSpPr>
          <p:cNvPr id="42" name="CuadroTexto 44_0"/>
          <p:cNvSpPr/>
          <p:nvPr/>
        </p:nvSpPr>
        <p:spPr>
          <a:xfrm>
            <a:off x="5400900" y="1346218"/>
            <a:ext cx="3919320" cy="212365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lnSpc>
                <a:spcPct val="100000"/>
              </a:lnSpc>
            </a:pPr>
            <a:r>
              <a:rPr lang="es-ES" sz="1100" b="1" strike="noStrike" spc="-1">
                <a:latin typeface="Soho Gothic Pro Light"/>
                <a:ea typeface="Soho Gothic Pro Light"/>
              </a:rPr>
              <a:t>Minsai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 (Cont.)</a:t>
            </a:r>
            <a:endParaRPr lang="es-ES" sz="1100" b="0" strike="noStrike" spc="-1">
              <a:latin typeface="Arial"/>
            </a:endParaRPr>
          </a:p>
          <a:p>
            <a:pPr algn="just">
              <a:lnSpc>
                <a:spcPct val="100000"/>
              </a:lnSpc>
            </a:pPr>
            <a:r>
              <a:rPr lang="es-ES" sz="1100" spc="-1">
                <a:latin typeface="Soho Gothic Pro Light"/>
                <a:ea typeface="Soho Gothic Pro Light"/>
              </a:rPr>
              <a:t>Ingeniero de Datos</a:t>
            </a:r>
            <a:endParaRPr lang="es-ES" sz="1100" b="0" strike="noStrike"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100" spc="-1"/>
              <a:t>Proyecto de migración y evolutivo del DWH para administración de Justicia del País Vasco.</a:t>
            </a:r>
          </a:p>
          <a:p>
            <a:pPr marL="171360" indent="-171000" algn="just">
              <a:lnSpc>
                <a:spcPct val="100000"/>
              </a:lnSpc>
              <a:buClr>
                <a:srgbClr val="1A3B47"/>
              </a:buClr>
              <a:buFont typeface="Arial,Sans-Serif"/>
              <a:buChar char="•"/>
            </a:pPr>
            <a:r>
              <a:rPr lang="es-ES" sz="1100" spc="-1"/>
              <a:t>Instalación, configuración, </a:t>
            </a:r>
            <a:r>
              <a:rPr lang="es-ES" sz="1100" spc="-1" err="1"/>
              <a:t>securización</a:t>
            </a:r>
            <a:r>
              <a:rPr lang="es-ES" sz="1100" spc="-1"/>
              <a:t>, migración e integración de la plataforma OBIEE para la ATC. Desarrollo de los cuadros de mando.</a:t>
            </a:r>
          </a:p>
          <a:p>
            <a:pPr marL="171360" indent="-171000" algn="just">
              <a:lnSpc>
                <a:spcPct val="100000"/>
              </a:lnSpc>
              <a:buClr>
                <a:srgbClr val="1A3B47"/>
              </a:buClr>
              <a:buFont typeface="Arial,Sans-Serif"/>
              <a:buChar char="•"/>
            </a:pPr>
            <a:r>
              <a:rPr lang="es-ES" sz="1100" spc="-1"/>
              <a:t>Implementación solución Iberia Business </a:t>
            </a:r>
            <a:r>
              <a:rPr lang="es-ES" sz="1100" spc="-1" err="1"/>
              <a:t>Intelligence</a:t>
            </a:r>
            <a:r>
              <a:rPr lang="es-ES" sz="1100" spc="-1"/>
              <a:t> (OBIEE)</a:t>
            </a:r>
          </a:p>
          <a:p>
            <a:pPr marL="171360" indent="-171000" algn="just">
              <a:lnSpc>
                <a:spcPct val="100000"/>
              </a:lnSpc>
              <a:buClr>
                <a:srgbClr val="1A3B47"/>
              </a:buClr>
              <a:buFont typeface="Arial,Sans-Serif"/>
              <a:buChar char="•"/>
            </a:pPr>
            <a:r>
              <a:rPr lang="es-ES" sz="1100" spc="-1"/>
              <a:t>Soporte incidencias de usuarios DWH (</a:t>
            </a:r>
            <a:r>
              <a:rPr lang="es-ES" sz="1100" spc="-1" err="1"/>
              <a:t>Microstrategy</a:t>
            </a:r>
            <a:r>
              <a:rPr lang="es-ES" sz="1100" spc="-1"/>
              <a:t>) para Banco Sabadell</a:t>
            </a:r>
          </a:p>
        </p:txBody>
      </p:sp>
      <p:sp>
        <p:nvSpPr>
          <p:cNvPr id="43" name="CuadroTexto 39_0"/>
          <p:cNvSpPr/>
          <p:nvPr/>
        </p:nvSpPr>
        <p:spPr>
          <a:xfrm>
            <a:off x="4955220" y="1312738"/>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ea typeface="Soho Gothic Pro Light"/>
              </a:rPr>
              <a:t>2015</a:t>
            </a:r>
            <a:endParaRPr lang="es-ES" sz="900" b="1" spc="-1">
              <a:latin typeface="Arial"/>
            </a:endParaRPr>
          </a:p>
          <a:p>
            <a:pPr>
              <a:lnSpc>
                <a:spcPct val="100000"/>
              </a:lnSpc>
            </a:pPr>
            <a:r>
              <a:rPr lang="es-ES" sz="900" b="1" spc="-1">
                <a:ea typeface="Soho Gothic Pro Light"/>
              </a:rPr>
              <a:t>—</a:t>
            </a:r>
            <a:endParaRPr lang="es-ES" sz="900" b="1" spc="-1">
              <a:latin typeface="Arial"/>
            </a:endParaRPr>
          </a:p>
          <a:p>
            <a:pPr>
              <a:lnSpc>
                <a:spcPct val="100000"/>
              </a:lnSpc>
            </a:pPr>
            <a:r>
              <a:rPr lang="es-ES" sz="900" b="1" spc="-1">
                <a:ea typeface="Soho Gothic Pro Light"/>
              </a:rPr>
              <a:t>2010</a:t>
            </a:r>
            <a:endParaRPr lang="es-ES" sz="900" spc="-1">
              <a:latin typeface="Arial"/>
            </a:endParaRPr>
          </a:p>
          <a:p>
            <a:pPr>
              <a:lnSpc>
                <a:spcPct val="100000"/>
              </a:lnSpc>
            </a:pPr>
            <a:endParaRPr lang="es-ES" sz="900" b="0" strike="noStrike" spc="-1">
              <a:latin typeface="Arial"/>
            </a:endParaRPr>
          </a:p>
        </p:txBody>
      </p:sp>
    </p:spTree>
    <p:extLst>
      <p:ext uri="{BB962C8B-B14F-4D97-AF65-F5344CB8AC3E}">
        <p14:creationId xmlns:p14="http://schemas.microsoft.com/office/powerpoint/2010/main" val="13530629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marL="0" lvl="1" algn="just" defTabSz="914377">
              <a:buClr>
                <a:srgbClr val="1A3B47"/>
              </a:buClr>
              <a:defRPr b="0" i="0"/>
            </a:pPr>
            <a:r>
              <a:rPr lang="es-ES" sz="1200"/>
              <a:t>Arquitecta de plataformas de integración con más de 20 años de experiencia TIC en total, 3 de ellos</a:t>
            </a:r>
            <a:r>
              <a:rPr lang="es-ES" sz="1200" spc="-1">
                <a:ea typeface="Soho Gothic Pro Light"/>
              </a:rPr>
              <a:t> definiendo y actualizando la plataforma de Integración y Colaboración Administrativa (PICA) del CTTI de la Generalitat de Catalunya y los últimos </a:t>
            </a:r>
            <a:r>
              <a:rPr lang="es-ES" sz="1200"/>
              <a:t>5 liderando el proyecto de la plataforma SOA de integración para la Agencia Tributaria de Catalunya.</a:t>
            </a:r>
          </a:p>
        </p:txBody>
      </p:sp>
      <p:sp>
        <p:nvSpPr>
          <p:cNvPr id="102" name="CuadroTexto 54_0"/>
          <p:cNvSpPr/>
          <p:nvPr/>
        </p:nvSpPr>
        <p:spPr>
          <a:xfrm>
            <a:off x="9438480" y="5197741"/>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spc="-1">
                <a:latin typeface="Soho Gothic Pro"/>
              </a:rPr>
              <a:t>Idiomas</a:t>
            </a:r>
          </a:p>
        </p:txBody>
      </p:sp>
      <p:sp>
        <p:nvSpPr>
          <p:cNvPr id="103" name="CuadroTexto 55_0"/>
          <p:cNvSpPr/>
          <p:nvPr/>
        </p:nvSpPr>
        <p:spPr>
          <a:xfrm>
            <a:off x="9474840" y="5551981"/>
            <a:ext cx="2712240" cy="86177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b="1" strike="noStrike" spc="-1">
                <a:latin typeface="Soho Gothic Pro Light"/>
                <a:ea typeface="Soho Gothic Pro Light"/>
              </a:rPr>
              <a:t>Castellano - </a:t>
            </a:r>
            <a:r>
              <a:rPr lang="es-ES" sz="1000" b="0" strike="noStrike" spc="-1">
                <a:latin typeface="Soho Gothic Pro Light"/>
                <a:ea typeface="Soho Gothic Pro Light"/>
              </a:rPr>
              <a:t>Nativo</a:t>
            </a:r>
          </a:p>
          <a:p>
            <a:pPr>
              <a:lnSpc>
                <a:spcPct val="100000"/>
              </a:lnSpc>
            </a:pPr>
            <a:r>
              <a:rPr lang="ca-ES" sz="1000" b="1" spc="-1" err="1">
                <a:latin typeface="Soho Gothic Pro Light"/>
                <a:ea typeface="Soho Gothic Pro Light"/>
              </a:rPr>
              <a:t>Catalán</a:t>
            </a:r>
            <a:r>
              <a:rPr lang="ca-ES" sz="1000" b="1" spc="-1">
                <a:latin typeface="Soho Gothic Pro Light"/>
                <a:ea typeface="Soho Gothic Pro Light"/>
              </a:rPr>
              <a:t> - </a:t>
            </a:r>
            <a:r>
              <a:rPr lang="ca-ES" sz="1000" spc="-1" err="1">
                <a:latin typeface="Soho Gothic Pro Light"/>
                <a:ea typeface="Soho Gothic Pro Light"/>
              </a:rPr>
              <a:t>Nativo</a:t>
            </a:r>
            <a:r>
              <a:rPr lang="ca-ES"/>
              <a:t/>
            </a:r>
            <a:br>
              <a:rPr lang="ca-ES"/>
            </a:br>
            <a:r>
              <a:rPr lang="es-ES" sz="1000" b="1" strike="noStrike" spc="-1">
                <a:latin typeface="Soho Gothic Pro Light"/>
                <a:ea typeface="Soho Gothic Pro Light"/>
              </a:rPr>
              <a:t>Ingles - </a:t>
            </a:r>
            <a:r>
              <a:rPr lang="es-ES" sz="1000" spc="-1" err="1">
                <a:latin typeface="Soho Gothic Pro Light"/>
                <a:ea typeface="Soho Gothic Pro Light"/>
              </a:rPr>
              <a:t>First</a:t>
            </a:r>
            <a:r>
              <a:rPr lang="es-ES" sz="1000" spc="-1">
                <a:latin typeface="Soho Gothic Pro Light"/>
                <a:ea typeface="Soho Gothic Pro Light"/>
              </a:rPr>
              <a:t> </a:t>
            </a:r>
            <a:r>
              <a:rPr lang="es-ES" sz="1000" spc="-1" err="1">
                <a:latin typeface="Soho Gothic Pro Light"/>
                <a:ea typeface="Soho Gothic Pro Light"/>
              </a:rPr>
              <a:t>Certificate</a:t>
            </a:r>
            <a:endParaRPr lang="es-ES" sz="1000" b="0" strike="noStrike" spc="-1">
              <a:latin typeface="Arial"/>
            </a:endParaRPr>
          </a:p>
          <a:p>
            <a:pPr>
              <a:lnSpc>
                <a:spcPct val="100000"/>
              </a:lnSpc>
            </a:pPr>
            <a:endParaRPr lang="es-ES" sz="1000" b="0" strike="noStrike" spc="-1">
              <a:solidFill>
                <a:srgbClr val="FF0000"/>
              </a:solidFill>
              <a:latin typeface="Arial"/>
            </a:endParaRPr>
          </a:p>
          <a:p>
            <a:pPr>
              <a:lnSpc>
                <a:spcPct val="100000"/>
              </a:lnSpc>
            </a:pPr>
            <a:endParaRPr lang="es-ES" sz="1000" b="0" strike="noStrike" spc="-1">
              <a:solidFill>
                <a:srgbClr val="FF0000"/>
              </a:solidFill>
              <a:latin typeface="Arial"/>
            </a:endParaRPr>
          </a:p>
        </p:txBody>
      </p:sp>
      <p:sp>
        <p:nvSpPr>
          <p:cNvPr id="105" name="CuadroTexto 40_0"/>
          <p:cNvSpPr/>
          <p:nvPr/>
        </p:nvSpPr>
        <p:spPr>
          <a:xfrm>
            <a:off x="3451680" y="110520"/>
            <a:ext cx="2692800" cy="45756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400" spc="-1">
                <a:solidFill>
                  <a:schemeClr val="bg1"/>
                </a:solidFill>
                <a:latin typeface="Soho Gothic Pro Medium"/>
              </a:rPr>
              <a:t>Arquitecta</a:t>
            </a:r>
            <a:endParaRPr lang="es-ES" sz="2400" b="0" strike="noStrike" spc="-1">
              <a:solidFill>
                <a:schemeClr val="bg1"/>
              </a:solidFill>
              <a:latin typeface="Aria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E.A.G.</a:t>
            </a:r>
            <a:endParaRPr lang="es-ES" sz="2000" b="0" strike="noStrike" spc="-1">
              <a:solidFill>
                <a:schemeClr val="bg1"/>
              </a:solidFill>
              <a:latin typeface="Arial"/>
            </a:endParaRPr>
          </a:p>
        </p:txBody>
      </p:sp>
      <p:sp>
        <p:nvSpPr>
          <p:cNvPr id="109" name="CuadroTexto 37_0"/>
          <p:cNvSpPr/>
          <p:nvPr/>
        </p:nvSpPr>
        <p:spPr>
          <a:xfrm>
            <a:off x="9447480" y="3130398"/>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T</a:t>
            </a:r>
            <a:endParaRPr lang="es-ES" sz="1200" b="0" strike="noStrike" spc="-1">
              <a:latin typeface="Arial"/>
            </a:endParaRPr>
          </a:p>
        </p:txBody>
      </p:sp>
      <p:sp>
        <p:nvSpPr>
          <p:cNvPr id="110" name="CuadroTexto 52_0"/>
          <p:cNvSpPr/>
          <p:nvPr/>
        </p:nvSpPr>
        <p:spPr>
          <a:xfrm>
            <a:off x="9437040" y="3459078"/>
            <a:ext cx="2739600" cy="1169551"/>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n-US" sz="1000" b="1" strike="noStrike" spc="-1">
                <a:latin typeface="Soho Gothic Pro Light"/>
                <a:ea typeface="Soho Gothic Pro Light"/>
              </a:rPr>
              <a:t>Programming languages</a:t>
            </a:r>
            <a:r>
              <a:rPr lang="en-US" sz="1000" b="0" strike="noStrike" spc="-1">
                <a:latin typeface="Soho Gothic Pro Light"/>
                <a:ea typeface="Soho Gothic Pro Light"/>
              </a:rPr>
              <a:t>: </a:t>
            </a:r>
            <a:r>
              <a:rPr lang="en-US" sz="1000" i="1" spc="-1">
                <a:ea typeface="Soho Gothic Pro Light"/>
              </a:rPr>
              <a:t>Java y PL/SQL </a:t>
            </a:r>
            <a:r>
              <a:rPr lang="en-US" sz="1000" i="1" spc="-1" err="1">
                <a:ea typeface="Soho Gothic Pro Light"/>
              </a:rPr>
              <a:t>sobre</a:t>
            </a:r>
            <a:r>
              <a:rPr lang="en-US" sz="1000" i="1" spc="-1">
                <a:ea typeface="Soho Gothic Pro Light"/>
              </a:rPr>
              <a:t> BDD Oracle</a:t>
            </a:r>
          </a:p>
          <a:p>
            <a:r>
              <a:rPr lang="en-US" sz="1000" b="1" strike="noStrike" spc="-1">
                <a:latin typeface="Soho Gothic Pro Light"/>
                <a:ea typeface="Soho Gothic Pro Light"/>
              </a:rPr>
              <a:t>Databases: </a:t>
            </a:r>
            <a:r>
              <a:rPr lang="en-US" sz="1000" i="1" spc="-1">
                <a:ea typeface="Soho Gothic Pro Light"/>
              </a:rPr>
              <a:t>Oracle</a:t>
            </a:r>
          </a:p>
          <a:p>
            <a:pPr>
              <a:lnSpc>
                <a:spcPct val="100000"/>
              </a:lnSpc>
            </a:pPr>
            <a:r>
              <a:rPr lang="en-US" sz="1000" b="1" spc="-1" err="1">
                <a:ea typeface="Soho Gothic Pro Light"/>
              </a:rPr>
              <a:t>Plataformas</a:t>
            </a:r>
            <a:r>
              <a:rPr lang="en-US" sz="1000" b="1" spc="-1">
                <a:ea typeface="Soho Gothic Pro Light"/>
              </a:rPr>
              <a:t> </a:t>
            </a:r>
            <a:r>
              <a:rPr lang="en-US" sz="1000" b="1" spc="-1" err="1">
                <a:ea typeface="Soho Gothic Pro Light"/>
              </a:rPr>
              <a:t>integración</a:t>
            </a:r>
            <a:r>
              <a:rPr lang="en-US" sz="1000" b="1" spc="-1">
                <a:ea typeface="Soho Gothic Pro Light"/>
              </a:rPr>
              <a:t>: </a:t>
            </a:r>
            <a:r>
              <a:rPr lang="en-US" sz="1000" i="1" spc="-1">
                <a:ea typeface="Soho Gothic Pro Light"/>
              </a:rPr>
              <a:t>Oracle SOA SUITE, WSO2, </a:t>
            </a:r>
            <a:r>
              <a:rPr lang="en-US" sz="1000" i="1" spc="-1" err="1">
                <a:ea typeface="Soho Gothic Pro Light"/>
              </a:rPr>
              <a:t>Vitria</a:t>
            </a:r>
            <a:r>
              <a:rPr lang="en-US" sz="1000" i="1" spc="-1">
                <a:ea typeface="Soho Gothic Pro Light"/>
              </a:rPr>
              <a:t>, </a:t>
            </a:r>
            <a:r>
              <a:rPr lang="en-US" sz="1000" i="1" spc="-1" err="1">
                <a:ea typeface="Soho Gothic Pro Light"/>
              </a:rPr>
              <a:t>Tibco</a:t>
            </a:r>
            <a:endParaRPr lang="en-US" sz="1000" i="1" spc="-1">
              <a:ea typeface="Soho Gothic Pro Light"/>
            </a:endParaRPr>
          </a:p>
          <a:p>
            <a:pPr>
              <a:lnSpc>
                <a:spcPct val="100000"/>
              </a:lnSpc>
            </a:pPr>
            <a:r>
              <a:rPr lang="en-US" sz="1000" b="1" strike="noStrike" spc="-1" err="1">
                <a:latin typeface="Soho Gothic Pro Light"/>
                <a:ea typeface="Soho Gothic Pro Light"/>
              </a:rPr>
              <a:t>Gestión</a:t>
            </a:r>
            <a:r>
              <a:rPr lang="en-US" sz="1000" b="0" strike="noStrike" spc="-1">
                <a:latin typeface="Soho Gothic Pro Light"/>
                <a:ea typeface="Soho Gothic Pro Light"/>
              </a:rPr>
              <a:t>: </a:t>
            </a:r>
            <a:r>
              <a:rPr lang="en-US" sz="1000" i="1" spc="-1">
                <a:ea typeface="Soho Gothic Pro Light"/>
              </a:rPr>
              <a:t>Jira</a:t>
            </a:r>
          </a:p>
          <a:p>
            <a:pPr>
              <a:lnSpc>
                <a:spcPct val="100000"/>
              </a:lnSpc>
            </a:pPr>
            <a:r>
              <a:rPr lang="en-US" sz="1000" b="1" spc="-1">
                <a:ea typeface="Soho Gothic Pro Light"/>
              </a:rPr>
              <a:t>Agile</a:t>
            </a:r>
            <a:r>
              <a:rPr lang="en-US" sz="1000" spc="-1">
                <a:ea typeface="Soho Gothic Pro Light"/>
              </a:rPr>
              <a:t>: </a:t>
            </a:r>
            <a:r>
              <a:rPr lang="en-US" sz="1000" i="1" spc="-1">
                <a:ea typeface="Soho Gothic Pro Light"/>
              </a:rPr>
              <a:t>Scrum/Kanban</a:t>
            </a:r>
            <a:endParaRPr lang="en-US" sz="1000" i="1" spc="-1">
              <a:solidFill>
                <a:srgbClr val="FF0000"/>
              </a:solidFill>
              <a:ea typeface="Soho Gothic Pro Light"/>
            </a:endParaRPr>
          </a:p>
        </p:txBody>
      </p:sp>
      <p:sp>
        <p:nvSpPr>
          <p:cNvPr id="111" name="CuadroTexto 50_0"/>
          <p:cNvSpPr/>
          <p:nvPr/>
        </p:nvSpPr>
        <p:spPr>
          <a:xfrm>
            <a:off x="9536040" y="2031480"/>
            <a:ext cx="2651040" cy="1015663"/>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a:t>2021 | Google Cloud Fundamentals Core </a:t>
            </a:r>
            <a:r>
              <a:rPr lang="es-ES" sz="1000" err="1"/>
              <a:t>Infrastucture</a:t>
            </a:r>
            <a:endParaRPr lang="es-ES" sz="1000"/>
          </a:p>
          <a:p>
            <a:r>
              <a:rPr lang="es-ES" sz="1000"/>
              <a:t>2020 | </a:t>
            </a:r>
            <a:r>
              <a:rPr lang="en-US" sz="1000" err="1"/>
              <a:t>Anypoint</a:t>
            </a:r>
            <a:r>
              <a:rPr lang="en-US" sz="1000"/>
              <a:t> Platform Development: Fundamentals (Mule 4)</a:t>
            </a:r>
          </a:p>
          <a:p>
            <a:r>
              <a:rPr lang="en-US" sz="1000"/>
              <a:t>2014 | Certified Oracle SOA Suite</a:t>
            </a:r>
          </a:p>
          <a:p>
            <a:pPr>
              <a:lnSpc>
                <a:spcPct val="100000"/>
              </a:lnSpc>
            </a:pPr>
            <a:r>
              <a:rPr lang="es-ES" sz="1000"/>
              <a:t>2018 | Iniciación en Big Data</a:t>
            </a:r>
          </a:p>
        </p:txBody>
      </p:sp>
      <p:sp>
        <p:nvSpPr>
          <p:cNvPr id="112" name="CuadroTexto 56_0"/>
          <p:cNvSpPr/>
          <p:nvPr/>
        </p:nvSpPr>
        <p:spPr>
          <a:xfrm>
            <a:off x="9475200" y="255616"/>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Educación</a:t>
            </a:r>
            <a:endParaRPr lang="es-ES" sz="1200" b="0" strike="noStrike" spc="-1">
              <a:latin typeface="Arial"/>
            </a:endParaRPr>
          </a:p>
        </p:txBody>
      </p:sp>
      <p:sp>
        <p:nvSpPr>
          <p:cNvPr id="113" name="CuadroTexto 70_0"/>
          <p:cNvSpPr/>
          <p:nvPr/>
        </p:nvSpPr>
        <p:spPr>
          <a:xfrm>
            <a:off x="9827280" y="568939"/>
            <a:ext cx="2349360" cy="55399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spc="-1">
                <a:ea typeface="Soho Gothic Pro Light"/>
              </a:rPr>
              <a:t>Ingeniera superior en Informática por la Universidad Autónoma de Barcelona</a:t>
            </a:r>
          </a:p>
        </p:txBody>
      </p:sp>
      <p:sp>
        <p:nvSpPr>
          <p:cNvPr id="114" name="CuadroTexto 73_0"/>
          <p:cNvSpPr/>
          <p:nvPr/>
        </p:nvSpPr>
        <p:spPr>
          <a:xfrm>
            <a:off x="9430200" y="584296"/>
            <a:ext cx="551520" cy="230832"/>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spc="-1">
                <a:latin typeface="Soho Gothic Pro Medium"/>
              </a:rPr>
              <a:t>2000</a:t>
            </a:r>
            <a:endParaRPr lang="es-ES" sz="900" b="0" strike="noStrike" spc="-1">
              <a:latin typeface="Arial"/>
            </a:endParaRPr>
          </a:p>
        </p:txBody>
      </p:sp>
      <p:sp>
        <p:nvSpPr>
          <p:cNvPr id="117" name="CuadroTexto 33_0"/>
          <p:cNvSpPr/>
          <p:nvPr/>
        </p:nvSpPr>
        <p:spPr>
          <a:xfrm>
            <a:off x="9540000" y="1620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latin typeface="Soho Gothic Pro Light"/>
              </a:rPr>
              <a:t>Cursos Relevantes</a:t>
            </a:r>
            <a:endParaRPr lang="es-ES" sz="1200" b="0" strike="noStrike" spc="-1">
              <a:latin typeface="Arial"/>
            </a:endParaRPr>
          </a:p>
        </p:txBody>
      </p:sp>
      <p:sp>
        <p:nvSpPr>
          <p:cNvPr id="37" name="CuadroTexto 30_0"/>
          <p:cNvSpPr/>
          <p:nvPr/>
        </p:nvSpPr>
        <p:spPr>
          <a:xfrm>
            <a:off x="5463001" y="152640"/>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Eva Adell Giménez</a:t>
            </a:r>
            <a:endParaRPr lang="es-ES" sz="2000" b="0" strike="noStrike" spc="-1">
              <a:solidFill>
                <a:schemeClr val="bg1"/>
              </a:solidFill>
              <a:latin typeface="Arial"/>
            </a:endParaRPr>
          </a:p>
        </p:txBody>
      </p:sp>
      <p:sp>
        <p:nvSpPr>
          <p:cNvPr id="27" name="CuadroTexto 44_0"/>
          <p:cNvSpPr/>
          <p:nvPr/>
        </p:nvSpPr>
        <p:spPr>
          <a:xfrm>
            <a:off x="685800" y="1641183"/>
            <a:ext cx="4215600" cy="1615827"/>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lnSpc>
                <a:spcPct val="100000"/>
              </a:lnSpc>
            </a:pPr>
            <a:r>
              <a:rPr lang="es-ES" sz="1100" b="1" strike="noStrike" spc="-1" err="1">
                <a:latin typeface="Soho Gothic Pro Light"/>
                <a:ea typeface="Soho Gothic Pro Light"/>
              </a:rPr>
              <a:t>Minsait</a:t>
            </a:r>
            <a:r>
              <a:rPr lang="es-ES" sz="1100" b="1" strike="noStrike" spc="-1">
                <a:latin typeface="Soho Gothic Pro Light"/>
                <a:ea typeface="Soho Gothic Pro Light"/>
              </a:rPr>
              <a: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1" strike="noStrike" spc="-1">
              <a:latin typeface="Arial"/>
            </a:endParaRPr>
          </a:p>
          <a:p>
            <a:pPr lvl="0" algn="just">
              <a:defRPr/>
            </a:pPr>
            <a:r>
              <a:rPr lang="en-US" sz="1100"/>
              <a:t>SOA Architect</a:t>
            </a:r>
          </a:p>
          <a:p>
            <a:pPr algn="just">
              <a:lnSpc>
                <a:spcPct val="100000"/>
              </a:lnSpc>
            </a:pPr>
            <a:endParaRPr lang="es-ES" sz="1100" b="0" strike="noStrike" spc="-1">
              <a:solidFill>
                <a:srgbClr val="FF0000"/>
              </a:solidFill>
              <a:latin typeface="Arial"/>
            </a:endParaRPr>
          </a:p>
          <a:p>
            <a:pPr marL="171360" indent="-171000" algn="just">
              <a:lnSpc>
                <a:spcPct val="100000"/>
              </a:lnSpc>
              <a:buClr>
                <a:srgbClr val="1A3B47"/>
              </a:buClr>
              <a:buFont typeface="Arial,Sans-Serif"/>
              <a:buChar char="•"/>
            </a:pPr>
            <a:r>
              <a:rPr lang="es-ES" sz="1100"/>
              <a:t>Responsable de la oficina técnica </a:t>
            </a:r>
          </a:p>
          <a:p>
            <a:pPr marL="171360" indent="-171000" algn="just">
              <a:lnSpc>
                <a:spcPct val="100000"/>
              </a:lnSpc>
              <a:buClr>
                <a:srgbClr val="1A3B47"/>
              </a:buClr>
              <a:buFont typeface="Arial,Sans-Serif"/>
              <a:buChar char="•"/>
            </a:pPr>
            <a:r>
              <a:rPr lang="es-ES" sz="1100"/>
              <a:t>Diseño de entornos y definición de la arquitectura tecnológica en alta disponibilidad e implantación de la misma con Oracle OSB Suite</a:t>
            </a:r>
          </a:p>
          <a:p>
            <a:pPr marL="171360" indent="-171000" algn="just">
              <a:lnSpc>
                <a:spcPct val="100000"/>
              </a:lnSpc>
              <a:buClr>
                <a:srgbClr val="1A3B47"/>
              </a:buClr>
              <a:buFont typeface="Arial,Sans-Serif"/>
              <a:buChar char="•"/>
            </a:pPr>
            <a:r>
              <a:rPr lang="es-ES" sz="1100"/>
              <a:t>Definición de los procedimientos de Gobierno</a:t>
            </a:r>
          </a:p>
          <a:p>
            <a:pPr marL="171810" indent="-171450" algn="just">
              <a:lnSpc>
                <a:spcPct val="100000"/>
              </a:lnSpc>
              <a:buClr>
                <a:srgbClr val="1A3B47"/>
              </a:buClr>
              <a:buFont typeface="Arial" panose="020B0604020202020204" pitchFamily="34" charset="0"/>
              <a:buChar char="•"/>
            </a:pPr>
            <a:r>
              <a:rPr lang="es-ES" sz="1100"/>
              <a:t>Análisis y diseño de servicios de integración. </a:t>
            </a:r>
          </a:p>
        </p:txBody>
      </p:sp>
      <p:sp>
        <p:nvSpPr>
          <p:cNvPr id="28" name="CuadroTexto 45_2"/>
          <p:cNvSpPr/>
          <p:nvPr/>
        </p:nvSpPr>
        <p:spPr>
          <a:xfrm>
            <a:off x="5312879" y="4142472"/>
            <a:ext cx="4007341" cy="1614373"/>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algn="just">
              <a:lnSpc>
                <a:spcPct val="100000"/>
              </a:lnSpc>
            </a:pPr>
            <a:r>
              <a:rPr lang="es-ES" sz="1100" b="1" spc="-1" err="1">
                <a:ea typeface="Soho Gothic Pro Light"/>
              </a:rPr>
              <a:t>Minsait</a:t>
            </a:r>
            <a:r>
              <a:rPr lang="es-ES" sz="1100" b="1" spc="-1">
                <a:ea typeface="Soho Gothic Pro Light"/>
              </a:rPr>
              <a: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Analista programador</a:t>
            </a:r>
            <a:endParaRPr lang="es-ES" sz="1100" spc="-1">
              <a:latin typeface="Arial"/>
            </a:endParaRPr>
          </a:p>
          <a:p>
            <a:pPr algn="just">
              <a:lnSpc>
                <a:spcPct val="100000"/>
              </a:lnSpc>
            </a:pPr>
            <a:endParaRPr lang="es-ES" sz="1100" spc="-1">
              <a:solidFill>
                <a:srgbClr val="FF0000"/>
              </a:solidFill>
              <a:latin typeface="Arial"/>
            </a:endParaRPr>
          </a:p>
          <a:p>
            <a:pPr marL="171360" indent="-171000" algn="just">
              <a:buClr>
                <a:srgbClr val="1A3B47"/>
              </a:buClr>
              <a:buFont typeface="Arial,Sans-Serif"/>
              <a:buChar char="•"/>
            </a:pPr>
            <a:r>
              <a:rPr lang="es-ES" sz="1100"/>
              <a:t>Mantenimiento y nuevos desarrollos en plataforma de integración SOA utilizando la suite de productos de Oracle. </a:t>
            </a:r>
          </a:p>
          <a:p>
            <a:pPr marL="171360" indent="-171000" algn="just">
              <a:buClr>
                <a:srgbClr val="1A3B47"/>
              </a:buClr>
              <a:buFont typeface="Arial,Sans-Serif"/>
              <a:buChar char="•"/>
            </a:pPr>
            <a:r>
              <a:rPr lang="es-ES" sz="1100"/>
              <a:t>Desarrollo de procesos en el bus de Oracle (OSB) así como en la capa de datos (ODSI). </a:t>
            </a:r>
          </a:p>
          <a:p>
            <a:pPr marL="171360" indent="-171000" algn="just">
              <a:buClr>
                <a:srgbClr val="1A3B47"/>
              </a:buClr>
              <a:buFont typeface="Arial,Sans-Serif"/>
              <a:buChar char="•"/>
            </a:pPr>
            <a:r>
              <a:rPr lang="es-ES" sz="1100"/>
              <a:t>Utilización del Oracle </a:t>
            </a:r>
            <a:r>
              <a:rPr lang="es-ES" sz="1100" err="1"/>
              <a:t>Service</a:t>
            </a:r>
            <a:r>
              <a:rPr lang="es-ES" sz="1100"/>
              <a:t> </a:t>
            </a:r>
            <a:r>
              <a:rPr lang="es-ES" sz="1100" err="1"/>
              <a:t>Registry</a:t>
            </a:r>
            <a:r>
              <a:rPr lang="es-ES" sz="1100"/>
              <a:t> para la publicación y búsqueda de </a:t>
            </a:r>
            <a:r>
              <a:rPr lang="es-ES" sz="1100" err="1"/>
              <a:t>webservices</a:t>
            </a:r>
            <a:endParaRPr lang="es-ES" sz="1100" spc="-1">
              <a:solidFill>
                <a:srgbClr val="FF0000"/>
              </a:solidFill>
            </a:endParaRPr>
          </a:p>
        </p:txBody>
      </p:sp>
      <p:sp>
        <p:nvSpPr>
          <p:cNvPr id="29" name="CuadroTexto 48_2"/>
          <p:cNvSpPr/>
          <p:nvPr/>
        </p:nvSpPr>
        <p:spPr>
          <a:xfrm>
            <a:off x="4901400" y="4144755"/>
            <a:ext cx="839880" cy="5078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ea typeface="Soho Gothic Pro Light"/>
              </a:rPr>
              <a:t>2011</a:t>
            </a:r>
            <a:endParaRPr lang="es-ES" sz="900" b="1" spc="-1">
              <a:latin typeface="Arial"/>
            </a:endParaRPr>
          </a:p>
          <a:p>
            <a:pPr>
              <a:lnSpc>
                <a:spcPct val="100000"/>
              </a:lnSpc>
            </a:pPr>
            <a:r>
              <a:rPr lang="es-ES" sz="900" b="1" spc="-1">
                <a:ea typeface="Soho Gothic Pro Light"/>
              </a:rPr>
              <a:t>—</a:t>
            </a:r>
            <a:endParaRPr lang="es-ES" sz="900" b="1" spc="-1">
              <a:latin typeface="Arial"/>
            </a:endParaRPr>
          </a:p>
          <a:p>
            <a:pPr>
              <a:lnSpc>
                <a:spcPct val="100000"/>
              </a:lnSpc>
            </a:pPr>
            <a:r>
              <a:rPr lang="es-ES" sz="900" b="1" spc="-1">
                <a:ea typeface="Soho Gothic Pro Light"/>
              </a:rPr>
              <a:t>2010</a:t>
            </a:r>
            <a:endParaRPr lang="es-ES" sz="900" spc="-1">
              <a:latin typeface="Arial"/>
            </a:endParaRPr>
          </a:p>
        </p:txBody>
      </p:sp>
      <p:sp>
        <p:nvSpPr>
          <p:cNvPr id="32" name="CuadroTexto 39_0"/>
          <p:cNvSpPr/>
          <p:nvPr/>
        </p:nvSpPr>
        <p:spPr>
          <a:xfrm>
            <a:off x="240120" y="1607703"/>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ACT</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6</a:t>
            </a:r>
            <a:endParaRPr lang="es-ES" sz="900" b="1" strike="noStrike" spc="-1">
              <a:latin typeface="Arial"/>
            </a:endParaRPr>
          </a:p>
          <a:p>
            <a:pPr>
              <a:lnSpc>
                <a:spcPct val="100000"/>
              </a:lnSpc>
            </a:pPr>
            <a:endParaRPr lang="es-ES" sz="900" b="0" strike="noStrike" spc="-1">
              <a:solidFill>
                <a:srgbClr val="FF0000"/>
              </a:solidFill>
              <a:latin typeface="Arial"/>
            </a:endParaRPr>
          </a:p>
        </p:txBody>
      </p:sp>
      <p:sp>
        <p:nvSpPr>
          <p:cNvPr id="38" name="CuadroTexto 44_0"/>
          <p:cNvSpPr/>
          <p:nvPr/>
        </p:nvSpPr>
        <p:spPr>
          <a:xfrm>
            <a:off x="685800" y="4142472"/>
            <a:ext cx="4215600" cy="2292935"/>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lnSpc>
                <a:spcPct val="100000"/>
              </a:lnSpc>
            </a:pPr>
            <a:r>
              <a:rPr lang="es-ES" sz="1100" b="1" strike="noStrike" spc="-1" err="1">
                <a:latin typeface="Soho Gothic Pro Light"/>
                <a:ea typeface="Soho Gothic Pro Light"/>
              </a:rPr>
              <a:t>Minsait</a:t>
            </a:r>
            <a:r>
              <a:rPr lang="es-ES" sz="1100" b="1" strike="noStrike" spc="-1">
                <a:latin typeface="Soho Gothic Pro Light"/>
                <a:ea typeface="Soho Gothic Pro Light"/>
              </a:rPr>
              <a: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0" strike="noStrike" spc="-1">
              <a:latin typeface="Arial"/>
            </a:endParaRPr>
          </a:p>
          <a:p>
            <a:pPr lvl="0" algn="just">
              <a:defRPr/>
            </a:pPr>
            <a:r>
              <a:rPr lang="en-US" sz="1100"/>
              <a:t>SOA Architect</a:t>
            </a:r>
          </a:p>
          <a:p>
            <a:pPr algn="just">
              <a:lnSpc>
                <a:spcPct val="100000"/>
              </a:lnSpc>
            </a:pPr>
            <a:endParaRPr lang="es-ES" sz="1100" b="0" strike="noStrike" spc="-1">
              <a:solidFill>
                <a:srgbClr val="FF0000"/>
              </a:solidFill>
              <a:latin typeface="Arial"/>
            </a:endParaRPr>
          </a:p>
          <a:p>
            <a:pPr marL="171360" indent="-171000" algn="just">
              <a:lnSpc>
                <a:spcPct val="100000"/>
              </a:lnSpc>
              <a:buClr>
                <a:srgbClr val="1A3B47"/>
              </a:buClr>
              <a:buFont typeface="Arial,Sans-Serif"/>
              <a:buChar char="•"/>
            </a:pPr>
            <a:r>
              <a:rPr lang="es-ES" sz="1100"/>
              <a:t>Toma de requerimientos para diseñar la nueva solución tecnológica.</a:t>
            </a:r>
          </a:p>
          <a:p>
            <a:pPr marL="171360" indent="-171000" algn="just">
              <a:buClr>
                <a:srgbClr val="1A3B47"/>
              </a:buClr>
              <a:buFont typeface="Arial,Sans-Serif"/>
              <a:buChar char="•"/>
            </a:pPr>
            <a:r>
              <a:rPr lang="es-ES" sz="1100"/>
              <a:t>Análisis, diseño, implementación y documentación de los componentes de la nueva arquitectura tecnológica utilizando Oracle SOA Suite</a:t>
            </a:r>
          </a:p>
          <a:p>
            <a:pPr marL="171360" indent="-171000" algn="just">
              <a:buClr>
                <a:srgbClr val="1A3B47"/>
              </a:buClr>
              <a:buFont typeface="Arial,Sans-Serif"/>
              <a:buChar char="•"/>
            </a:pPr>
            <a:r>
              <a:rPr lang="es-ES" sz="1100"/>
              <a:t>Formación y soporte al equipo de desarrollo para la implementación de los servicios en OSB y SOA Suite</a:t>
            </a:r>
          </a:p>
          <a:p>
            <a:pPr marL="171360" indent="-171000" algn="just">
              <a:buClr>
                <a:srgbClr val="1A3B47"/>
              </a:buClr>
              <a:buFont typeface="Arial,Sans-Serif"/>
              <a:buChar char="•"/>
            </a:pPr>
            <a:r>
              <a:rPr lang="es-ES" sz="1100"/>
              <a:t>Definición de los planes de prueba para su carga en HP-QC. </a:t>
            </a:r>
          </a:p>
          <a:p>
            <a:pPr marL="171360" indent="-171000" algn="just">
              <a:buClr>
                <a:srgbClr val="1A3B47"/>
              </a:buClr>
              <a:buFont typeface="Arial,Sans-Serif"/>
              <a:buChar char="•"/>
            </a:pPr>
            <a:r>
              <a:rPr lang="es-ES" sz="1100"/>
              <a:t>Definición y automatización de las pruebas. Soporte a las pruebas y corrección de errores</a:t>
            </a:r>
            <a:endParaRPr lang="es-ES" sz="1100" spc="-1">
              <a:solidFill>
                <a:srgbClr val="FF0000"/>
              </a:solidFill>
            </a:endParaRPr>
          </a:p>
        </p:txBody>
      </p:sp>
      <p:sp>
        <p:nvSpPr>
          <p:cNvPr id="39" name="CuadroTexto 39_0"/>
          <p:cNvSpPr/>
          <p:nvPr/>
        </p:nvSpPr>
        <p:spPr>
          <a:xfrm>
            <a:off x="240120" y="4144755"/>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6</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3</a:t>
            </a:r>
            <a:endParaRPr lang="es-ES" sz="900" b="1" strike="noStrike" spc="-1">
              <a:latin typeface="Arial"/>
            </a:endParaRPr>
          </a:p>
          <a:p>
            <a:pPr>
              <a:lnSpc>
                <a:spcPct val="100000"/>
              </a:lnSpc>
            </a:pPr>
            <a:endParaRPr lang="es-ES" sz="900" b="0" strike="noStrike" spc="-1">
              <a:solidFill>
                <a:srgbClr val="FF0000"/>
              </a:solidFill>
              <a:latin typeface="Arial"/>
            </a:endParaRPr>
          </a:p>
        </p:txBody>
      </p:sp>
      <p:sp>
        <p:nvSpPr>
          <p:cNvPr id="42" name="CuadroTexto 44_0"/>
          <p:cNvSpPr/>
          <p:nvPr/>
        </p:nvSpPr>
        <p:spPr>
          <a:xfrm>
            <a:off x="5400900" y="1641183"/>
            <a:ext cx="3919320" cy="212365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lnSpc>
                <a:spcPct val="100000"/>
              </a:lnSpc>
            </a:pPr>
            <a:r>
              <a:rPr lang="es-ES" sz="1100" b="1" strike="noStrike" spc="-1" err="1">
                <a:latin typeface="Soho Gothic Pro Light"/>
                <a:ea typeface="Soho Gothic Pro Light"/>
              </a:rPr>
              <a:t>Minsait</a:t>
            </a:r>
            <a:r>
              <a:rPr lang="es-ES" sz="1100" b="1" strike="noStrike" spc="-1">
                <a:latin typeface="Soho Gothic Pro Light"/>
                <a:ea typeface="Soho Gothic Pro Light"/>
              </a:rPr>
              <a: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 (Cont.)</a:t>
            </a:r>
            <a:endParaRPr lang="es-ES" sz="1100" b="0" strike="noStrike" spc="-1">
              <a:latin typeface="Arial"/>
            </a:endParaRPr>
          </a:p>
          <a:p>
            <a:pPr algn="just">
              <a:lnSpc>
                <a:spcPct val="100000"/>
              </a:lnSpc>
            </a:pPr>
            <a:r>
              <a:rPr lang="es-ES" sz="1100" spc="-1">
                <a:latin typeface="Soho Gothic Pro Light"/>
                <a:ea typeface="Soho Gothic Pro Light"/>
              </a:rPr>
              <a:t>Analista programador</a:t>
            </a:r>
            <a:endParaRPr lang="es-ES" sz="1100" b="0" strike="noStrike" spc="-1">
              <a:latin typeface="Arial"/>
            </a:endParaRPr>
          </a:p>
          <a:p>
            <a:pPr algn="just">
              <a:lnSpc>
                <a:spcPct val="100000"/>
              </a:lnSpc>
            </a:pPr>
            <a:endParaRPr lang="es-ES" sz="1100" b="0" strike="noStrike" spc="-1">
              <a:solidFill>
                <a:srgbClr val="FF0000"/>
              </a:solidFill>
              <a:latin typeface="Arial"/>
            </a:endParaRPr>
          </a:p>
          <a:p>
            <a:pPr marL="171360" indent="-171000" algn="just">
              <a:lnSpc>
                <a:spcPct val="100000"/>
              </a:lnSpc>
              <a:buClr>
                <a:srgbClr val="1A3B47"/>
              </a:buClr>
              <a:buFont typeface="Arial,Sans-Serif"/>
              <a:buChar char="•"/>
            </a:pPr>
            <a:r>
              <a:rPr lang="es-ES" sz="1100"/>
              <a:t>Implantación de la plataforma Oracle SOA Suite en el cliente con la instalación y configuración de los productos: </a:t>
            </a:r>
            <a:r>
              <a:rPr lang="es-ES" sz="1100" err="1"/>
              <a:t>Weblogic</a:t>
            </a:r>
            <a:r>
              <a:rPr lang="es-ES" sz="1100"/>
              <a:t> Server y Oracle </a:t>
            </a:r>
            <a:r>
              <a:rPr lang="es-ES" sz="1100" err="1"/>
              <a:t>Service</a:t>
            </a:r>
            <a:r>
              <a:rPr lang="es-ES" sz="1100"/>
              <a:t> Bus.</a:t>
            </a:r>
            <a:endParaRPr lang="es-ES" sz="1100" spc="-1">
              <a:solidFill>
                <a:srgbClr val="FF0000"/>
              </a:solidFill>
            </a:endParaRPr>
          </a:p>
          <a:p>
            <a:pPr marL="171360" indent="-171000" algn="just">
              <a:lnSpc>
                <a:spcPct val="100000"/>
              </a:lnSpc>
              <a:buClr>
                <a:srgbClr val="1A3B47"/>
              </a:buClr>
              <a:buFont typeface="Arial,Sans-Serif"/>
              <a:buChar char="•"/>
            </a:pPr>
            <a:r>
              <a:rPr lang="es-ES" sz="1100"/>
              <a:t>Diseño e implementación de procesos OSB de integración de apoyo a la nueva web corporativa.</a:t>
            </a:r>
          </a:p>
          <a:p>
            <a:pPr marL="171360" indent="-171000" algn="just">
              <a:lnSpc>
                <a:spcPct val="100000"/>
              </a:lnSpc>
              <a:buClr>
                <a:srgbClr val="1A3B47"/>
              </a:buClr>
              <a:buFont typeface="Arial,Sans-Serif"/>
              <a:buChar char="•"/>
            </a:pPr>
            <a:r>
              <a:rPr lang="es-ES" sz="1100"/>
              <a:t>Documentar metodología SOA para facilitar su progresiva implantación en el cliente. </a:t>
            </a:r>
          </a:p>
          <a:p>
            <a:pPr marL="171360" indent="-171000" algn="just">
              <a:lnSpc>
                <a:spcPct val="100000"/>
              </a:lnSpc>
              <a:buClr>
                <a:srgbClr val="1A3B47"/>
              </a:buClr>
              <a:buFont typeface="Arial,Sans-Serif"/>
              <a:buChar char="•"/>
            </a:pPr>
            <a:r>
              <a:rPr lang="es-ES" sz="1100"/>
              <a:t>Funciones de arquitecto SOA dando apoyo al centro de competencias SOA del cliente</a:t>
            </a:r>
            <a:endParaRPr lang="es-ES" sz="1100" spc="-1">
              <a:solidFill>
                <a:srgbClr val="FF0000"/>
              </a:solidFill>
            </a:endParaRPr>
          </a:p>
        </p:txBody>
      </p:sp>
      <p:sp>
        <p:nvSpPr>
          <p:cNvPr id="43" name="CuadroTexto 39_0"/>
          <p:cNvSpPr/>
          <p:nvPr/>
        </p:nvSpPr>
        <p:spPr>
          <a:xfrm>
            <a:off x="4955220" y="1607703"/>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ea typeface="Soho Gothic Pro Light"/>
              </a:rPr>
              <a:t>2013</a:t>
            </a:r>
            <a:endParaRPr lang="es-ES" sz="900" b="1" spc="-1">
              <a:latin typeface="Arial"/>
            </a:endParaRPr>
          </a:p>
          <a:p>
            <a:pPr>
              <a:lnSpc>
                <a:spcPct val="100000"/>
              </a:lnSpc>
            </a:pPr>
            <a:r>
              <a:rPr lang="es-ES" sz="900" b="1" spc="-1">
                <a:ea typeface="Soho Gothic Pro Light"/>
              </a:rPr>
              <a:t>—</a:t>
            </a:r>
            <a:endParaRPr lang="es-ES" sz="900" b="1" spc="-1">
              <a:latin typeface="Arial"/>
            </a:endParaRPr>
          </a:p>
          <a:p>
            <a:pPr>
              <a:lnSpc>
                <a:spcPct val="100000"/>
              </a:lnSpc>
            </a:pPr>
            <a:r>
              <a:rPr lang="es-ES" sz="900" b="1" spc="-1">
                <a:ea typeface="Soho Gothic Pro Light"/>
              </a:rPr>
              <a:t>2011</a:t>
            </a:r>
            <a:endParaRPr lang="es-ES" sz="900" spc="-1">
              <a:latin typeface="Arial"/>
            </a:endParaRPr>
          </a:p>
          <a:p>
            <a:pPr>
              <a:lnSpc>
                <a:spcPct val="100000"/>
              </a:lnSpc>
            </a:pPr>
            <a:endParaRPr lang="es-ES" sz="900" b="0" strike="noStrike" spc="-1">
              <a:solidFill>
                <a:srgbClr val="FF0000"/>
              </a:solidFill>
              <a:latin typeface="Arial"/>
            </a:endParaRPr>
          </a:p>
        </p:txBody>
      </p:sp>
    </p:spTree>
    <p:extLst>
      <p:ext uri="{BB962C8B-B14F-4D97-AF65-F5344CB8AC3E}">
        <p14:creationId xmlns:p14="http://schemas.microsoft.com/office/powerpoint/2010/main" val="30819182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marL="456565" lvl="1" algn="just" defTabSz="914377">
              <a:defRPr b="0" i="0"/>
            </a:pPr>
            <a:r>
              <a:rPr lang="es-ES" sz="1200">
                <a:ea typeface="+mn-lt"/>
                <a:cs typeface="+mn-lt"/>
              </a:rPr>
              <a:t>Ingeniero de datos con más de 5 años de experiencia de analista y programador en total, 2 de ellos integrando plataformas tradicionales con Big Data para la </a:t>
            </a:r>
            <a:r>
              <a:rPr lang="es-ES" sz="1200" err="1">
                <a:ea typeface="+mn-lt"/>
                <a:cs typeface="+mn-lt"/>
              </a:rPr>
              <a:t>Agència</a:t>
            </a:r>
            <a:r>
              <a:rPr lang="es-ES" sz="1200">
                <a:ea typeface="+mn-lt"/>
                <a:cs typeface="+mn-lt"/>
              </a:rPr>
              <a:t> </a:t>
            </a:r>
            <a:r>
              <a:rPr lang="es-ES" sz="1200" err="1">
                <a:ea typeface="+mn-lt"/>
                <a:cs typeface="+mn-lt"/>
              </a:rPr>
              <a:t>Tributària</a:t>
            </a:r>
            <a:r>
              <a:rPr lang="es-ES" sz="1200">
                <a:ea typeface="+mn-lt"/>
                <a:cs typeface="+mn-lt"/>
              </a:rPr>
              <a:t> de Catalunya, con énfasis en la parte de arquitectura</a:t>
            </a:r>
            <a:endParaRPr lang="es-ES">
              <a:ea typeface="+mn-lt"/>
              <a:cs typeface="+mn-lt"/>
            </a:endParaRPr>
          </a:p>
          <a:p>
            <a:pPr marL="0" lvl="1" algn="just" defTabSz="914377">
              <a:defRPr b="0" i="0"/>
            </a:pPr>
            <a:endParaRPr lang="es-ES" sz="1200">
              <a:solidFill>
                <a:srgbClr val="FF0000"/>
              </a:solidFill>
            </a:endParaRPr>
          </a:p>
        </p:txBody>
      </p:sp>
      <p:sp>
        <p:nvSpPr>
          <p:cNvPr id="102" name="CuadroTexto 54_0"/>
          <p:cNvSpPr/>
          <p:nvPr/>
        </p:nvSpPr>
        <p:spPr>
          <a:xfrm>
            <a:off x="9473116" y="5714506"/>
            <a:ext cx="1608840" cy="306323"/>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400" b="0" strike="noStrike" spc="-1">
                <a:latin typeface="Soho Gothic Pro"/>
              </a:rPr>
              <a:t>Idiomas</a:t>
            </a:r>
            <a:endParaRPr lang="es-ES" sz="1400" b="0" strike="noStrike" spc="-1">
              <a:latin typeface="Arial"/>
              <a:cs typeface="Arial"/>
            </a:endParaRPr>
          </a:p>
        </p:txBody>
      </p:sp>
      <p:sp>
        <p:nvSpPr>
          <p:cNvPr id="103" name="CuadroTexto 55_0"/>
          <p:cNvSpPr/>
          <p:nvPr/>
        </p:nvSpPr>
        <p:spPr>
          <a:xfrm>
            <a:off x="9500817" y="6051428"/>
            <a:ext cx="2712240" cy="86177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b="1" strike="noStrike" spc="-1">
                <a:solidFill>
                  <a:srgbClr val="1A3B47"/>
                </a:solidFill>
                <a:latin typeface="Soho Gothic Pro Light"/>
                <a:ea typeface="Soho Gothic Pro Light"/>
              </a:rPr>
              <a:t>Castellano - </a:t>
            </a:r>
            <a:r>
              <a:rPr lang="es-ES" sz="1000" b="0" strike="noStrike" spc="-1">
                <a:solidFill>
                  <a:srgbClr val="1A3B47"/>
                </a:solidFill>
                <a:latin typeface="Soho Gothic Pro Light"/>
                <a:ea typeface="Soho Gothic Pro Light"/>
              </a:rPr>
              <a:t>Nativo</a:t>
            </a:r>
          </a:p>
          <a:p>
            <a:pPr>
              <a:lnSpc>
                <a:spcPct val="100000"/>
              </a:lnSpc>
            </a:pPr>
            <a:r>
              <a:rPr lang="ca-ES" sz="1000" b="1" spc="-1" err="1">
                <a:solidFill>
                  <a:srgbClr val="1A3B47"/>
                </a:solidFill>
                <a:latin typeface="Soho Gothic Pro Light"/>
                <a:ea typeface="Soho Gothic Pro Light"/>
              </a:rPr>
              <a:t>Catalán</a:t>
            </a:r>
            <a:r>
              <a:rPr lang="ca-ES" sz="1000" b="1" spc="-1">
                <a:solidFill>
                  <a:srgbClr val="1A3B47"/>
                </a:solidFill>
                <a:latin typeface="Soho Gothic Pro Light"/>
                <a:ea typeface="Soho Gothic Pro Light"/>
              </a:rPr>
              <a:t> </a:t>
            </a:r>
            <a:r>
              <a:rPr lang="ca-ES">
                <a:solidFill>
                  <a:srgbClr val="1A3B47"/>
                </a:solidFill>
              </a:rPr>
              <a:t/>
            </a:r>
            <a:br>
              <a:rPr lang="ca-ES">
                <a:solidFill>
                  <a:srgbClr val="1A3B47"/>
                </a:solidFill>
              </a:rPr>
            </a:br>
            <a:r>
              <a:rPr lang="es-ES" sz="1000" b="1" strike="noStrike" spc="-1">
                <a:solidFill>
                  <a:srgbClr val="1A3B47"/>
                </a:solidFill>
                <a:latin typeface="Soho Gothic Pro Light"/>
                <a:ea typeface="Soho Gothic Pro Light"/>
              </a:rPr>
              <a:t>Ingles - </a:t>
            </a:r>
            <a:r>
              <a:rPr lang="es-ES" sz="1000" b="0" strike="noStrike" spc="-1">
                <a:solidFill>
                  <a:srgbClr val="1A3B47"/>
                </a:solidFill>
                <a:latin typeface="Soho Gothic Pro Light"/>
                <a:ea typeface="Soho Gothic Pro Light"/>
              </a:rPr>
              <a:t>C1</a:t>
            </a:r>
            <a:endParaRPr lang="es-ES" sz="1000" b="0" strike="noStrike" spc="-1">
              <a:solidFill>
                <a:srgbClr val="1A3B47"/>
              </a:solidFill>
              <a:latin typeface="Arial"/>
            </a:endParaRPr>
          </a:p>
          <a:p>
            <a:pPr>
              <a:lnSpc>
                <a:spcPct val="100000"/>
              </a:lnSpc>
            </a:pPr>
            <a:endParaRPr lang="es-ES" sz="1000" b="0" strike="noStrike" spc="-1">
              <a:solidFill>
                <a:srgbClr val="1A3B47"/>
              </a:solidFill>
              <a:latin typeface="Arial"/>
            </a:endParaRPr>
          </a:p>
          <a:p>
            <a:pPr>
              <a:lnSpc>
                <a:spcPct val="100000"/>
              </a:lnSpc>
            </a:pPr>
            <a:endParaRPr lang="es-ES" sz="1000" b="0" strike="noStrike" spc="-1">
              <a:solidFill>
                <a:srgbClr val="1A3B47"/>
              </a:solidFill>
              <a:latin typeface="Arial"/>
            </a:endParaRPr>
          </a:p>
        </p:txBody>
      </p:sp>
      <p:sp>
        <p:nvSpPr>
          <p:cNvPr id="105" name="CuadroTexto 40_0"/>
          <p:cNvSpPr/>
          <p:nvPr/>
        </p:nvSpPr>
        <p:spPr>
          <a:xfrm>
            <a:off x="2559794" y="127838"/>
            <a:ext cx="2692800" cy="461665"/>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r>
              <a:rPr lang="es-ES" sz="2400" spc="-1">
                <a:solidFill>
                  <a:schemeClr val="bg1"/>
                </a:solidFill>
                <a:latin typeface="Soho Gothic Pro Medium"/>
              </a:rPr>
              <a:t>Data </a:t>
            </a:r>
            <a:r>
              <a:rPr lang="es-ES" sz="2400" spc="-1" err="1">
                <a:solidFill>
                  <a:schemeClr val="bg1"/>
                </a:solidFill>
                <a:latin typeface="Soho Gothic Pro Medium"/>
              </a:rPr>
              <a:t>Engineer</a:t>
            </a:r>
            <a:endParaRPr lang="es-ES" sz="2400" spc="-1">
              <a:solidFill>
                <a:schemeClr val="bg1"/>
              </a:solidFill>
              <a:latin typeface="Soho Gothic Pro Medium"/>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X.C.C. </a:t>
            </a:r>
            <a:endParaRPr lang="es-ES" sz="2000" b="0" strike="noStrike" spc="-1">
              <a:solidFill>
                <a:schemeClr val="bg1"/>
              </a:solidFill>
              <a:latin typeface="Arial"/>
            </a:endParaRPr>
          </a:p>
        </p:txBody>
      </p:sp>
      <p:sp>
        <p:nvSpPr>
          <p:cNvPr id="109" name="CuadroTexto 37_0"/>
          <p:cNvSpPr/>
          <p:nvPr/>
        </p:nvSpPr>
        <p:spPr>
          <a:xfrm>
            <a:off x="9473457" y="3092981"/>
            <a:ext cx="1965600" cy="306323"/>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400" b="0" strike="noStrike" spc="-1">
                <a:latin typeface="Soho Gothic Pro"/>
              </a:rPr>
              <a:t>IT</a:t>
            </a:r>
            <a:endParaRPr lang="es-ES" sz="1400" b="0" strike="noStrike" spc="-1">
              <a:latin typeface="Arial"/>
            </a:endParaRPr>
          </a:p>
        </p:txBody>
      </p:sp>
      <p:sp>
        <p:nvSpPr>
          <p:cNvPr id="110" name="CuadroTexto 52_0"/>
          <p:cNvSpPr/>
          <p:nvPr/>
        </p:nvSpPr>
        <p:spPr>
          <a:xfrm>
            <a:off x="9497653" y="3369706"/>
            <a:ext cx="2739600" cy="2246769"/>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pc="-1">
                <a:ea typeface="+mn-lt"/>
                <a:cs typeface="+mn-lt"/>
              </a:rPr>
              <a:t>Lenguajes de programación</a:t>
            </a:r>
            <a:r>
              <a:rPr lang="es-ES" sz="1000" b="0" strike="noStrike" spc="-1">
                <a:ea typeface="+mn-lt"/>
                <a:cs typeface="+mn-lt"/>
              </a:rPr>
              <a:t>: </a:t>
            </a:r>
            <a:r>
              <a:rPr lang="es-ES" sz="1000" spc="-1">
                <a:ea typeface="+mn-lt"/>
                <a:cs typeface="+mn-lt"/>
              </a:rPr>
              <a:t>Scala, </a:t>
            </a:r>
            <a:r>
              <a:rPr lang="es-ES" sz="1000" spc="-1" err="1">
                <a:ea typeface="+mn-lt"/>
                <a:cs typeface="+mn-lt"/>
              </a:rPr>
              <a:t>Spark</a:t>
            </a:r>
            <a:r>
              <a:rPr lang="es-ES" sz="1000" spc="-1">
                <a:ea typeface="+mn-lt"/>
                <a:cs typeface="+mn-lt"/>
              </a:rPr>
              <a:t>, Akka, Python, </a:t>
            </a:r>
            <a:r>
              <a:rPr lang="es-ES" sz="1000" i="1" spc="-1">
                <a:ea typeface="+mn-lt"/>
                <a:cs typeface="+mn-lt"/>
              </a:rPr>
              <a:t>Java y PL/SQL; Maven, SBT</a:t>
            </a:r>
            <a:endParaRPr lang="es-ES"/>
          </a:p>
          <a:p>
            <a:endParaRPr lang="es-ES" sz="1000" i="1" spc="-1">
              <a:ea typeface="+mn-lt"/>
              <a:cs typeface="+mn-lt"/>
            </a:endParaRPr>
          </a:p>
          <a:p>
            <a:r>
              <a:rPr lang="es-ES" sz="1000" b="1" spc="-1">
                <a:ea typeface="+mn-lt"/>
                <a:cs typeface="+mn-lt"/>
              </a:rPr>
              <a:t>Bases de datos</a:t>
            </a:r>
            <a:r>
              <a:rPr lang="es-ES" sz="1000" b="1" strike="noStrike" spc="-1">
                <a:ea typeface="+mn-lt"/>
                <a:cs typeface="+mn-lt"/>
              </a:rPr>
              <a:t>: </a:t>
            </a:r>
            <a:r>
              <a:rPr lang="es-ES" sz="1000" i="1" spc="-1">
                <a:ea typeface="+mn-lt"/>
                <a:cs typeface="+mn-lt"/>
              </a:rPr>
              <a:t>[SQL] </a:t>
            </a:r>
            <a:r>
              <a:rPr lang="es-ES" sz="1000" spc="-1" err="1">
                <a:ea typeface="+mn-lt"/>
                <a:cs typeface="+mn-lt"/>
              </a:rPr>
              <a:t>Hive</a:t>
            </a:r>
            <a:r>
              <a:rPr lang="es-ES" sz="1000" spc="-1">
                <a:ea typeface="+mn-lt"/>
                <a:cs typeface="+mn-lt"/>
              </a:rPr>
              <a:t>/Impala, </a:t>
            </a:r>
            <a:r>
              <a:rPr lang="es-ES" sz="1000" i="1" spc="-1" err="1">
                <a:ea typeface="+mn-lt"/>
                <a:cs typeface="+mn-lt"/>
              </a:rPr>
              <a:t>Kudu</a:t>
            </a:r>
            <a:r>
              <a:rPr lang="es-ES" sz="1000" i="1" spc="-1">
                <a:ea typeface="+mn-lt"/>
                <a:cs typeface="+mn-lt"/>
              </a:rPr>
              <a:t>, </a:t>
            </a:r>
            <a:r>
              <a:rPr lang="es-ES" sz="1000" i="1" spc="-1" err="1">
                <a:ea typeface="+mn-lt"/>
                <a:cs typeface="+mn-lt"/>
              </a:rPr>
              <a:t>Postgress</a:t>
            </a:r>
            <a:r>
              <a:rPr lang="es-ES" sz="1000" i="1" spc="-1">
                <a:ea typeface="+mn-lt"/>
                <a:cs typeface="+mn-lt"/>
              </a:rPr>
              <a:t>, </a:t>
            </a:r>
            <a:r>
              <a:rPr lang="es-ES" sz="1000" spc="-1">
                <a:ea typeface="+mn-lt"/>
                <a:cs typeface="+mn-lt"/>
              </a:rPr>
              <a:t>Oracle, MySQL</a:t>
            </a:r>
            <a:r>
              <a:rPr lang="es-ES" sz="1000" i="1" spc="-1">
                <a:ea typeface="+mn-lt"/>
                <a:cs typeface="+mn-lt"/>
              </a:rPr>
              <a:t> [NoSQL] </a:t>
            </a:r>
            <a:r>
              <a:rPr lang="es-ES" sz="1000" spc="-1">
                <a:ea typeface="+mn-lt"/>
                <a:cs typeface="+mn-lt"/>
              </a:rPr>
              <a:t>MongoDB</a:t>
            </a:r>
            <a:r>
              <a:rPr lang="es-ES" sz="1000" i="1" spc="-1">
                <a:ea typeface="+mn-lt"/>
                <a:cs typeface="+mn-lt"/>
              </a:rPr>
              <a:t>, </a:t>
            </a:r>
            <a:r>
              <a:rPr lang="es-ES" sz="1000" i="1" spc="-1" err="1">
                <a:ea typeface="+mn-lt"/>
                <a:cs typeface="+mn-lt"/>
              </a:rPr>
              <a:t>Cassandra</a:t>
            </a:r>
            <a:r>
              <a:rPr lang="es-ES" sz="1000" i="1" spc="-1">
                <a:ea typeface="+mn-lt"/>
                <a:cs typeface="+mn-lt"/>
              </a:rPr>
              <a:t>, Redis</a:t>
            </a:r>
            <a:endParaRPr lang="en-US"/>
          </a:p>
          <a:p>
            <a:r>
              <a:rPr lang="es-ES" sz="1000" spc="-1" err="1">
                <a:ea typeface="+mn-lt"/>
                <a:cs typeface="+mn-lt"/>
              </a:rPr>
              <a:t>Platforms</a:t>
            </a:r>
            <a:r>
              <a:rPr lang="es-ES" sz="1000" spc="-1">
                <a:ea typeface="+mn-lt"/>
                <a:cs typeface="+mn-lt"/>
              </a:rPr>
              <a:t>: Cloudera, Google Cloud</a:t>
            </a:r>
            <a:endParaRPr lang="en-US"/>
          </a:p>
          <a:p>
            <a:endParaRPr lang="es-ES" sz="1000" b="1" spc="-1">
              <a:ea typeface="+mn-lt"/>
              <a:cs typeface="+mn-lt"/>
            </a:endParaRPr>
          </a:p>
          <a:p>
            <a:r>
              <a:rPr lang="es-ES" sz="1000" b="1" spc="-1">
                <a:ea typeface="+mn-lt"/>
                <a:cs typeface="+mn-lt"/>
              </a:rPr>
              <a:t>Big Data (tecnología): </a:t>
            </a:r>
            <a:r>
              <a:rPr lang="es-ES" sz="1000" i="1" spc="-1">
                <a:ea typeface="+mn-lt"/>
                <a:cs typeface="+mn-lt"/>
              </a:rPr>
              <a:t>Hadoop, </a:t>
            </a:r>
            <a:endParaRPr lang="es-ES" sz="1750">
              <a:ea typeface="+mn-lt"/>
              <a:cs typeface="+mn-lt"/>
            </a:endParaRPr>
          </a:p>
          <a:p>
            <a:endParaRPr lang="es-ES" sz="1000" b="1" spc="-1">
              <a:ea typeface="+mn-lt"/>
              <a:cs typeface="+mn-lt"/>
            </a:endParaRPr>
          </a:p>
          <a:p>
            <a:r>
              <a:rPr lang="es-ES" sz="1000" b="1" strike="noStrike" spc="-1">
                <a:ea typeface="+mn-lt"/>
                <a:cs typeface="+mn-lt"/>
              </a:rPr>
              <a:t>Gestión</a:t>
            </a:r>
            <a:r>
              <a:rPr lang="es-ES" sz="1000" b="0" strike="noStrike" spc="-1">
                <a:ea typeface="+mn-lt"/>
                <a:cs typeface="+mn-lt"/>
              </a:rPr>
              <a:t>: </a:t>
            </a:r>
            <a:r>
              <a:rPr lang="es-ES" sz="1000" i="1" spc="-1">
                <a:ea typeface="+mn-lt"/>
                <a:cs typeface="+mn-lt"/>
              </a:rPr>
              <a:t>Jira, Asana, Git</a:t>
            </a:r>
            <a:endParaRPr lang="en-US" sz="1750"/>
          </a:p>
          <a:p>
            <a:endParaRPr lang="es-ES" sz="1000" b="1" spc="-1">
              <a:ea typeface="+mn-lt"/>
              <a:cs typeface="+mn-lt"/>
            </a:endParaRPr>
          </a:p>
          <a:p>
            <a:r>
              <a:rPr lang="es-ES" sz="1000" b="1" spc="-1">
                <a:ea typeface="+mn-lt"/>
                <a:cs typeface="+mn-lt"/>
              </a:rPr>
              <a:t>Agile</a:t>
            </a:r>
            <a:r>
              <a:rPr lang="es-ES" sz="1000" spc="-1">
                <a:ea typeface="+mn-lt"/>
                <a:cs typeface="+mn-lt"/>
              </a:rPr>
              <a:t>: </a:t>
            </a:r>
            <a:r>
              <a:rPr lang="es-ES" sz="1000" i="1" spc="-1">
                <a:ea typeface="+mn-lt"/>
                <a:cs typeface="+mn-lt"/>
              </a:rPr>
              <a:t>Scrum/Kanban</a:t>
            </a:r>
            <a:endParaRPr lang="es-ES" sz="1750">
              <a:ea typeface="+mn-lt"/>
              <a:cs typeface="+mn-lt"/>
            </a:endParaRPr>
          </a:p>
          <a:p>
            <a:pPr>
              <a:lnSpc>
                <a:spcPct val="100000"/>
              </a:lnSpc>
            </a:pPr>
            <a:endParaRPr lang="es-ES" sz="1000" i="1" spc="-1">
              <a:ea typeface="Soho Gothic Pro Light"/>
            </a:endParaRPr>
          </a:p>
        </p:txBody>
      </p:sp>
      <p:sp>
        <p:nvSpPr>
          <p:cNvPr id="112" name="CuadroTexto 56_0"/>
          <p:cNvSpPr/>
          <p:nvPr/>
        </p:nvSpPr>
        <p:spPr>
          <a:xfrm>
            <a:off x="9475200" y="127800"/>
            <a:ext cx="1965600" cy="306323"/>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400" b="0" strike="noStrike" spc="-1">
                <a:latin typeface="Soho Gothic Pro"/>
              </a:rPr>
              <a:t>Educación</a:t>
            </a:r>
            <a:endParaRPr lang="es-ES" sz="1200" b="0" strike="noStrike" spc="-1">
              <a:latin typeface="Arial"/>
              <a:cs typeface="Arial"/>
            </a:endParaRPr>
          </a:p>
        </p:txBody>
      </p:sp>
      <p:sp>
        <p:nvSpPr>
          <p:cNvPr id="113" name="CuadroTexto 70_0"/>
          <p:cNvSpPr/>
          <p:nvPr/>
        </p:nvSpPr>
        <p:spPr>
          <a:xfrm>
            <a:off x="9827280" y="441123"/>
            <a:ext cx="2349360" cy="116955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ea typeface="+mn-lt"/>
                <a:cs typeface="+mn-lt"/>
              </a:rPr>
              <a:t>Graduado en Ingeniería Informática con mención en Tecnologías de la Información</a:t>
            </a:r>
            <a:endParaRPr lang="es-ES"/>
          </a:p>
          <a:p>
            <a:pPr>
              <a:lnSpc>
                <a:spcPct val="100000"/>
              </a:lnSpc>
            </a:pPr>
            <a:endParaRPr lang="es-ES" sz="1000" spc="-1">
              <a:solidFill>
                <a:srgbClr val="FF0000"/>
              </a:solidFill>
              <a:ea typeface="Soho Gothic Pro Light"/>
            </a:endParaRPr>
          </a:p>
          <a:p>
            <a:r>
              <a:rPr lang="es-ES" sz="1000" spc="-1">
                <a:ea typeface="+mn-lt"/>
                <a:cs typeface="+mn-lt"/>
              </a:rPr>
              <a:t>Máster universitario en inteligencia artificial</a:t>
            </a:r>
            <a:endParaRPr lang="es-ES"/>
          </a:p>
          <a:p>
            <a:pPr>
              <a:lnSpc>
                <a:spcPct val="100000"/>
              </a:lnSpc>
            </a:pPr>
            <a:endParaRPr lang="es-ES" sz="1000" spc="-1">
              <a:solidFill>
                <a:srgbClr val="FF0000"/>
              </a:solidFill>
              <a:ea typeface="Soho Gothic Pro Light"/>
            </a:endParaRPr>
          </a:p>
        </p:txBody>
      </p:sp>
      <p:sp>
        <p:nvSpPr>
          <p:cNvPr id="114" name="CuadroTexto 73_0"/>
          <p:cNvSpPr/>
          <p:nvPr/>
        </p:nvSpPr>
        <p:spPr>
          <a:xfrm>
            <a:off x="9430200" y="456480"/>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solidFill>
                  <a:srgbClr val="1A3B47"/>
                </a:solidFill>
                <a:latin typeface="Soho Gothic Pro Medium"/>
              </a:rPr>
              <a:t>2012</a:t>
            </a:r>
            <a:endParaRPr lang="es-ES" sz="900" b="0" strike="noStrike" spc="-1">
              <a:solidFill>
                <a:srgbClr val="1A3B47"/>
              </a:solidFill>
              <a:latin typeface="Arial"/>
            </a:endParaRPr>
          </a:p>
          <a:p>
            <a:pPr>
              <a:lnSpc>
                <a:spcPct val="100000"/>
              </a:lnSpc>
            </a:pPr>
            <a:r>
              <a:rPr lang="es-ES" sz="900" b="0" strike="noStrike" spc="-1">
                <a:solidFill>
                  <a:srgbClr val="1A3B47"/>
                </a:solidFill>
                <a:latin typeface="Soho Gothic Pro Medium"/>
              </a:rPr>
              <a:t>—</a:t>
            </a:r>
            <a:endParaRPr lang="es-ES" sz="900" b="0" strike="noStrike" spc="-1">
              <a:solidFill>
                <a:srgbClr val="1A3B47"/>
              </a:solidFill>
              <a:latin typeface="Arial"/>
            </a:endParaRPr>
          </a:p>
          <a:p>
            <a:pPr>
              <a:lnSpc>
                <a:spcPct val="100000"/>
              </a:lnSpc>
            </a:pPr>
            <a:r>
              <a:rPr lang="es-ES" sz="900" spc="-1">
                <a:solidFill>
                  <a:srgbClr val="1A3B47"/>
                </a:solidFill>
                <a:latin typeface="Soho Gothic Pro Medium"/>
              </a:rPr>
              <a:t>2016</a:t>
            </a:r>
            <a:endParaRPr lang="es-ES" sz="900" b="0" strike="noStrike" spc="-1">
              <a:solidFill>
                <a:srgbClr val="1A3B47"/>
              </a:solidFill>
              <a:latin typeface="Arial"/>
            </a:endParaRPr>
          </a:p>
        </p:txBody>
      </p:sp>
      <p:sp>
        <p:nvSpPr>
          <p:cNvPr id="37" name="CuadroTexto 30_0"/>
          <p:cNvSpPr/>
          <p:nvPr/>
        </p:nvSpPr>
        <p:spPr>
          <a:xfrm>
            <a:off x="5463001" y="152640"/>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Xavier Castilla Carbonell</a:t>
            </a:r>
            <a:endParaRPr lang="es-ES" sz="2000" b="0" strike="noStrike" spc="-1">
              <a:solidFill>
                <a:schemeClr val="bg1"/>
              </a:solidFill>
              <a:latin typeface="Arial"/>
            </a:endParaRPr>
          </a:p>
        </p:txBody>
      </p:sp>
      <p:sp>
        <p:nvSpPr>
          <p:cNvPr id="27" name="CuadroTexto 44_0"/>
          <p:cNvSpPr/>
          <p:nvPr/>
        </p:nvSpPr>
        <p:spPr>
          <a:xfrm>
            <a:off x="685800" y="1346218"/>
            <a:ext cx="4215600" cy="1785104"/>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lnSpc>
                <a:spcPct val="100000"/>
              </a:lnSpc>
            </a:pPr>
            <a:r>
              <a:rPr lang="es-ES" sz="1100" b="1" strike="noStrike" spc="-1">
                <a:ea typeface="+mn-lt"/>
                <a:cs typeface="+mn-lt"/>
              </a:rPr>
              <a:t>Minsait </a:t>
            </a:r>
            <a:r>
              <a:rPr lang="es-ES" sz="1100" b="1" strike="noStrike" spc="-1" err="1">
                <a:ea typeface="+mn-lt"/>
                <a:cs typeface="+mn-lt"/>
              </a:rPr>
              <a:t>by</a:t>
            </a:r>
            <a:r>
              <a:rPr lang="es-ES" sz="1100" b="1" strike="noStrike" spc="-1">
                <a:ea typeface="+mn-lt"/>
                <a:cs typeface="+mn-lt"/>
              </a:rPr>
              <a:t> Indra (Barcelona, España)</a:t>
            </a:r>
            <a:endParaRPr lang="es-ES">
              <a:ea typeface="+mn-lt"/>
              <a:cs typeface="+mn-lt"/>
            </a:endParaRPr>
          </a:p>
          <a:p>
            <a:pPr algn="just">
              <a:lnSpc>
                <a:spcPct val="100000"/>
              </a:lnSpc>
            </a:pPr>
            <a:r>
              <a:rPr lang="es-ES" sz="1100" spc="-1">
                <a:ea typeface="+mn-lt"/>
                <a:cs typeface="+mn-lt"/>
              </a:rPr>
              <a:t>Ingeniero de Datos</a:t>
            </a:r>
            <a:endParaRPr lang="es-ES">
              <a:ea typeface="+mn-lt"/>
              <a:cs typeface="+mn-lt"/>
            </a:endParaRPr>
          </a:p>
          <a:p>
            <a:pPr marL="171450" indent="-171450" algn="just">
              <a:buFont typeface="Arial"/>
              <a:buChar char="•"/>
            </a:pPr>
            <a:endParaRPr lang="es-ES" sz="1100" spc="-1">
              <a:ea typeface="+mn-lt"/>
              <a:cs typeface="+mn-lt"/>
            </a:endParaRPr>
          </a:p>
          <a:p>
            <a:pPr marL="171450" indent="-171450" algn="just">
              <a:buFont typeface="Arial"/>
              <a:buChar char="•"/>
            </a:pPr>
            <a:r>
              <a:rPr lang="es-ES" sz="1100" spc="-1">
                <a:ea typeface="+mn-lt"/>
                <a:cs typeface="+mn-lt"/>
              </a:rPr>
              <a:t>Arquitecto de software</a:t>
            </a:r>
          </a:p>
          <a:p>
            <a:pPr marL="171450" indent="-171450" algn="just">
              <a:buFont typeface="Arial"/>
              <a:buChar char="•"/>
            </a:pPr>
            <a:r>
              <a:rPr lang="es-ES" sz="1100" spc="-1">
                <a:ea typeface="+mn-lt"/>
                <a:cs typeface="+mn-lt"/>
              </a:rPr>
              <a:t>Desarrollador Scala senior </a:t>
            </a:r>
            <a:endParaRPr lang="es-ES">
              <a:ea typeface="+mn-lt"/>
              <a:cs typeface="+mn-lt"/>
            </a:endParaRPr>
          </a:p>
          <a:p>
            <a:pPr marL="171450" indent="-171450" algn="just">
              <a:buFont typeface="Arial"/>
              <a:buChar char="•"/>
            </a:pPr>
            <a:r>
              <a:rPr lang="es-ES" sz="1100" spc="-1">
                <a:ea typeface="+mn-lt"/>
                <a:cs typeface="+mn-lt"/>
              </a:rPr>
              <a:t>Arquitecto sistemas Big Data</a:t>
            </a:r>
            <a:endParaRPr lang="es-ES" sz="1100" spc="-1"/>
          </a:p>
          <a:p>
            <a:pPr marL="171450" indent="-171450" algn="just">
              <a:buFont typeface="Arial"/>
              <a:buChar char="•"/>
            </a:pPr>
            <a:r>
              <a:rPr lang="es-ES" sz="1100" spc="-1">
                <a:ea typeface="+mn-lt"/>
                <a:cs typeface="+mn-lt"/>
              </a:rPr>
              <a:t>Scala, </a:t>
            </a:r>
            <a:r>
              <a:rPr lang="es-ES" sz="1100" spc="-1" err="1">
                <a:ea typeface="+mn-lt"/>
                <a:cs typeface="+mn-lt"/>
              </a:rPr>
              <a:t>Spark</a:t>
            </a:r>
            <a:r>
              <a:rPr lang="es-ES" sz="1100" spc="-1">
                <a:ea typeface="+mn-lt"/>
                <a:cs typeface="+mn-lt"/>
              </a:rPr>
              <a:t>, Hadoop, Akka, </a:t>
            </a:r>
            <a:r>
              <a:rPr lang="es-ES" sz="1100" spc="-1" err="1">
                <a:ea typeface="+mn-lt"/>
                <a:cs typeface="+mn-lt"/>
              </a:rPr>
              <a:t>Kudu</a:t>
            </a:r>
            <a:r>
              <a:rPr lang="es-ES" sz="1100" spc="-1">
                <a:ea typeface="+mn-lt"/>
                <a:cs typeface="+mn-lt"/>
              </a:rPr>
              <a:t>, Impala, Mongo. </a:t>
            </a:r>
            <a:endParaRPr lang="es-ES"/>
          </a:p>
          <a:p>
            <a:pPr marL="171450" indent="-171450" algn="just">
              <a:buFont typeface="Arial"/>
              <a:buChar char="•"/>
            </a:pPr>
            <a:r>
              <a:rPr lang="es-ES" sz="1100" spc="-1">
                <a:ea typeface="+mn-lt"/>
                <a:cs typeface="+mn-lt"/>
              </a:rPr>
              <a:t>Desarrollo continuo, sprint </a:t>
            </a:r>
            <a:r>
              <a:rPr lang="es-ES" sz="1100" spc="-1" err="1">
                <a:ea typeface="+mn-lt"/>
                <a:cs typeface="+mn-lt"/>
              </a:rPr>
              <a:t>planning</a:t>
            </a:r>
            <a:r>
              <a:rPr lang="es-ES" sz="1100" spc="-1">
                <a:ea typeface="+mn-lt"/>
                <a:cs typeface="+mn-lt"/>
              </a:rPr>
              <a:t>, SCRUM. </a:t>
            </a:r>
            <a:endParaRPr lang="es-ES"/>
          </a:p>
          <a:p>
            <a:pPr marL="171450" indent="-171450" algn="just">
              <a:buFont typeface="Arial"/>
              <a:buChar char="•"/>
            </a:pPr>
            <a:r>
              <a:rPr lang="es-ES" sz="1100" spc="-1">
                <a:ea typeface="+mn-lt"/>
                <a:cs typeface="+mn-lt"/>
              </a:rPr>
              <a:t>Experto en control de versiones (GitHub, Git con </a:t>
            </a:r>
            <a:r>
              <a:rPr lang="es-ES" sz="1100" spc="-1" err="1">
                <a:ea typeface="+mn-lt"/>
                <a:cs typeface="+mn-lt"/>
              </a:rPr>
              <a:t>Bitbucket</a:t>
            </a:r>
            <a:r>
              <a:rPr lang="es-ES" sz="1100" spc="-1">
                <a:ea typeface="+mn-lt"/>
                <a:cs typeface="+mn-lt"/>
              </a:rPr>
              <a:t>)</a:t>
            </a:r>
            <a:endParaRPr lang="es-ES">
              <a:ea typeface="+mn-lt"/>
              <a:cs typeface="+mn-lt"/>
            </a:endParaRPr>
          </a:p>
          <a:p>
            <a:pPr algn="just">
              <a:lnSpc>
                <a:spcPct val="100000"/>
              </a:lnSpc>
            </a:pPr>
            <a:endParaRPr lang="es-ES" sz="1100" b="1" spc="-1">
              <a:solidFill>
                <a:srgbClr val="FF0000"/>
              </a:solidFill>
            </a:endParaRPr>
          </a:p>
        </p:txBody>
      </p:sp>
      <p:sp>
        <p:nvSpPr>
          <p:cNvPr id="28" name="CuadroTexto 45_2"/>
          <p:cNvSpPr/>
          <p:nvPr/>
        </p:nvSpPr>
        <p:spPr>
          <a:xfrm>
            <a:off x="5217629" y="1391502"/>
            <a:ext cx="4007341" cy="1445096"/>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algn="just"/>
            <a:r>
              <a:rPr lang="es-ES" sz="1100" b="1" spc="-1">
                <a:ea typeface="+mn-lt"/>
                <a:cs typeface="+mn-lt"/>
              </a:rPr>
              <a:t>Expansiva </a:t>
            </a:r>
            <a:r>
              <a:rPr lang="es-ES" sz="1100" b="1" spc="-1" err="1">
                <a:ea typeface="+mn-lt"/>
                <a:cs typeface="+mn-lt"/>
              </a:rPr>
              <a:t>Engineering</a:t>
            </a:r>
            <a:endParaRPr lang="es-ES" sz="1750">
              <a:ea typeface="+mn-lt"/>
              <a:cs typeface="+mn-lt"/>
            </a:endParaRPr>
          </a:p>
          <a:p>
            <a:pPr algn="just"/>
            <a:r>
              <a:rPr lang="es-ES" sz="1100" spc="-1" err="1">
                <a:ea typeface="+mn-lt"/>
                <a:cs typeface="+mn-lt"/>
              </a:rPr>
              <a:t>Backend</a:t>
            </a:r>
            <a:r>
              <a:rPr lang="es-ES" sz="1100" spc="-1">
                <a:ea typeface="+mn-lt"/>
                <a:cs typeface="+mn-lt"/>
              </a:rPr>
              <a:t> Software </a:t>
            </a:r>
            <a:r>
              <a:rPr lang="es-ES" sz="1100" spc="-1" err="1">
                <a:ea typeface="+mn-lt"/>
                <a:cs typeface="+mn-lt"/>
              </a:rPr>
              <a:t>Engineer</a:t>
            </a:r>
            <a:r>
              <a:rPr lang="es-ES" sz="1100" spc="-1">
                <a:ea typeface="+mn-lt"/>
                <a:cs typeface="+mn-lt"/>
              </a:rPr>
              <a:t> </a:t>
            </a:r>
            <a:r>
              <a:rPr lang="es-ES" sz="1100" spc="-1" err="1">
                <a:ea typeface="+mn-lt"/>
                <a:cs typeface="+mn-lt"/>
              </a:rPr>
              <a:t>Intern</a:t>
            </a:r>
            <a:r>
              <a:rPr lang="es-ES" sz="1100" b="1" spc="-1">
                <a:ea typeface="+mn-lt"/>
                <a:cs typeface="+mn-lt"/>
              </a:rPr>
              <a:t> </a:t>
            </a:r>
            <a:endParaRPr lang="es-ES" sz="1750">
              <a:ea typeface="+mn-lt"/>
              <a:cs typeface="+mn-lt"/>
            </a:endParaRPr>
          </a:p>
          <a:p>
            <a:pPr algn="just"/>
            <a:endParaRPr lang="es-ES" sz="1100" spc="-1">
              <a:ea typeface="+mn-lt"/>
              <a:cs typeface="+mn-lt"/>
            </a:endParaRPr>
          </a:p>
          <a:p>
            <a:pPr algn="just"/>
            <a:r>
              <a:rPr lang="es-ES" sz="1100" spc="-1">
                <a:ea typeface="+mn-lt"/>
                <a:cs typeface="+mn-lt"/>
              </a:rPr>
              <a:t> - Desarrollador software y gestor de documentación</a:t>
            </a:r>
            <a:endParaRPr lang="es-ES" sz="1750">
              <a:ea typeface="+mn-lt"/>
              <a:cs typeface="+mn-lt"/>
            </a:endParaRPr>
          </a:p>
          <a:p>
            <a:pPr algn="just"/>
            <a:r>
              <a:rPr lang="es-ES" sz="1100" spc="-1">
                <a:ea typeface="+mn-lt"/>
                <a:cs typeface="+mn-lt"/>
              </a:rPr>
              <a:t>- </a:t>
            </a:r>
            <a:r>
              <a:rPr lang="es-ES" sz="1100" spc="-1" err="1">
                <a:ea typeface="+mn-lt"/>
                <a:cs typeface="+mn-lt"/>
              </a:rPr>
              <a:t>Desarrolladro</a:t>
            </a:r>
            <a:r>
              <a:rPr lang="es-ES" sz="1100" spc="-1">
                <a:ea typeface="+mn-lt"/>
                <a:cs typeface="+mn-lt"/>
              </a:rPr>
              <a:t> </a:t>
            </a:r>
            <a:r>
              <a:rPr lang="es-ES" sz="1100" spc="-1" err="1">
                <a:ea typeface="+mn-lt"/>
                <a:cs typeface="+mn-lt"/>
              </a:rPr>
              <a:t>backend</a:t>
            </a:r>
            <a:r>
              <a:rPr lang="es-ES" sz="1100" spc="-1">
                <a:ea typeface="+mn-lt"/>
                <a:cs typeface="+mn-lt"/>
              </a:rPr>
              <a:t> (Scala, </a:t>
            </a:r>
            <a:r>
              <a:rPr lang="es-ES" sz="1100" spc="-1" err="1">
                <a:ea typeface="+mn-lt"/>
                <a:cs typeface="+mn-lt"/>
              </a:rPr>
              <a:t>Spark</a:t>
            </a:r>
            <a:r>
              <a:rPr lang="es-ES" sz="1100" spc="-1">
                <a:ea typeface="+mn-lt"/>
                <a:cs typeface="+mn-lt"/>
              </a:rPr>
              <a:t>, Akka, </a:t>
            </a:r>
            <a:r>
              <a:rPr lang="es-ES" sz="1100" spc="-1" err="1">
                <a:ea typeface="+mn-lt"/>
                <a:cs typeface="+mn-lt"/>
              </a:rPr>
              <a:t>Slick</a:t>
            </a:r>
            <a:r>
              <a:rPr lang="es-ES" sz="1100" spc="-1">
                <a:ea typeface="+mn-lt"/>
                <a:cs typeface="+mn-lt"/>
              </a:rPr>
              <a:t>, </a:t>
            </a:r>
            <a:r>
              <a:rPr lang="es-ES" sz="1100" spc="-1" err="1">
                <a:ea typeface="+mn-lt"/>
                <a:cs typeface="+mn-lt"/>
              </a:rPr>
              <a:t>Phantom</a:t>
            </a:r>
            <a:r>
              <a:rPr lang="es-ES" sz="1100" spc="-1">
                <a:ea typeface="+mn-lt"/>
                <a:cs typeface="+mn-lt"/>
              </a:rPr>
              <a:t>, Spray.io, etc...) </a:t>
            </a:r>
            <a:endParaRPr lang="es-ES" sz="1750"/>
          </a:p>
          <a:p>
            <a:pPr algn="just"/>
            <a:r>
              <a:rPr lang="es-ES" sz="1100" spc="-1">
                <a:ea typeface="+mn-lt"/>
                <a:cs typeface="+mn-lt"/>
              </a:rPr>
              <a:t>- Gestor de bases de datos no NO-SQL: Redis and </a:t>
            </a:r>
            <a:r>
              <a:rPr lang="es-ES" sz="1100" spc="-1" err="1">
                <a:ea typeface="+mn-lt"/>
                <a:cs typeface="+mn-lt"/>
              </a:rPr>
              <a:t>Cassandra</a:t>
            </a:r>
            <a:r>
              <a:rPr lang="es-ES" sz="1100" spc="-1">
                <a:ea typeface="+mn-lt"/>
                <a:cs typeface="+mn-lt"/>
              </a:rPr>
              <a:t> </a:t>
            </a:r>
            <a:endParaRPr lang="es-ES"/>
          </a:p>
          <a:p>
            <a:pPr algn="just"/>
            <a:r>
              <a:rPr lang="es-ES" sz="1100" spc="-1">
                <a:ea typeface="+mn-lt"/>
                <a:cs typeface="+mn-lt"/>
              </a:rPr>
              <a:t>-  Trabajo gestionado mediante </a:t>
            </a:r>
            <a:r>
              <a:rPr lang="es-ES" sz="1100" spc="-1" err="1">
                <a:ea typeface="+mn-lt"/>
                <a:cs typeface="+mn-lt"/>
              </a:rPr>
              <a:t>metologías</a:t>
            </a:r>
            <a:r>
              <a:rPr lang="es-ES" sz="1100" spc="-1">
                <a:ea typeface="+mn-lt"/>
                <a:cs typeface="+mn-lt"/>
              </a:rPr>
              <a:t> ágiles</a:t>
            </a:r>
            <a:endParaRPr lang="es-ES" sz="1100" spc="-1">
              <a:solidFill>
                <a:srgbClr val="1A3B47"/>
              </a:solidFill>
            </a:endParaRPr>
          </a:p>
        </p:txBody>
      </p:sp>
      <p:sp>
        <p:nvSpPr>
          <p:cNvPr id="29" name="CuadroTexto 48_2"/>
          <p:cNvSpPr/>
          <p:nvPr/>
        </p:nvSpPr>
        <p:spPr>
          <a:xfrm>
            <a:off x="4719559" y="1315854"/>
            <a:ext cx="839880" cy="5078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t>2016</a:t>
            </a:r>
            <a:endParaRPr lang="es-ES" sz="900" b="1" spc="-1">
              <a:latin typeface="Arial"/>
              <a:cs typeface="Arial"/>
            </a:endParaRPr>
          </a:p>
          <a:p>
            <a:pPr>
              <a:lnSpc>
                <a:spcPct val="100000"/>
              </a:lnSpc>
            </a:pPr>
            <a:r>
              <a:rPr lang="es-ES" sz="900" b="1" spc="-1">
                <a:ea typeface="Soho Gothic Pro Light"/>
              </a:rPr>
              <a:t>—</a:t>
            </a:r>
            <a:endParaRPr lang="es-ES" sz="900" b="1" spc="-1">
              <a:latin typeface="Arial"/>
              <a:cs typeface="Arial"/>
            </a:endParaRPr>
          </a:p>
          <a:p>
            <a:pPr>
              <a:lnSpc>
                <a:spcPct val="100000"/>
              </a:lnSpc>
            </a:pPr>
            <a:r>
              <a:rPr lang="es-ES" sz="900" b="1" spc="-1"/>
              <a:t>2016</a:t>
            </a:r>
            <a:endParaRPr lang="es-ES" sz="900" spc="-1">
              <a:latin typeface="Arial"/>
            </a:endParaRPr>
          </a:p>
        </p:txBody>
      </p:sp>
      <p:sp>
        <p:nvSpPr>
          <p:cNvPr id="32" name="CuadroTexto 39_0"/>
          <p:cNvSpPr/>
          <p:nvPr/>
        </p:nvSpPr>
        <p:spPr>
          <a:xfrm>
            <a:off x="240120" y="1312738"/>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trike="noStrike" spc="-1">
                <a:latin typeface="Soho Gothic Pro Light"/>
                <a:ea typeface="Soho Gothic Pro Light"/>
              </a:rPr>
              <a:t>ACT</a:t>
            </a:r>
            <a:endParaRPr lang="es-ES" sz="900" b="1" strike="noStrike" spc="-1">
              <a:latin typeface="Arial"/>
              <a:cs typeface="Arial"/>
            </a:endParaRPr>
          </a:p>
          <a:p>
            <a:pPr>
              <a:lnSpc>
                <a:spcPct val="100000"/>
              </a:lnSpc>
            </a:pPr>
            <a:r>
              <a:rPr lang="es-ES" sz="900" b="1" strike="noStrike" spc="-1">
                <a:latin typeface="Soho Gothic Pro Light"/>
                <a:ea typeface="Soho Gothic Pro Light"/>
              </a:rPr>
              <a:t>—</a:t>
            </a:r>
            <a:endParaRPr lang="es-ES" sz="900" b="1" strike="noStrike" spc="-1">
              <a:latin typeface="Arial"/>
              <a:cs typeface="Arial"/>
            </a:endParaRPr>
          </a:p>
          <a:p>
            <a:pPr>
              <a:lnSpc>
                <a:spcPct val="100000"/>
              </a:lnSpc>
            </a:pPr>
            <a:r>
              <a:rPr lang="es-ES" sz="900" b="1" spc="-1">
                <a:latin typeface="Soho Gothic Pro Light"/>
              </a:rPr>
              <a:t>2019</a:t>
            </a:r>
            <a:endParaRPr lang="es-ES" sz="900" b="1" strike="noStrike" spc="-1">
              <a:latin typeface="Arial"/>
            </a:endParaRPr>
          </a:p>
          <a:p>
            <a:pPr>
              <a:lnSpc>
                <a:spcPct val="100000"/>
              </a:lnSpc>
            </a:pPr>
            <a:endParaRPr lang="es-ES" sz="900" b="0" strike="noStrike" spc="-1">
              <a:solidFill>
                <a:srgbClr val="FF0000"/>
              </a:solidFill>
              <a:latin typeface="Arial"/>
            </a:endParaRPr>
          </a:p>
        </p:txBody>
      </p:sp>
      <p:sp>
        <p:nvSpPr>
          <p:cNvPr id="42" name="CuadroTexto 44_0"/>
          <p:cNvSpPr/>
          <p:nvPr/>
        </p:nvSpPr>
        <p:spPr>
          <a:xfrm>
            <a:off x="551809" y="3874673"/>
            <a:ext cx="3919320" cy="195438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r>
              <a:rPr lang="es-ES" sz="1100" b="1" spc="-1">
                <a:ea typeface="+mn-lt"/>
                <a:cs typeface="+mn-lt"/>
              </a:rPr>
              <a:t>ASM Web </a:t>
            </a:r>
            <a:r>
              <a:rPr lang="es-ES" sz="1100" b="1" spc="-1" err="1">
                <a:ea typeface="+mn-lt"/>
                <a:cs typeface="+mn-lt"/>
              </a:rPr>
              <a:t>Services</a:t>
            </a:r>
            <a:endParaRPr lang="es-ES">
              <a:ea typeface="+mn-lt"/>
              <a:cs typeface="+mn-lt"/>
            </a:endParaRPr>
          </a:p>
          <a:p>
            <a:pPr algn="just"/>
            <a:r>
              <a:rPr lang="es-ES" sz="1100" spc="-1">
                <a:latin typeface="Soho Gothic Pro Light"/>
                <a:cs typeface="Arial"/>
              </a:rPr>
              <a:t>Desarrollador </a:t>
            </a:r>
            <a:r>
              <a:rPr lang="es-ES" sz="1100" spc="-1" err="1">
                <a:latin typeface="Soho Gothic Pro Light"/>
                <a:cs typeface="Arial"/>
              </a:rPr>
              <a:t>fullstack</a:t>
            </a:r>
            <a:endParaRPr lang="es-ES" sz="1100" spc="-1">
              <a:latin typeface="Soho Gothic Pro Light"/>
              <a:cs typeface="Arial"/>
            </a:endParaRPr>
          </a:p>
          <a:p>
            <a:pPr algn="just"/>
            <a:endParaRPr lang="es-ES" sz="1100" b="0" strike="noStrike" spc="-1">
              <a:solidFill>
                <a:srgbClr val="FF0000"/>
              </a:solidFill>
              <a:latin typeface="Soho Gothic Pro Light"/>
              <a:cs typeface="Arial"/>
            </a:endParaRPr>
          </a:p>
          <a:p>
            <a:pPr algn="just">
              <a:buClr>
                <a:srgbClr val="1A3B47"/>
              </a:buClr>
              <a:buFont typeface="Arial"/>
              <a:buChar char="•"/>
            </a:pPr>
            <a:r>
              <a:rPr lang="es-ES" sz="1100" spc="-1">
                <a:ea typeface="+mn-lt"/>
                <a:cs typeface="+mn-lt"/>
              </a:rPr>
              <a:t>  Desarrollador Scala. </a:t>
            </a:r>
            <a:endParaRPr lang="es-ES"/>
          </a:p>
          <a:p>
            <a:pPr algn="just">
              <a:buClr>
                <a:srgbClr val="1A3B47"/>
              </a:buClr>
              <a:buFont typeface="Arial"/>
              <a:buChar char="•"/>
            </a:pPr>
            <a:r>
              <a:rPr lang="es-ES" sz="1100" spc="-1">
                <a:ea typeface="+mn-lt"/>
                <a:cs typeface="+mn-lt"/>
              </a:rPr>
              <a:t> Involucrado en el desarrollo de una aplicación de gestión de precios dinámicos de alto rendimiento</a:t>
            </a:r>
            <a:endParaRPr lang="es-ES">
              <a:ea typeface="+mn-lt"/>
              <a:cs typeface="+mn-lt"/>
            </a:endParaRPr>
          </a:p>
          <a:p>
            <a:pPr algn="just">
              <a:buClr>
                <a:srgbClr val="1A3B47"/>
              </a:buClr>
              <a:buFont typeface="Arial"/>
              <a:buChar char="•"/>
            </a:pPr>
            <a:r>
              <a:rPr lang="es-ES" sz="1100" spc="-1">
                <a:ea typeface="+mn-lt"/>
                <a:cs typeface="+mn-lt"/>
              </a:rPr>
              <a:t> Tecnologías "</a:t>
            </a:r>
            <a:r>
              <a:rPr lang="es-ES" sz="1100" spc="-1" err="1">
                <a:ea typeface="+mn-lt"/>
                <a:cs typeface="+mn-lt"/>
              </a:rPr>
              <a:t>type</a:t>
            </a:r>
            <a:r>
              <a:rPr lang="es-ES" sz="1100" spc="-1">
                <a:ea typeface="+mn-lt"/>
                <a:cs typeface="+mn-lt"/>
              </a:rPr>
              <a:t> </a:t>
            </a:r>
            <a:r>
              <a:rPr lang="es-ES" sz="1100" spc="-1" err="1">
                <a:ea typeface="+mn-lt"/>
                <a:cs typeface="+mn-lt"/>
              </a:rPr>
              <a:t>safe</a:t>
            </a:r>
            <a:r>
              <a:rPr lang="es-ES" sz="1100" spc="-1">
                <a:ea typeface="+mn-lt"/>
                <a:cs typeface="+mn-lt"/>
              </a:rPr>
              <a:t>" como Scala, Akka, Play Framework, </a:t>
            </a:r>
            <a:r>
              <a:rPr lang="es-ES" sz="1100" spc="-1" err="1">
                <a:ea typeface="+mn-lt"/>
                <a:cs typeface="+mn-lt"/>
              </a:rPr>
              <a:t>Slick</a:t>
            </a:r>
            <a:r>
              <a:rPr lang="es-ES" sz="1100" spc="-1">
                <a:ea typeface="+mn-lt"/>
                <a:cs typeface="+mn-lt"/>
              </a:rPr>
              <a:t>.</a:t>
            </a:r>
            <a:endParaRPr lang="es-ES" sz="1750">
              <a:ea typeface="+mn-lt"/>
              <a:cs typeface="+mn-lt"/>
            </a:endParaRPr>
          </a:p>
          <a:p>
            <a:pPr algn="just">
              <a:buClr>
                <a:srgbClr val="1A3B47"/>
              </a:buClr>
              <a:buFont typeface="Arial"/>
              <a:buChar char="•"/>
            </a:pPr>
            <a:r>
              <a:rPr lang="es-ES" sz="1100" spc="-1">
                <a:ea typeface="+mn-lt"/>
                <a:cs typeface="+mn-lt"/>
              </a:rPr>
              <a:t> Bases de datos: </a:t>
            </a:r>
            <a:r>
              <a:rPr lang="es-ES" sz="1100" spc="-1" err="1">
                <a:ea typeface="+mn-lt"/>
                <a:cs typeface="+mn-lt"/>
              </a:rPr>
              <a:t>cassandra</a:t>
            </a:r>
            <a:r>
              <a:rPr lang="es-ES" sz="1100" spc="-1">
                <a:ea typeface="+mn-lt"/>
                <a:cs typeface="+mn-lt"/>
              </a:rPr>
              <a:t>, Redis i bases de datos relaciones. </a:t>
            </a:r>
            <a:endParaRPr lang="es-ES" sz="1750"/>
          </a:p>
          <a:p>
            <a:pPr marL="171450" indent="-171450" algn="just">
              <a:buClr>
                <a:srgbClr val="1A3B47"/>
              </a:buClr>
              <a:buFont typeface="Arial,Sans-Serif"/>
              <a:buChar char="•"/>
            </a:pPr>
            <a:r>
              <a:rPr lang="es-ES" sz="1100" spc="-1">
                <a:ea typeface="+mn-lt"/>
                <a:cs typeface="+mn-lt"/>
              </a:rPr>
              <a:t> Desarrollo continuo, sprint </a:t>
            </a:r>
            <a:r>
              <a:rPr lang="es-ES" sz="1100" spc="-1" err="1">
                <a:ea typeface="+mn-lt"/>
                <a:cs typeface="+mn-lt"/>
              </a:rPr>
              <a:t>planning</a:t>
            </a:r>
            <a:r>
              <a:rPr lang="es-ES" sz="1100" spc="-1">
                <a:ea typeface="+mn-lt"/>
                <a:cs typeface="+mn-lt"/>
              </a:rPr>
              <a:t>, SCRUM. </a:t>
            </a:r>
          </a:p>
          <a:p>
            <a:pPr algn="just">
              <a:buClr>
                <a:srgbClr val="1A3B47"/>
              </a:buClr>
              <a:buFont typeface="Arial"/>
              <a:buChar char="•"/>
            </a:pPr>
            <a:r>
              <a:rPr lang="es-ES" sz="1100" spc="-1">
                <a:ea typeface="+mn-lt"/>
                <a:cs typeface="+mn-lt"/>
              </a:rPr>
              <a:t>  Docker para el despliegue en producción </a:t>
            </a:r>
            <a:endParaRPr lang="es-ES">
              <a:ea typeface="+mn-lt"/>
              <a:cs typeface="+mn-lt"/>
            </a:endParaRPr>
          </a:p>
          <a:p>
            <a:pPr algn="just">
              <a:buClr>
                <a:srgbClr val="1A3B47"/>
              </a:buClr>
              <a:buFont typeface="Arial"/>
              <a:buChar char="•"/>
            </a:pPr>
            <a:r>
              <a:rPr lang="es-ES" sz="1100" spc="-1">
                <a:ea typeface="+mn-lt"/>
                <a:cs typeface="+mn-lt"/>
              </a:rPr>
              <a:t> Desarrollador frontal bajo demanda</a:t>
            </a:r>
            <a:endParaRPr lang="es-ES" sz="1100" spc="-1">
              <a:solidFill>
                <a:srgbClr val="1A3B47"/>
              </a:solidFill>
            </a:endParaRPr>
          </a:p>
        </p:txBody>
      </p:sp>
      <p:sp>
        <p:nvSpPr>
          <p:cNvPr id="43" name="CuadroTexto 39_0"/>
          <p:cNvSpPr/>
          <p:nvPr/>
        </p:nvSpPr>
        <p:spPr>
          <a:xfrm>
            <a:off x="132106" y="3875829"/>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t>2018</a:t>
            </a:r>
            <a:endParaRPr lang="es-ES" sz="1750"/>
          </a:p>
          <a:p>
            <a:pPr>
              <a:lnSpc>
                <a:spcPct val="100000"/>
              </a:lnSpc>
            </a:pPr>
            <a:r>
              <a:rPr lang="es-ES" sz="900" b="1" spc="-1">
                <a:ea typeface="Soho Gothic Pro Light"/>
              </a:rPr>
              <a:t>—</a:t>
            </a:r>
            <a:endParaRPr lang="es-ES" sz="900" b="1" spc="-1">
              <a:latin typeface="Arial"/>
              <a:cs typeface="Arial"/>
            </a:endParaRPr>
          </a:p>
          <a:p>
            <a:pPr>
              <a:lnSpc>
                <a:spcPct val="100000"/>
              </a:lnSpc>
            </a:pPr>
            <a:r>
              <a:rPr lang="es-ES" sz="900" b="1" spc="-1"/>
              <a:t>2016</a:t>
            </a:r>
            <a:endParaRPr lang="es-ES" sz="900" spc="-1">
              <a:latin typeface="Arial"/>
              <a:cs typeface="Arial"/>
            </a:endParaRPr>
          </a:p>
          <a:p>
            <a:pPr>
              <a:lnSpc>
                <a:spcPct val="100000"/>
              </a:lnSpc>
            </a:pPr>
            <a:endParaRPr lang="es-ES" sz="900" b="0" strike="noStrike" spc="-1">
              <a:solidFill>
                <a:srgbClr val="FF0000"/>
              </a:solidFill>
              <a:latin typeface="Arial"/>
            </a:endParaRPr>
          </a:p>
        </p:txBody>
      </p:sp>
      <p:sp>
        <p:nvSpPr>
          <p:cNvPr id="30" name="CuadroTexto 73_0">
            <a:extLst>
              <a:ext uri="{FF2B5EF4-FFF2-40B4-BE49-F238E27FC236}">
                <a16:creationId xmlns:a16="http://schemas.microsoft.com/office/drawing/2014/main" id="{0C39A405-C1C7-4731-9129-A381A2397B72}"/>
              </a:ext>
            </a:extLst>
          </p:cNvPr>
          <p:cNvSpPr/>
          <p:nvPr/>
        </p:nvSpPr>
        <p:spPr>
          <a:xfrm>
            <a:off x="9430199" y="1045297"/>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latin typeface="Soho Gothic Pro Medium"/>
              </a:rPr>
              <a:t>2020</a:t>
            </a:r>
            <a:endParaRPr lang="es-ES" sz="900" b="0" strike="noStrike" spc="-1">
              <a:latin typeface="Arial"/>
              <a:cs typeface="Arial"/>
            </a:endParaRPr>
          </a:p>
          <a:p>
            <a:pPr>
              <a:lnSpc>
                <a:spcPct val="100000"/>
              </a:lnSpc>
            </a:pPr>
            <a:r>
              <a:rPr lang="es-ES" sz="900" b="0" strike="noStrike" spc="-1">
                <a:latin typeface="Soho Gothic Pro Medium"/>
              </a:rPr>
              <a:t>—</a:t>
            </a:r>
            <a:endParaRPr lang="es-ES" sz="900" b="0" strike="noStrike" spc="-1">
              <a:latin typeface="Arial"/>
              <a:cs typeface="Arial"/>
            </a:endParaRPr>
          </a:p>
          <a:p>
            <a:pPr>
              <a:lnSpc>
                <a:spcPct val="100000"/>
              </a:lnSpc>
            </a:pPr>
            <a:r>
              <a:rPr lang="es-ES" sz="900" spc="-1" err="1">
                <a:latin typeface="Soho Gothic Pro Medium"/>
              </a:rPr>
              <a:t>Act</a:t>
            </a:r>
            <a:r>
              <a:rPr lang="es-ES" sz="900" spc="-1">
                <a:latin typeface="Soho Gothic Pro Medium"/>
              </a:rPr>
              <a:t>.</a:t>
            </a:r>
            <a:endParaRPr lang="es-ES" sz="900" b="0" strike="noStrike" spc="-1">
              <a:latin typeface="Arial"/>
            </a:endParaRPr>
          </a:p>
        </p:txBody>
      </p:sp>
      <p:sp>
        <p:nvSpPr>
          <p:cNvPr id="22" name="CuadroTexto 50_0"/>
          <p:cNvSpPr/>
          <p:nvPr/>
        </p:nvSpPr>
        <p:spPr>
          <a:xfrm>
            <a:off x="9536040" y="2031480"/>
            <a:ext cx="265104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n-US" sz="1000"/>
              <a:t>Google Cloud Fundamentals Big Data &amp; Machine Learning</a:t>
            </a:r>
          </a:p>
        </p:txBody>
      </p:sp>
      <p:sp>
        <p:nvSpPr>
          <p:cNvPr id="23" name="CuadroTexto 33_0"/>
          <p:cNvSpPr/>
          <p:nvPr/>
        </p:nvSpPr>
        <p:spPr>
          <a:xfrm>
            <a:off x="9540000" y="1620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latin typeface="Soho Gothic Pro Light"/>
              </a:rPr>
              <a:t>Cursos Relevantes</a:t>
            </a:r>
            <a:endParaRPr lang="es-ES" sz="1200" b="0" strike="noStrike" spc="-1">
              <a:latin typeface="Arial"/>
            </a:endParaRPr>
          </a:p>
        </p:txBody>
      </p:sp>
    </p:spTree>
    <p:extLst>
      <p:ext uri="{BB962C8B-B14F-4D97-AF65-F5344CB8AC3E}">
        <p14:creationId xmlns:p14="http://schemas.microsoft.com/office/powerpoint/2010/main" val="18999416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738664"/>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marL="0" lvl="1" algn="just" defTabSz="914377">
              <a:buClr>
                <a:srgbClr val="1A3B47"/>
              </a:buClr>
              <a:defRPr b="0" i="0"/>
            </a:pPr>
            <a:r>
              <a:rPr lang="es-ES" sz="1400" spc="-1">
                <a:ea typeface="Soho Gothic Pro Light"/>
              </a:rPr>
              <a:t>Ingeniero Industrial pero he estado analizando datos y ayudando a los clientes a tomar las mejores decisiones desde el principio de mi carrera. Siempre he estado trabajando para consultoras tecnológicas, concretamente en el departamento de </a:t>
            </a:r>
            <a:r>
              <a:rPr lang="es-ES" sz="1400" spc="-1" err="1">
                <a:ea typeface="Soho Gothic Pro Light"/>
              </a:rPr>
              <a:t>business</a:t>
            </a:r>
            <a:r>
              <a:rPr lang="es-ES" sz="1400" spc="-1">
                <a:ea typeface="Soho Gothic Pro Light"/>
              </a:rPr>
              <a:t> </a:t>
            </a:r>
            <a:r>
              <a:rPr lang="es-ES" sz="1400" spc="-1" err="1">
                <a:ea typeface="Soho Gothic Pro Light"/>
              </a:rPr>
              <a:t>intelligence</a:t>
            </a:r>
            <a:r>
              <a:rPr lang="es-ES" sz="1400" spc="-1">
                <a:ea typeface="Soho Gothic Pro Light"/>
              </a:rPr>
              <a:t> y actualmente trabajo en el departamento de BigData llevando la gestión de los distintos proyectos en la ATC</a:t>
            </a:r>
            <a:endParaRPr lang="es-ES" sz="1067"/>
          </a:p>
        </p:txBody>
      </p:sp>
      <p:sp>
        <p:nvSpPr>
          <p:cNvPr id="102" name="CuadroTexto 54_0"/>
          <p:cNvSpPr/>
          <p:nvPr/>
        </p:nvSpPr>
        <p:spPr>
          <a:xfrm>
            <a:off x="9438480" y="5748343"/>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diomas</a:t>
            </a:r>
            <a:endParaRPr lang="es-ES" sz="1200" b="0" strike="noStrike" spc="-1">
              <a:latin typeface="Arial"/>
            </a:endParaRPr>
          </a:p>
        </p:txBody>
      </p:sp>
      <p:sp>
        <p:nvSpPr>
          <p:cNvPr id="103" name="CuadroTexto 55_0"/>
          <p:cNvSpPr/>
          <p:nvPr/>
        </p:nvSpPr>
        <p:spPr>
          <a:xfrm>
            <a:off x="9474840" y="6102583"/>
            <a:ext cx="2712240" cy="86177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b="1" strike="noStrike" spc="-1">
                <a:latin typeface="Soho Gothic Pro Light"/>
                <a:ea typeface="Soho Gothic Pro Light"/>
              </a:rPr>
              <a:t>Castellano - </a:t>
            </a:r>
            <a:r>
              <a:rPr lang="es-ES" sz="1000" b="0" strike="noStrike" spc="-1">
                <a:latin typeface="Soho Gothic Pro Light"/>
                <a:ea typeface="Soho Gothic Pro Light"/>
              </a:rPr>
              <a:t>Nativo</a:t>
            </a:r>
          </a:p>
          <a:p>
            <a:pPr>
              <a:lnSpc>
                <a:spcPct val="100000"/>
              </a:lnSpc>
            </a:pPr>
            <a:r>
              <a:rPr lang="ca-ES" sz="1000" b="1" spc="-1" err="1">
                <a:latin typeface="Soho Gothic Pro Light"/>
                <a:ea typeface="Soho Gothic Pro Light"/>
              </a:rPr>
              <a:t>Catalán</a:t>
            </a:r>
            <a:r>
              <a:rPr lang="ca-ES" sz="1000" b="1" spc="-1">
                <a:ea typeface="Soho Gothic Pro Light"/>
              </a:rPr>
              <a:t>  </a:t>
            </a:r>
            <a:r>
              <a:rPr lang="ca-ES" sz="1000" spc="-1">
                <a:ea typeface="Soho Gothic Pro Light"/>
              </a:rPr>
              <a:t>- </a:t>
            </a:r>
            <a:r>
              <a:rPr lang="ca-ES" sz="1000" spc="-1" err="1">
                <a:ea typeface="Soho Gothic Pro Light"/>
              </a:rPr>
              <a:t>Nativo</a:t>
            </a:r>
            <a:r>
              <a:rPr lang="ca-ES" sz="1000" spc="-1">
                <a:latin typeface="Soho Gothic Pro Light"/>
                <a:ea typeface="Soho Gothic Pro Light"/>
              </a:rPr>
              <a:t> </a:t>
            </a:r>
            <a:r>
              <a:rPr lang="ca-ES"/>
              <a:t/>
            </a:r>
            <a:br>
              <a:rPr lang="ca-ES"/>
            </a:br>
            <a:r>
              <a:rPr lang="es-ES" sz="1000" b="1" strike="noStrike" spc="-1">
                <a:latin typeface="Soho Gothic Pro Light"/>
                <a:ea typeface="Soho Gothic Pro Light"/>
              </a:rPr>
              <a:t>Ingles - </a:t>
            </a:r>
            <a:r>
              <a:rPr lang="es-ES" sz="1000" b="0" strike="noStrike" spc="-1">
                <a:latin typeface="Soho Gothic Pro Light"/>
                <a:ea typeface="Soho Gothic Pro Light"/>
              </a:rPr>
              <a:t>C1</a:t>
            </a:r>
            <a:endParaRPr lang="es-ES" sz="1000" b="0" strike="noStrike" spc="-1">
              <a:latin typeface="Arial"/>
            </a:endParaRPr>
          </a:p>
          <a:p>
            <a:pPr>
              <a:lnSpc>
                <a:spcPct val="100000"/>
              </a:lnSpc>
            </a:pPr>
            <a:endParaRPr lang="es-ES" sz="1000" b="0" strike="noStrike" spc="-1">
              <a:latin typeface="Arial"/>
            </a:endParaRPr>
          </a:p>
          <a:p>
            <a:pPr>
              <a:lnSpc>
                <a:spcPct val="100000"/>
              </a:lnSpc>
            </a:pPr>
            <a:endParaRPr lang="es-ES" sz="1000" b="0" strike="noStrike" spc="-1">
              <a:latin typeface="Arial"/>
            </a:endParaRPr>
          </a:p>
        </p:txBody>
      </p:sp>
      <p:sp>
        <p:nvSpPr>
          <p:cNvPr id="105" name="CuadroTexto 40_0"/>
          <p:cNvSpPr/>
          <p:nvPr/>
        </p:nvSpPr>
        <p:spPr>
          <a:xfrm>
            <a:off x="2818440" y="110520"/>
            <a:ext cx="3326040" cy="461665"/>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r>
              <a:rPr lang="es-ES" sz="2400" spc="-1">
                <a:solidFill>
                  <a:schemeClr val="bg1"/>
                </a:solidFill>
                <a:latin typeface="Soho Gothic Pro Medium"/>
              </a:rPr>
              <a:t>BigData </a:t>
            </a:r>
            <a:r>
              <a:rPr lang="es-ES" sz="2400" spc="-1" err="1">
                <a:solidFill>
                  <a:schemeClr val="bg1"/>
                </a:solidFill>
                <a:latin typeface="Soho Gothic Pro Medium"/>
              </a:rPr>
              <a:t>TeamLeader</a:t>
            </a:r>
            <a:endParaRPr lang="es-ES" sz="2400" spc="-1">
              <a:solidFill>
                <a:schemeClr val="bg1"/>
              </a:solidFill>
              <a:latin typeface="Soho Gothic Pro Medium"/>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D.F.L.</a:t>
            </a:r>
            <a:endParaRPr lang="es-ES" sz="2000" b="0" strike="noStrike" spc="-1">
              <a:solidFill>
                <a:schemeClr val="bg1"/>
              </a:solidFill>
              <a:latin typeface="Arial"/>
            </a:endParaRPr>
          </a:p>
        </p:txBody>
      </p:sp>
      <p:sp>
        <p:nvSpPr>
          <p:cNvPr id="109" name="CuadroTexto 37_0"/>
          <p:cNvSpPr/>
          <p:nvPr/>
        </p:nvSpPr>
        <p:spPr>
          <a:xfrm>
            <a:off x="9447480" y="3681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T</a:t>
            </a:r>
            <a:endParaRPr lang="es-ES" sz="1200" b="0" strike="noStrike" spc="-1">
              <a:latin typeface="Arial"/>
            </a:endParaRPr>
          </a:p>
        </p:txBody>
      </p:sp>
      <p:sp>
        <p:nvSpPr>
          <p:cNvPr id="110" name="CuadroTexto 52_0"/>
          <p:cNvSpPr/>
          <p:nvPr/>
        </p:nvSpPr>
        <p:spPr>
          <a:xfrm>
            <a:off x="9437040" y="4009680"/>
            <a:ext cx="2739600" cy="1169551"/>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n-US" sz="1000" b="1" strike="noStrike" spc="-1">
                <a:latin typeface="Soho Gothic Pro Light"/>
                <a:ea typeface="Soho Gothic Pro Light"/>
              </a:rPr>
              <a:t>Programming languages</a:t>
            </a:r>
            <a:r>
              <a:rPr lang="en-US" sz="1000" b="0" strike="noStrike" spc="-1">
                <a:latin typeface="Soho Gothic Pro Light"/>
                <a:ea typeface="Soho Gothic Pro Light"/>
              </a:rPr>
              <a:t>: </a:t>
            </a:r>
            <a:r>
              <a:rPr lang="en-US" sz="1000" i="1" spc="-1">
                <a:ea typeface="Soho Gothic Pro Light"/>
              </a:rPr>
              <a:t>OBIEE, </a:t>
            </a:r>
            <a:r>
              <a:rPr lang="en-US" sz="1000" i="1" spc="-1" err="1">
                <a:ea typeface="Soho Gothic Pro Light"/>
              </a:rPr>
              <a:t>Qlikview</a:t>
            </a:r>
            <a:r>
              <a:rPr lang="en-US" sz="1000" i="1" spc="-1">
                <a:ea typeface="Soho Gothic Pro Light"/>
              </a:rPr>
              <a:t>, </a:t>
            </a:r>
            <a:r>
              <a:rPr lang="en-US" sz="1000" i="1" spc="-1" err="1">
                <a:ea typeface="Soho Gothic Pro Light"/>
              </a:rPr>
              <a:t>QlikSense</a:t>
            </a:r>
            <a:r>
              <a:rPr lang="en-US" sz="1000" i="1" spc="-1">
                <a:ea typeface="Soho Gothic Pro Light"/>
              </a:rPr>
              <a:t>, Tableau, </a:t>
            </a:r>
            <a:r>
              <a:rPr lang="en-US" sz="1000" i="1" spc="-1" err="1">
                <a:ea typeface="Soho Gothic Pro Light"/>
              </a:rPr>
              <a:t>Microstrategy</a:t>
            </a:r>
            <a:endParaRPr lang="en-US" sz="1000" i="1" spc="-1">
              <a:ea typeface="Soho Gothic Pro Light"/>
            </a:endParaRPr>
          </a:p>
          <a:p>
            <a:r>
              <a:rPr lang="en-US" sz="1000" b="1" strike="noStrike" spc="-1">
                <a:latin typeface="Soho Gothic Pro Light"/>
                <a:ea typeface="Soho Gothic Pro Light"/>
              </a:rPr>
              <a:t>Databases: </a:t>
            </a:r>
            <a:r>
              <a:rPr lang="en-US" sz="1000" i="1" spc="-1">
                <a:ea typeface="Soho Gothic Pro Light"/>
              </a:rPr>
              <a:t>Oracle </a:t>
            </a:r>
            <a:r>
              <a:rPr lang="en-US" sz="1000" i="1" spc="-1" err="1">
                <a:ea typeface="Soho Gothic Pro Light"/>
              </a:rPr>
              <a:t>Bussines</a:t>
            </a:r>
            <a:r>
              <a:rPr lang="en-US" sz="1000" i="1" spc="-1">
                <a:ea typeface="Soho Gothic Pro Light"/>
              </a:rPr>
              <a:t> Intelligence (OBIEE)</a:t>
            </a:r>
          </a:p>
          <a:p>
            <a:pPr>
              <a:lnSpc>
                <a:spcPct val="100000"/>
              </a:lnSpc>
            </a:pPr>
            <a:r>
              <a:rPr lang="en-US" sz="1000" b="1" strike="noStrike" spc="-1" err="1">
                <a:latin typeface="Soho Gothic Pro Light"/>
                <a:ea typeface="Soho Gothic Pro Light"/>
              </a:rPr>
              <a:t>Gestión</a:t>
            </a:r>
            <a:r>
              <a:rPr lang="en-US" sz="1000" b="0" strike="noStrike" spc="-1">
                <a:latin typeface="Soho Gothic Pro Light"/>
                <a:ea typeface="Soho Gothic Pro Light"/>
              </a:rPr>
              <a:t>: </a:t>
            </a:r>
            <a:r>
              <a:rPr lang="en-US" sz="1000" i="1" spc="-1">
                <a:ea typeface="Soho Gothic Pro Light"/>
              </a:rPr>
              <a:t>Jira</a:t>
            </a:r>
          </a:p>
          <a:p>
            <a:pPr>
              <a:lnSpc>
                <a:spcPct val="100000"/>
              </a:lnSpc>
            </a:pPr>
            <a:r>
              <a:rPr lang="en-US" sz="1000" b="1" spc="-1">
                <a:ea typeface="Soho Gothic Pro Light"/>
              </a:rPr>
              <a:t>Agile</a:t>
            </a:r>
            <a:r>
              <a:rPr lang="en-US" sz="1000" spc="-1">
                <a:ea typeface="Soho Gothic Pro Light"/>
              </a:rPr>
              <a:t>: </a:t>
            </a:r>
            <a:r>
              <a:rPr lang="en-US" sz="1000" i="1" spc="-1">
                <a:ea typeface="Soho Gothic Pro Light"/>
              </a:rPr>
              <a:t>Scrum/Kanban</a:t>
            </a:r>
          </a:p>
          <a:p>
            <a:pPr>
              <a:lnSpc>
                <a:spcPct val="100000"/>
              </a:lnSpc>
            </a:pPr>
            <a:r>
              <a:rPr lang="en-US" sz="1000" b="1" spc="-1" err="1">
                <a:ea typeface="Soho Gothic Pro Light"/>
              </a:rPr>
              <a:t>Otros</a:t>
            </a:r>
            <a:r>
              <a:rPr lang="en-US" sz="1000" b="1" spc="-1">
                <a:ea typeface="Soho Gothic Pro Light"/>
              </a:rPr>
              <a:t>: </a:t>
            </a:r>
            <a:r>
              <a:rPr lang="es-ES" sz="1000" i="1" spc="-1">
                <a:ea typeface="Soho Gothic Pro Light"/>
              </a:rPr>
              <a:t>Responsable, analítico, aprende rápido, orientado al detalle</a:t>
            </a:r>
            <a:endParaRPr lang="en-US" sz="1000" i="1" spc="-1">
              <a:ea typeface="Soho Gothic Pro Light"/>
            </a:endParaRPr>
          </a:p>
        </p:txBody>
      </p:sp>
      <p:sp>
        <p:nvSpPr>
          <p:cNvPr id="111" name="CuadroTexto 50_0"/>
          <p:cNvSpPr/>
          <p:nvPr/>
        </p:nvSpPr>
        <p:spPr>
          <a:xfrm>
            <a:off x="9536040" y="2031480"/>
            <a:ext cx="265104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spc="-1">
                <a:latin typeface="Soho Gothic Pro Light"/>
                <a:ea typeface="Soho Gothic Pro Light"/>
              </a:rPr>
              <a:t>2018</a:t>
            </a:r>
            <a:r>
              <a:rPr lang="es-ES" sz="1000" b="0" strike="noStrike" spc="-1">
                <a:latin typeface="Soho Gothic Pro Light"/>
                <a:ea typeface="Soho Gothic Pro Light"/>
              </a:rPr>
              <a:t> | </a:t>
            </a:r>
            <a:r>
              <a:rPr lang="en-US" sz="1000" spc="-1">
                <a:ea typeface="Soho Gothic Pro Light"/>
              </a:rPr>
              <a:t>Scrum Master Certified by Scrum Study</a:t>
            </a:r>
            <a:endParaRPr lang="es-ES" sz="1000" spc="-1">
              <a:ea typeface="Soho Gothic Pro Light"/>
            </a:endParaRPr>
          </a:p>
          <a:p>
            <a:pPr>
              <a:lnSpc>
                <a:spcPct val="100000"/>
              </a:lnSpc>
            </a:pPr>
            <a:endParaRPr lang="es-ES" sz="1000" spc="-1">
              <a:ea typeface="Soho Gothic Pro Light"/>
            </a:endParaRPr>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Educación</a:t>
            </a:r>
            <a:endParaRPr lang="es-ES" sz="1200" b="0" strike="noStrike" spc="-1">
              <a:latin typeface="Arial"/>
            </a:endParaRPr>
          </a:p>
        </p:txBody>
      </p:sp>
      <p:sp>
        <p:nvSpPr>
          <p:cNvPr id="113" name="CuadroTexto 70_0"/>
          <p:cNvSpPr/>
          <p:nvPr/>
        </p:nvSpPr>
        <p:spPr>
          <a:xfrm>
            <a:off x="9827280" y="441123"/>
            <a:ext cx="2349360" cy="55399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spc="-1">
                <a:ea typeface="Soho Gothic Pro Light"/>
              </a:rPr>
              <a:t>Diplomado en </a:t>
            </a:r>
            <a:r>
              <a:rPr lang="es-ES" sz="1000" spc="-1" err="1">
                <a:ea typeface="Soho Gothic Pro Light"/>
              </a:rPr>
              <a:t>Ingenieria</a:t>
            </a:r>
            <a:r>
              <a:rPr lang="es-ES" sz="1000" spc="-1">
                <a:ea typeface="Soho Gothic Pro Light"/>
              </a:rPr>
              <a:t> Industrial </a:t>
            </a:r>
          </a:p>
          <a:p>
            <a:pPr>
              <a:lnSpc>
                <a:spcPct val="100000"/>
              </a:lnSpc>
            </a:pPr>
            <a:r>
              <a:rPr lang="es-ES" sz="1000" spc="-1">
                <a:ea typeface="Soho Gothic Pro Light"/>
              </a:rPr>
              <a:t>ETSEIB- UPC / </a:t>
            </a:r>
            <a:r>
              <a:rPr lang="es-ES" sz="1000" spc="-1" err="1">
                <a:ea typeface="Soho Gothic Pro Light"/>
              </a:rPr>
              <a:t>Chalmers</a:t>
            </a:r>
            <a:r>
              <a:rPr lang="es-ES" sz="1000" spc="-1">
                <a:ea typeface="Soho Gothic Pro Light"/>
              </a:rPr>
              <a:t> </a:t>
            </a:r>
            <a:r>
              <a:rPr lang="es-ES" sz="1000" spc="-1" err="1">
                <a:ea typeface="Soho Gothic Pro Light"/>
              </a:rPr>
              <a:t>University</a:t>
            </a:r>
            <a:r>
              <a:rPr lang="es-ES" sz="1000" spc="-1">
                <a:ea typeface="Soho Gothic Pro Light"/>
              </a:rPr>
              <a:t> of </a:t>
            </a:r>
            <a:r>
              <a:rPr lang="es-ES" sz="1000" spc="-1" err="1">
                <a:ea typeface="Soho Gothic Pro Light"/>
              </a:rPr>
              <a:t>Technology</a:t>
            </a:r>
            <a:r>
              <a:rPr lang="es-ES" sz="1000" spc="-1">
                <a:ea typeface="Soho Gothic Pro Light"/>
              </a:rPr>
              <a:t> (Suecia) </a:t>
            </a:r>
          </a:p>
        </p:txBody>
      </p:sp>
      <p:sp>
        <p:nvSpPr>
          <p:cNvPr id="114" name="CuadroTexto 73_0"/>
          <p:cNvSpPr/>
          <p:nvPr/>
        </p:nvSpPr>
        <p:spPr>
          <a:xfrm>
            <a:off x="9430200" y="456480"/>
            <a:ext cx="55152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spc="-1">
                <a:latin typeface="Soho Gothic Pro Medium"/>
              </a:rPr>
              <a:t>2009</a:t>
            </a:r>
            <a:endParaRPr lang="es-ES" sz="900" b="0" strike="noStrike" spc="-1">
              <a:latin typeface="Arial"/>
            </a:endParaRPr>
          </a:p>
          <a:p>
            <a:pPr>
              <a:lnSpc>
                <a:spcPct val="100000"/>
              </a:lnSpc>
            </a:pPr>
            <a:r>
              <a:rPr lang="es-ES" sz="900" b="0" strike="noStrike" spc="-1">
                <a:latin typeface="Soho Gothic Pro Medium"/>
              </a:rPr>
              <a:t>—</a:t>
            </a:r>
            <a:endParaRPr lang="es-ES" sz="900" b="0" strike="noStrike" spc="-1">
              <a:latin typeface="Arial"/>
            </a:endParaRPr>
          </a:p>
          <a:p>
            <a:pPr>
              <a:lnSpc>
                <a:spcPct val="100000"/>
              </a:lnSpc>
            </a:pPr>
            <a:r>
              <a:rPr lang="es-ES" sz="900" b="0" strike="noStrike" spc="-1">
                <a:latin typeface="Soho Gothic Pro Medium"/>
              </a:rPr>
              <a:t>2015</a:t>
            </a:r>
            <a:endParaRPr lang="es-ES" sz="900" b="0" strike="noStrike" spc="-1">
              <a:latin typeface="Arial"/>
            </a:endParaRPr>
          </a:p>
        </p:txBody>
      </p:sp>
      <p:sp>
        <p:nvSpPr>
          <p:cNvPr id="117" name="CuadroTexto 33_0"/>
          <p:cNvSpPr/>
          <p:nvPr/>
        </p:nvSpPr>
        <p:spPr>
          <a:xfrm>
            <a:off x="9540000" y="1620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latin typeface="Soho Gothic Pro Light"/>
              </a:rPr>
              <a:t>Cursos Relevantes</a:t>
            </a:r>
            <a:endParaRPr lang="es-ES" sz="1200" b="0" strike="noStrike" spc="-1">
              <a:latin typeface="Arial"/>
            </a:endParaRPr>
          </a:p>
        </p:txBody>
      </p:sp>
      <p:sp>
        <p:nvSpPr>
          <p:cNvPr id="37" name="CuadroTexto 30_0"/>
          <p:cNvSpPr/>
          <p:nvPr/>
        </p:nvSpPr>
        <p:spPr>
          <a:xfrm>
            <a:off x="5961185" y="152640"/>
            <a:ext cx="3397016"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Daniel Fontanet Losquiño</a:t>
            </a:r>
            <a:endParaRPr lang="es-ES" sz="2000" b="0" strike="noStrike" spc="-1">
              <a:solidFill>
                <a:schemeClr val="bg1"/>
              </a:solidFill>
              <a:latin typeface="Arial"/>
            </a:endParaRPr>
          </a:p>
        </p:txBody>
      </p:sp>
      <p:sp>
        <p:nvSpPr>
          <p:cNvPr id="27" name="CuadroTexto 44_0"/>
          <p:cNvSpPr/>
          <p:nvPr/>
        </p:nvSpPr>
        <p:spPr>
          <a:xfrm>
            <a:off x="685800" y="1582190"/>
            <a:ext cx="4215600" cy="2462213"/>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lnSpc>
                <a:spcPct val="100000"/>
              </a:lnSpc>
            </a:pPr>
            <a:r>
              <a:rPr lang="es-ES" sz="1100" b="1" strike="noStrike" spc="-1" err="1">
                <a:latin typeface="Soho Gothic Pro Light"/>
                <a:ea typeface="Soho Gothic Pro Light"/>
              </a:rPr>
              <a:t>Minsait</a:t>
            </a:r>
            <a:r>
              <a:rPr lang="es-ES" sz="1100" b="1" strike="noStrike" spc="-1">
                <a:latin typeface="Soho Gothic Pro Light"/>
                <a:ea typeface="Soho Gothic Pro Light"/>
              </a:rPr>
              <a: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0" strike="noStrike" spc="-1">
              <a:latin typeface="Arial"/>
            </a:endParaRPr>
          </a:p>
          <a:p>
            <a:pPr algn="just">
              <a:lnSpc>
                <a:spcPct val="100000"/>
              </a:lnSpc>
            </a:pPr>
            <a:r>
              <a:rPr lang="es-ES" sz="1100" spc="-1" err="1">
                <a:latin typeface="Soho Gothic Pro Light"/>
                <a:ea typeface="Soho Gothic Pro Light"/>
              </a:rPr>
              <a:t>BigData</a:t>
            </a:r>
            <a:r>
              <a:rPr lang="es-ES" sz="1100" spc="-1">
                <a:latin typeface="Soho Gothic Pro Light"/>
                <a:ea typeface="Soho Gothic Pro Light"/>
              </a:rPr>
              <a:t> </a:t>
            </a:r>
            <a:r>
              <a:rPr lang="es-ES" sz="1100" spc="-1" err="1">
                <a:latin typeface="Soho Gothic Pro Light"/>
                <a:ea typeface="Soho Gothic Pro Light"/>
              </a:rPr>
              <a:t>Team</a:t>
            </a:r>
            <a:r>
              <a:rPr lang="es-ES" sz="1100" spc="-1">
                <a:latin typeface="Soho Gothic Pro Light"/>
                <a:ea typeface="Soho Gothic Pro Light"/>
              </a:rPr>
              <a:t> Leader</a:t>
            </a:r>
            <a:endParaRPr lang="es-ES" sz="1100" b="0" strike="noStrike" spc="-1">
              <a:latin typeface="Arial"/>
            </a:endParaRPr>
          </a:p>
          <a:p>
            <a:pPr marL="360" algn="just">
              <a:lnSpc>
                <a:spcPct val="100000"/>
              </a:lnSpc>
              <a:buClr>
                <a:srgbClr val="1A3B47"/>
              </a:buClr>
            </a:pPr>
            <a:endParaRPr lang="es-ES" sz="1100" spc="-1">
              <a:latin typeface="Arial"/>
            </a:endParaRPr>
          </a:p>
          <a:p>
            <a:pPr marL="360" algn="just">
              <a:lnSpc>
                <a:spcPct val="100000"/>
              </a:lnSpc>
              <a:buClr>
                <a:srgbClr val="1A3B47"/>
              </a:buClr>
            </a:pPr>
            <a:r>
              <a:rPr lang="es-ES" sz="1100" spc="-1"/>
              <a:t>Jefe de equipo de </a:t>
            </a:r>
            <a:r>
              <a:rPr lang="es-ES" sz="1100" spc="-1" err="1"/>
              <a:t>BigData</a:t>
            </a:r>
            <a:r>
              <a:rPr lang="es-ES" sz="1100" spc="-1"/>
              <a:t> en </a:t>
            </a:r>
            <a:r>
              <a:rPr lang="es-ES" sz="1100" spc="-1" err="1"/>
              <a:t>Minsait</a:t>
            </a:r>
            <a:r>
              <a:rPr lang="es-ES" sz="1100" spc="-1"/>
              <a:t> (Indra) trabajando para la agencia tributaria catalana. Gestionando el equipo de desarrollo de más de 9 personas en proyectos a partir de 800k€. Trabajo con una metodología ágil</a:t>
            </a:r>
          </a:p>
          <a:p>
            <a:pPr marL="360" algn="just">
              <a:lnSpc>
                <a:spcPct val="100000"/>
              </a:lnSpc>
              <a:buClr>
                <a:srgbClr val="1A3B47"/>
              </a:buClr>
            </a:pPr>
            <a:endParaRPr lang="es-ES" sz="1100" spc="-1"/>
          </a:p>
          <a:p>
            <a:pPr marL="171360" indent="-171000" algn="just">
              <a:lnSpc>
                <a:spcPct val="100000"/>
              </a:lnSpc>
              <a:buClr>
                <a:srgbClr val="1A3B47"/>
              </a:buClr>
              <a:buFont typeface="Arial,Sans-Serif"/>
              <a:buChar char="•"/>
            </a:pPr>
            <a:r>
              <a:rPr lang="es-ES" sz="1100" spc="-1"/>
              <a:t>Dirigir el equipo de desarrollo (10 personas)</a:t>
            </a:r>
          </a:p>
          <a:p>
            <a:pPr marL="171360" indent="-171000" algn="just">
              <a:lnSpc>
                <a:spcPct val="100000"/>
              </a:lnSpc>
              <a:buClr>
                <a:srgbClr val="1A3B47"/>
              </a:buClr>
              <a:buFont typeface="Arial,Sans-Serif"/>
              <a:buChar char="•"/>
            </a:pPr>
            <a:r>
              <a:rPr lang="es-ES" sz="1100" spc="-1"/>
              <a:t>Preparar las ofertas de los proyectos.</a:t>
            </a:r>
          </a:p>
          <a:p>
            <a:pPr marL="171360" indent="-171000" algn="just">
              <a:lnSpc>
                <a:spcPct val="100000"/>
              </a:lnSpc>
              <a:buClr>
                <a:srgbClr val="1A3B47"/>
              </a:buClr>
              <a:buFont typeface="Arial,Sans-Serif"/>
              <a:buChar char="•"/>
            </a:pPr>
            <a:r>
              <a:rPr lang="es-ES" sz="1100" spc="-1"/>
              <a:t>Gestión del cliente (Agencia Tributaria Catalana)</a:t>
            </a:r>
          </a:p>
          <a:p>
            <a:pPr marL="171360" indent="-171000" algn="just">
              <a:lnSpc>
                <a:spcPct val="100000"/>
              </a:lnSpc>
              <a:buClr>
                <a:srgbClr val="1A3B47"/>
              </a:buClr>
              <a:buFont typeface="Arial,Sans-Serif"/>
              <a:buChar char="•"/>
            </a:pPr>
            <a:r>
              <a:rPr lang="es-ES" sz="1100" spc="-1"/>
              <a:t>Planificación equipos de trabajo</a:t>
            </a:r>
          </a:p>
          <a:p>
            <a:pPr marL="171360" indent="-171000" algn="just">
              <a:lnSpc>
                <a:spcPct val="100000"/>
              </a:lnSpc>
              <a:buClr>
                <a:srgbClr val="1A3B47"/>
              </a:buClr>
              <a:buFont typeface="Arial,Sans-Serif"/>
              <a:buChar char="•"/>
            </a:pPr>
            <a:r>
              <a:rPr lang="es-ES" sz="1100" spc="-1"/>
              <a:t>Ayuda en ofertas comerciales de la compañía</a:t>
            </a:r>
          </a:p>
          <a:p>
            <a:pPr marL="360" algn="just">
              <a:lnSpc>
                <a:spcPct val="100000"/>
              </a:lnSpc>
              <a:buClr>
                <a:srgbClr val="1A3B47"/>
              </a:buClr>
            </a:pPr>
            <a:endParaRPr lang="es-ES" sz="1100" spc="-1"/>
          </a:p>
        </p:txBody>
      </p:sp>
      <p:sp>
        <p:nvSpPr>
          <p:cNvPr id="28" name="CuadroTexto 45_2"/>
          <p:cNvSpPr/>
          <p:nvPr/>
        </p:nvSpPr>
        <p:spPr>
          <a:xfrm>
            <a:off x="5312879" y="4545588"/>
            <a:ext cx="4007341" cy="1783650"/>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algn="just">
              <a:lnSpc>
                <a:spcPct val="100000"/>
              </a:lnSpc>
            </a:pPr>
            <a:r>
              <a:rPr lang="es-ES" sz="1100" b="1" spc="-1">
                <a:ea typeface="Soho Gothic Pro Light"/>
              </a:rPr>
              <a:t>SDG </a:t>
            </a:r>
            <a:r>
              <a:rPr lang="es-ES" sz="1100" b="1" spc="-1" err="1">
                <a:ea typeface="Soho Gothic Pro Light"/>
              </a:rPr>
              <a:t>Consulting</a:t>
            </a:r>
            <a:r>
              <a:rPr lang="es-ES" sz="1100" b="1" spc="-1">
                <a:ea typeface="Soho Gothic Pro Light"/>
              </a:rPr>
              <a:t> (Bélgica, USA)</a:t>
            </a:r>
            <a:endParaRPr lang="es-ES" sz="1100" spc="-1">
              <a:latin typeface="Arial"/>
            </a:endParaRPr>
          </a:p>
          <a:p>
            <a:pPr algn="just">
              <a:lnSpc>
                <a:spcPct val="100000"/>
              </a:lnSpc>
            </a:pPr>
            <a:r>
              <a:rPr lang="es-ES" sz="1100" spc="-1" err="1">
                <a:ea typeface="Soho Gothic Pro Light"/>
              </a:rPr>
              <a:t>Busines</a:t>
            </a:r>
            <a:r>
              <a:rPr lang="es-ES" sz="1100" spc="-1">
                <a:ea typeface="Soho Gothic Pro Light"/>
              </a:rPr>
              <a:t> </a:t>
            </a:r>
            <a:r>
              <a:rPr lang="es-ES" sz="1100" spc="-1" err="1">
                <a:ea typeface="Soho Gothic Pro Light"/>
              </a:rPr>
              <a:t>Intelligence</a:t>
            </a:r>
            <a:r>
              <a:rPr lang="es-ES" sz="1100" spc="-1">
                <a:ea typeface="Soho Gothic Pro Light"/>
              </a:rPr>
              <a:t> </a:t>
            </a:r>
            <a:r>
              <a:rPr lang="es-ES" sz="1100" spc="-1" err="1">
                <a:ea typeface="Soho Gothic Pro Light"/>
              </a:rPr>
              <a:t>Consultant</a:t>
            </a:r>
            <a:endParaRPr lang="es-ES" sz="1100" spc="-1">
              <a:ea typeface="Soho Gothic Pro Light"/>
            </a:endParaRPr>
          </a:p>
          <a:p>
            <a:pPr marL="360" algn="just">
              <a:buClr>
                <a:srgbClr val="1A3B47"/>
              </a:buClr>
            </a:pPr>
            <a:endParaRPr lang="es-ES" sz="1100" spc="-1">
              <a:latin typeface="Arial"/>
            </a:endParaRPr>
          </a:p>
          <a:p>
            <a:pPr marL="171360" indent="-171000" algn="just">
              <a:buClr>
                <a:srgbClr val="1A3B47"/>
              </a:buClr>
              <a:buFont typeface="Arial,Sans-Serif"/>
              <a:buChar char="•"/>
            </a:pPr>
            <a:r>
              <a:rPr lang="es-ES" sz="1100" spc="-1"/>
              <a:t>Mis principales responsabilidades eran</a:t>
            </a:r>
          </a:p>
          <a:p>
            <a:pPr marL="171360" indent="-171000" algn="just">
              <a:buClr>
                <a:srgbClr val="1A3B47"/>
              </a:buClr>
              <a:buFont typeface="Arial,Sans-Serif"/>
              <a:buChar char="•"/>
            </a:pPr>
            <a:r>
              <a:rPr lang="es-ES" sz="1100" spc="-1"/>
              <a:t>Entender los requisitos del cliente</a:t>
            </a:r>
          </a:p>
          <a:p>
            <a:pPr marL="171360" indent="-171000" algn="just">
              <a:buClr>
                <a:srgbClr val="1A3B47"/>
              </a:buClr>
              <a:buFont typeface="Arial,Sans-Serif"/>
              <a:buChar char="•"/>
            </a:pPr>
            <a:r>
              <a:rPr lang="es-ES" sz="1100" spc="-1"/>
              <a:t>Crear conexiones para importar datos de diversas fuentes: SAP, SharePoint, etc.</a:t>
            </a:r>
          </a:p>
          <a:p>
            <a:pPr marL="171360" indent="-171000" algn="just">
              <a:buClr>
                <a:srgbClr val="1A3B47"/>
              </a:buClr>
              <a:buFont typeface="Arial,Sans-Serif"/>
              <a:buChar char="•"/>
            </a:pPr>
            <a:r>
              <a:rPr lang="es-ES" sz="1100" spc="-1"/>
              <a:t>Diseñar y desarrollar cuadros de mando en </a:t>
            </a:r>
            <a:r>
              <a:rPr lang="es-ES" sz="1100" spc="-1" err="1"/>
              <a:t>QlikView</a:t>
            </a:r>
            <a:r>
              <a:rPr lang="es-ES" sz="1100" spc="-1"/>
              <a:t> y </a:t>
            </a:r>
            <a:r>
              <a:rPr lang="es-ES" sz="1100" spc="-1" err="1"/>
              <a:t>QlikSense</a:t>
            </a:r>
            <a:endParaRPr lang="es-ES" sz="1100" spc="-1"/>
          </a:p>
          <a:p>
            <a:pPr marL="171360" indent="-171000" algn="just">
              <a:buClr>
                <a:srgbClr val="1A3B47"/>
              </a:buClr>
              <a:buFont typeface="Arial,Sans-Serif"/>
              <a:buChar char="•"/>
            </a:pPr>
            <a:r>
              <a:rPr lang="es-ES" sz="1100" spc="-1"/>
              <a:t>Probar y documentar los procesos</a:t>
            </a:r>
          </a:p>
          <a:p>
            <a:pPr marL="171360" indent="-171000" algn="just">
              <a:buClr>
                <a:srgbClr val="1A3B47"/>
              </a:buClr>
              <a:buFont typeface="Arial,Sans-Serif"/>
              <a:buChar char="•"/>
            </a:pPr>
            <a:r>
              <a:rPr lang="es-ES" sz="1100" spc="-1"/>
              <a:t>Formar a los usuarios de los cuadros de mando</a:t>
            </a:r>
          </a:p>
        </p:txBody>
      </p:sp>
      <p:sp>
        <p:nvSpPr>
          <p:cNvPr id="29" name="CuadroTexto 48_2"/>
          <p:cNvSpPr/>
          <p:nvPr/>
        </p:nvSpPr>
        <p:spPr>
          <a:xfrm>
            <a:off x="4901400" y="4547871"/>
            <a:ext cx="839880" cy="5078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ea typeface="Soho Gothic Pro Light"/>
              </a:rPr>
              <a:t>2017</a:t>
            </a:r>
            <a:endParaRPr lang="es-ES" sz="900" b="1" spc="-1">
              <a:latin typeface="Arial"/>
            </a:endParaRPr>
          </a:p>
          <a:p>
            <a:pPr>
              <a:lnSpc>
                <a:spcPct val="100000"/>
              </a:lnSpc>
            </a:pPr>
            <a:r>
              <a:rPr lang="es-ES" sz="900" b="1" spc="-1">
                <a:ea typeface="Soho Gothic Pro Light"/>
              </a:rPr>
              <a:t>—</a:t>
            </a:r>
            <a:endParaRPr lang="es-ES" sz="900" b="1" spc="-1">
              <a:latin typeface="Arial"/>
            </a:endParaRPr>
          </a:p>
          <a:p>
            <a:pPr>
              <a:lnSpc>
                <a:spcPct val="100000"/>
              </a:lnSpc>
            </a:pPr>
            <a:r>
              <a:rPr lang="es-ES" sz="900" b="1" spc="-1">
                <a:ea typeface="Soho Gothic Pro Light"/>
              </a:rPr>
              <a:t>2015</a:t>
            </a:r>
            <a:endParaRPr lang="es-ES" sz="900" spc="-1">
              <a:latin typeface="Arial"/>
            </a:endParaRPr>
          </a:p>
        </p:txBody>
      </p:sp>
      <p:sp>
        <p:nvSpPr>
          <p:cNvPr id="32" name="CuadroTexto 39_0"/>
          <p:cNvSpPr/>
          <p:nvPr/>
        </p:nvSpPr>
        <p:spPr>
          <a:xfrm>
            <a:off x="240120" y="1548710"/>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ACT</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9</a:t>
            </a:r>
            <a:endParaRPr lang="es-ES" sz="900" b="1" strike="noStrike" spc="-1">
              <a:latin typeface="Arial"/>
            </a:endParaRPr>
          </a:p>
          <a:p>
            <a:pPr>
              <a:lnSpc>
                <a:spcPct val="100000"/>
              </a:lnSpc>
            </a:pPr>
            <a:endParaRPr lang="es-ES" sz="900" b="0" strike="noStrike" spc="-1">
              <a:latin typeface="Arial"/>
            </a:endParaRPr>
          </a:p>
        </p:txBody>
      </p:sp>
      <p:sp>
        <p:nvSpPr>
          <p:cNvPr id="38" name="CuadroTexto 44_0"/>
          <p:cNvSpPr/>
          <p:nvPr/>
        </p:nvSpPr>
        <p:spPr>
          <a:xfrm>
            <a:off x="685800" y="4545588"/>
            <a:ext cx="4215600" cy="212365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lnSpc>
                <a:spcPct val="100000"/>
              </a:lnSpc>
            </a:pPr>
            <a:r>
              <a:rPr lang="es-ES" sz="1100" b="1" strike="noStrike" spc="-1">
                <a:latin typeface="Soho Gothic Pro Light"/>
                <a:ea typeface="Soho Gothic Pro Light"/>
              </a:rPr>
              <a:t>VASS (Barcelona, España)</a:t>
            </a:r>
            <a:endParaRPr lang="es-ES" sz="1100" b="0" strike="noStrike" spc="-1">
              <a:latin typeface="Arial"/>
            </a:endParaRPr>
          </a:p>
          <a:p>
            <a:pPr algn="just">
              <a:lnSpc>
                <a:spcPct val="100000"/>
              </a:lnSpc>
            </a:pPr>
            <a:r>
              <a:rPr lang="es-ES" sz="1100" spc="-1">
                <a:latin typeface="Soho Gothic Pro Light"/>
                <a:ea typeface="Soho Gothic Pro Light"/>
              </a:rPr>
              <a:t>BI Senior </a:t>
            </a:r>
            <a:r>
              <a:rPr lang="es-ES" sz="1100" spc="-1" err="1">
                <a:latin typeface="Soho Gothic Pro Light"/>
                <a:ea typeface="Soho Gothic Pro Light"/>
              </a:rPr>
              <a:t>Consultant</a:t>
            </a:r>
            <a:endParaRPr lang="es-ES" sz="1100" b="0" strike="noStrike"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100" spc="-1"/>
              <a:t>Desarrollar nuevos cuadros de mando aplicando técnicas ágiles.</a:t>
            </a:r>
          </a:p>
          <a:p>
            <a:pPr marL="171360" indent="-171000" algn="just">
              <a:lnSpc>
                <a:spcPct val="100000"/>
              </a:lnSpc>
              <a:buClr>
                <a:srgbClr val="1A3B47"/>
              </a:buClr>
              <a:buFont typeface="Arial,Sans-Serif"/>
              <a:buChar char="•"/>
            </a:pPr>
            <a:r>
              <a:rPr lang="es-ES" sz="1100" spc="-1"/>
              <a:t>Dirigir el equipo de desarrollo.</a:t>
            </a:r>
          </a:p>
          <a:p>
            <a:pPr marL="171360" indent="-171000" algn="just">
              <a:lnSpc>
                <a:spcPct val="100000"/>
              </a:lnSpc>
              <a:buClr>
                <a:srgbClr val="1A3B47"/>
              </a:buClr>
              <a:buFont typeface="Arial,Sans-Serif"/>
              <a:buChar char="•"/>
            </a:pPr>
            <a:r>
              <a:rPr lang="es-ES" sz="1100" spc="-1"/>
              <a:t>Preparar las ofertas de los proyectos.</a:t>
            </a:r>
          </a:p>
          <a:p>
            <a:pPr marL="171360" indent="-171000" algn="just">
              <a:lnSpc>
                <a:spcPct val="100000"/>
              </a:lnSpc>
              <a:buClr>
                <a:srgbClr val="1A3B47"/>
              </a:buClr>
              <a:buFont typeface="Arial,Sans-Serif"/>
              <a:buChar char="•"/>
            </a:pPr>
            <a:r>
              <a:rPr lang="es-ES" sz="1100" spc="-1"/>
              <a:t>Programar en Oracle BI Publisher para entregar todos los informes automáticamente a la empresa</a:t>
            </a:r>
          </a:p>
          <a:p>
            <a:pPr marL="171360" indent="-171000" algn="just">
              <a:lnSpc>
                <a:spcPct val="100000"/>
              </a:lnSpc>
              <a:buClr>
                <a:srgbClr val="1A3B47"/>
              </a:buClr>
              <a:buFont typeface="Arial,Sans-Serif"/>
              <a:buChar char="•"/>
            </a:pPr>
            <a:r>
              <a:rPr lang="es-ES" sz="1100" spc="-1"/>
              <a:t>Comprensión funcional de los requisitos del cliente.</a:t>
            </a:r>
          </a:p>
          <a:p>
            <a:pPr marL="171360" indent="-171000" algn="just">
              <a:lnSpc>
                <a:spcPct val="100000"/>
              </a:lnSpc>
              <a:buClr>
                <a:srgbClr val="1A3B47"/>
              </a:buClr>
              <a:buFont typeface="Arial,Sans-Serif"/>
              <a:buChar char="•"/>
            </a:pPr>
            <a:r>
              <a:rPr lang="es-ES" sz="1100" spc="-1"/>
              <a:t>Formación de usuarios finales en OBIEE</a:t>
            </a:r>
          </a:p>
          <a:p>
            <a:pPr marL="171360" indent="-171000" algn="just">
              <a:lnSpc>
                <a:spcPct val="100000"/>
              </a:lnSpc>
              <a:buClr>
                <a:srgbClr val="1A3B47"/>
              </a:buClr>
              <a:buFont typeface="Arial,Sans-Serif"/>
              <a:buChar char="•"/>
            </a:pPr>
            <a:r>
              <a:rPr lang="es-ES" sz="1100" spc="-1"/>
              <a:t>Tareas de administración en Oracle Business </a:t>
            </a:r>
            <a:r>
              <a:rPr lang="es-ES" sz="1100" spc="-1" err="1"/>
              <a:t>Intelligence</a:t>
            </a:r>
            <a:r>
              <a:rPr lang="es-ES" sz="1100" spc="-1"/>
              <a:t> Enterprise </a:t>
            </a:r>
            <a:r>
              <a:rPr lang="es-ES" sz="1100" spc="-1" err="1"/>
              <a:t>Edition</a:t>
            </a:r>
            <a:endParaRPr lang="es-ES" sz="1100" spc="-1"/>
          </a:p>
        </p:txBody>
      </p:sp>
      <p:sp>
        <p:nvSpPr>
          <p:cNvPr id="39" name="CuadroTexto 39_0"/>
          <p:cNvSpPr/>
          <p:nvPr/>
        </p:nvSpPr>
        <p:spPr>
          <a:xfrm>
            <a:off x="240120" y="4547871"/>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9</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8</a:t>
            </a:r>
            <a:endParaRPr lang="es-ES" sz="900" b="1" strike="noStrike" spc="-1">
              <a:latin typeface="Arial"/>
            </a:endParaRPr>
          </a:p>
          <a:p>
            <a:pPr>
              <a:lnSpc>
                <a:spcPct val="100000"/>
              </a:lnSpc>
            </a:pPr>
            <a:endParaRPr lang="es-ES" sz="900" b="0" strike="noStrike" spc="-1">
              <a:solidFill>
                <a:srgbClr val="FF0000"/>
              </a:solidFill>
              <a:latin typeface="Arial"/>
            </a:endParaRPr>
          </a:p>
        </p:txBody>
      </p:sp>
      <p:sp>
        <p:nvSpPr>
          <p:cNvPr id="42" name="CuadroTexto 44_0"/>
          <p:cNvSpPr/>
          <p:nvPr/>
        </p:nvSpPr>
        <p:spPr>
          <a:xfrm>
            <a:off x="5400900" y="1582190"/>
            <a:ext cx="3919320" cy="1954381"/>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lnSpc>
                <a:spcPct val="100000"/>
              </a:lnSpc>
            </a:pPr>
            <a:r>
              <a:rPr lang="es-ES" sz="1100" b="1" strike="noStrike" spc="-1">
                <a:latin typeface="Soho Gothic Pro Light"/>
                <a:ea typeface="Soho Gothic Pro Light"/>
              </a:rPr>
              <a:t>Minsai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 </a:t>
            </a:r>
            <a:endParaRPr lang="es-ES" sz="1100" b="1" strike="noStrike" spc="-1">
              <a:latin typeface="Arial"/>
            </a:endParaRPr>
          </a:p>
          <a:p>
            <a:pPr algn="just">
              <a:lnSpc>
                <a:spcPct val="100000"/>
              </a:lnSpc>
            </a:pPr>
            <a:r>
              <a:rPr lang="es-ES" sz="1100" spc="-1">
                <a:latin typeface="Soho Gothic Pro Light"/>
                <a:ea typeface="Soho Gothic Pro Light"/>
              </a:rPr>
              <a:t>Consultor tecnológico</a:t>
            </a:r>
            <a:endParaRPr lang="es-ES" sz="1100" strike="noStrike" spc="-1">
              <a:latin typeface="Arial"/>
            </a:endParaRPr>
          </a:p>
          <a:p>
            <a:pPr algn="just">
              <a:lnSpc>
                <a:spcPct val="100000"/>
              </a:lnSpc>
            </a:pPr>
            <a:endParaRPr lang="es-ES" sz="1100" b="0" strike="noStrike" spc="-1">
              <a:solidFill>
                <a:srgbClr val="FF0000"/>
              </a:solidFill>
              <a:latin typeface="Arial"/>
            </a:endParaRPr>
          </a:p>
          <a:p>
            <a:pPr marL="171360" indent="-171000" algn="just">
              <a:lnSpc>
                <a:spcPct val="100000"/>
              </a:lnSpc>
              <a:buClr>
                <a:srgbClr val="1A3B47"/>
              </a:buClr>
              <a:buFont typeface="Arial,Sans-Serif"/>
              <a:buChar char="•"/>
            </a:pPr>
            <a:r>
              <a:rPr lang="es-ES" sz="1100" spc="-1"/>
              <a:t>Gestionar y liderar el equipo de desarrollo utilizando </a:t>
            </a:r>
            <a:r>
              <a:rPr lang="es-ES" sz="1100" spc="-1" err="1"/>
              <a:t>Scrum</a:t>
            </a:r>
            <a:r>
              <a:rPr lang="es-ES" sz="1100" spc="-1"/>
              <a:t> y técnicas ágiles.</a:t>
            </a:r>
          </a:p>
          <a:p>
            <a:pPr marL="171360" indent="-171000" algn="just">
              <a:lnSpc>
                <a:spcPct val="100000"/>
              </a:lnSpc>
              <a:buClr>
                <a:srgbClr val="1A3B47"/>
              </a:buClr>
              <a:buFont typeface="Arial,Sans-Serif"/>
              <a:buChar char="•"/>
            </a:pPr>
            <a:r>
              <a:rPr lang="es-ES" sz="1100" spc="-1"/>
              <a:t>- Entender los requisitos del cliente. Preparar la documentación funcional y técnica</a:t>
            </a:r>
          </a:p>
          <a:p>
            <a:pPr marL="171360" indent="-171000" algn="just">
              <a:lnSpc>
                <a:spcPct val="100000"/>
              </a:lnSpc>
              <a:buClr>
                <a:srgbClr val="1A3B47"/>
              </a:buClr>
              <a:buFont typeface="Arial,Sans-Serif"/>
              <a:buChar char="•"/>
            </a:pPr>
            <a:r>
              <a:rPr lang="es-ES" sz="1100" spc="-1"/>
              <a:t>Mantener reuniones con el cliente</a:t>
            </a:r>
          </a:p>
          <a:p>
            <a:pPr marL="171360" indent="-171000" algn="just">
              <a:lnSpc>
                <a:spcPct val="100000"/>
              </a:lnSpc>
              <a:buClr>
                <a:srgbClr val="1A3B47"/>
              </a:buClr>
              <a:buFont typeface="Arial,Sans-Serif"/>
              <a:buChar char="•"/>
            </a:pPr>
            <a:r>
              <a:rPr lang="es-ES" sz="1100" spc="-1"/>
              <a:t>Entrenar a los equipos del departamento de BI para aplicar metodologías ágiles</a:t>
            </a:r>
          </a:p>
          <a:p>
            <a:pPr marL="171360" indent="-171000" algn="just">
              <a:lnSpc>
                <a:spcPct val="100000"/>
              </a:lnSpc>
              <a:buClr>
                <a:srgbClr val="1A3B47"/>
              </a:buClr>
              <a:buFont typeface="Arial,Sans-Serif"/>
              <a:buChar char="•"/>
            </a:pPr>
            <a:r>
              <a:rPr lang="es-ES" sz="1100" spc="-1"/>
              <a:t>Preparar ofertas para nuevos proyectos</a:t>
            </a:r>
          </a:p>
        </p:txBody>
      </p:sp>
      <p:sp>
        <p:nvSpPr>
          <p:cNvPr id="43" name="CuadroTexto 39_0"/>
          <p:cNvSpPr/>
          <p:nvPr/>
        </p:nvSpPr>
        <p:spPr>
          <a:xfrm>
            <a:off x="4955220" y="1548710"/>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ea typeface="Soho Gothic Pro Light"/>
              </a:rPr>
              <a:t>2018</a:t>
            </a:r>
            <a:endParaRPr lang="es-ES" sz="900" b="1" spc="-1">
              <a:latin typeface="Arial"/>
            </a:endParaRPr>
          </a:p>
          <a:p>
            <a:pPr>
              <a:lnSpc>
                <a:spcPct val="100000"/>
              </a:lnSpc>
            </a:pPr>
            <a:r>
              <a:rPr lang="es-ES" sz="900" b="1" spc="-1">
                <a:ea typeface="Soho Gothic Pro Light"/>
              </a:rPr>
              <a:t>—</a:t>
            </a:r>
            <a:endParaRPr lang="es-ES" sz="900" b="1" spc="-1">
              <a:latin typeface="Arial"/>
            </a:endParaRPr>
          </a:p>
          <a:p>
            <a:pPr>
              <a:lnSpc>
                <a:spcPct val="100000"/>
              </a:lnSpc>
            </a:pPr>
            <a:r>
              <a:rPr lang="es-ES" sz="900" b="1" spc="-1">
                <a:ea typeface="Soho Gothic Pro Light"/>
              </a:rPr>
              <a:t>2017</a:t>
            </a:r>
            <a:endParaRPr lang="es-ES" sz="900" spc="-1">
              <a:latin typeface="Arial"/>
            </a:endParaRPr>
          </a:p>
          <a:p>
            <a:pPr>
              <a:lnSpc>
                <a:spcPct val="100000"/>
              </a:lnSpc>
            </a:pPr>
            <a:endParaRPr lang="es-ES" sz="900" b="0" strike="noStrike" spc="-1">
              <a:solidFill>
                <a:srgbClr val="FF0000"/>
              </a:solidFill>
              <a:latin typeface="Arial"/>
            </a:endParaRPr>
          </a:p>
        </p:txBody>
      </p:sp>
      <p:sp>
        <p:nvSpPr>
          <p:cNvPr id="30" name="CuadroTexto 70_0"/>
          <p:cNvSpPr/>
          <p:nvPr/>
        </p:nvSpPr>
        <p:spPr>
          <a:xfrm>
            <a:off x="9837720" y="1048242"/>
            <a:ext cx="234936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spc="-1">
                <a:ea typeface="Soho Gothic Pro Light"/>
              </a:rPr>
              <a:t>Graduado en EAE Business </a:t>
            </a:r>
            <a:r>
              <a:rPr lang="es-ES" sz="1000" spc="-1" err="1">
                <a:ea typeface="Soho Gothic Pro Light"/>
              </a:rPr>
              <a:t>School</a:t>
            </a:r>
            <a:r>
              <a:rPr lang="es-ES" sz="1000" spc="-1">
                <a:ea typeface="Soho Gothic Pro Light"/>
              </a:rPr>
              <a:t>- </a:t>
            </a:r>
            <a:r>
              <a:rPr lang="es-ES" sz="1000" spc="-1" err="1">
                <a:ea typeface="Soho Gothic Pro Light"/>
              </a:rPr>
              <a:t>Executive</a:t>
            </a:r>
            <a:r>
              <a:rPr lang="es-ES" sz="1000" spc="-1">
                <a:ea typeface="Soho Gothic Pro Light"/>
              </a:rPr>
              <a:t> MBA (UPC-EAE)</a:t>
            </a:r>
          </a:p>
        </p:txBody>
      </p:sp>
      <p:sp>
        <p:nvSpPr>
          <p:cNvPr id="31" name="CuadroTexto 73_0"/>
          <p:cNvSpPr/>
          <p:nvPr/>
        </p:nvSpPr>
        <p:spPr>
          <a:xfrm>
            <a:off x="9440640" y="1063599"/>
            <a:ext cx="55152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spc="-1">
                <a:latin typeface="Soho Gothic Pro Medium"/>
              </a:rPr>
              <a:t>2019</a:t>
            </a:r>
            <a:endParaRPr lang="es-ES" sz="900" b="0" strike="noStrike" spc="-1">
              <a:latin typeface="Arial"/>
            </a:endParaRPr>
          </a:p>
          <a:p>
            <a:pPr>
              <a:lnSpc>
                <a:spcPct val="100000"/>
              </a:lnSpc>
            </a:pPr>
            <a:r>
              <a:rPr lang="es-ES" sz="900" b="0" strike="noStrike" spc="-1">
                <a:latin typeface="Soho Gothic Pro Medium"/>
              </a:rPr>
              <a:t>—</a:t>
            </a:r>
            <a:endParaRPr lang="es-ES" sz="900" b="0" strike="noStrike" spc="-1">
              <a:latin typeface="Arial"/>
            </a:endParaRPr>
          </a:p>
          <a:p>
            <a:pPr>
              <a:lnSpc>
                <a:spcPct val="100000"/>
              </a:lnSpc>
            </a:pPr>
            <a:r>
              <a:rPr lang="es-ES" sz="900" b="0" strike="noStrike" spc="-1">
                <a:latin typeface="Soho Gothic Pro Medium"/>
              </a:rPr>
              <a:t>2020</a:t>
            </a:r>
            <a:endParaRPr lang="es-ES" sz="900" b="0" strike="noStrike" spc="-1">
              <a:latin typeface="Arial"/>
            </a:endParaRPr>
          </a:p>
        </p:txBody>
      </p:sp>
    </p:spTree>
    <p:extLst>
      <p:ext uri="{BB962C8B-B14F-4D97-AF65-F5344CB8AC3E}">
        <p14:creationId xmlns:p14="http://schemas.microsoft.com/office/powerpoint/2010/main" val="39806286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693506"/>
            <a:ext cx="925848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marL="0" lvl="1" algn="just" defTabSz="914377">
              <a:defRPr b="0" i="0"/>
            </a:pPr>
            <a:r>
              <a:rPr lang="es-ES" sz="1200">
                <a:ea typeface="+mn-lt"/>
                <a:cs typeface="+mn-lt"/>
              </a:rPr>
              <a:t>Ingeniero de datos con 2 años de experiencia en el sector IT, ayudando en la definición e implementando soluciones Big Data y Cloud, para proyectos del sector energético y de administraciones públicas. En los últimos 2 años ha estado trabajando en proyectos utilizando tecnologías como </a:t>
            </a:r>
            <a:r>
              <a:rPr lang="es-ES" sz="1200" err="1">
                <a:ea typeface="+mn-lt"/>
                <a:cs typeface="+mn-lt"/>
              </a:rPr>
              <a:t>Spark</a:t>
            </a:r>
            <a:r>
              <a:rPr lang="es-ES" sz="1200">
                <a:ea typeface="+mn-lt"/>
                <a:cs typeface="+mn-lt"/>
              </a:rPr>
              <a:t>, HDFS, MongoDB, </a:t>
            </a:r>
            <a:r>
              <a:rPr lang="es-ES" sz="1200" err="1">
                <a:ea typeface="+mn-lt"/>
                <a:cs typeface="+mn-lt"/>
              </a:rPr>
              <a:t>Kudu</a:t>
            </a:r>
            <a:r>
              <a:rPr lang="es-ES" sz="1200">
                <a:ea typeface="+mn-lt"/>
                <a:cs typeface="+mn-lt"/>
              </a:rPr>
              <a:t>, Neo4j, </a:t>
            </a:r>
            <a:r>
              <a:rPr lang="es-ES" sz="1200" err="1">
                <a:ea typeface="+mn-lt"/>
                <a:cs typeface="+mn-lt"/>
              </a:rPr>
              <a:t>Hive</a:t>
            </a:r>
            <a:r>
              <a:rPr lang="es-ES" sz="1200">
                <a:ea typeface="+mn-lt"/>
                <a:cs typeface="+mn-lt"/>
              </a:rPr>
              <a:t> en lenguajes Scala y Python.</a:t>
            </a:r>
            <a:endParaRPr lang="es-ES"/>
          </a:p>
        </p:txBody>
      </p:sp>
      <p:sp>
        <p:nvSpPr>
          <p:cNvPr id="102" name="CuadroTexto 54_0"/>
          <p:cNvSpPr/>
          <p:nvPr/>
        </p:nvSpPr>
        <p:spPr>
          <a:xfrm>
            <a:off x="9438480" y="4351343"/>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0" strike="noStrike" spc="-1">
                <a:latin typeface="Soho Gothic Pro"/>
              </a:rPr>
              <a:t>Idiomas</a:t>
            </a:r>
            <a:endParaRPr lang="es-ES" sz="1200" b="0" strike="noStrike" spc="-1">
              <a:latin typeface="Arial"/>
            </a:endParaRPr>
          </a:p>
        </p:txBody>
      </p:sp>
      <p:sp>
        <p:nvSpPr>
          <p:cNvPr id="103" name="CuadroTexto 55_0"/>
          <p:cNvSpPr/>
          <p:nvPr/>
        </p:nvSpPr>
        <p:spPr>
          <a:xfrm>
            <a:off x="9474840" y="4705583"/>
            <a:ext cx="2712240" cy="861774"/>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r>
              <a:rPr lang="es-ES" sz="1000" b="1" strike="noStrike" spc="-1">
                <a:latin typeface="Soho Gothic Pro Light"/>
                <a:ea typeface="Soho Gothic Pro Light"/>
              </a:rPr>
              <a:t>Castellano - </a:t>
            </a:r>
            <a:r>
              <a:rPr lang="es-ES" sz="1000" b="0" strike="noStrike" spc="-1">
                <a:latin typeface="Soho Gothic Pro Light"/>
                <a:ea typeface="Soho Gothic Pro Light"/>
              </a:rPr>
              <a:t>Nativo</a:t>
            </a:r>
          </a:p>
          <a:p>
            <a:r>
              <a:rPr lang="ca-ES" sz="1000" b="1" spc="-1" err="1">
                <a:latin typeface="Soho Gothic Pro Light"/>
                <a:ea typeface="Soho Gothic Pro Light"/>
              </a:rPr>
              <a:t>Catalán</a:t>
            </a:r>
            <a:r>
              <a:rPr lang="ca-ES" sz="1000" b="1" spc="-1">
                <a:latin typeface="Soho Gothic Pro Light"/>
                <a:ea typeface="Soho Gothic Pro Light"/>
              </a:rPr>
              <a:t> - </a:t>
            </a:r>
            <a:r>
              <a:rPr lang="ca-ES" sz="1000" spc="-1" err="1">
                <a:latin typeface="Soho Gothic Pro Light"/>
              </a:rPr>
              <a:t>Nativo</a:t>
            </a:r>
            <a:r>
              <a:rPr lang="ca-ES" sz="1000" b="1" spc="-1">
                <a:latin typeface="Soho Gothic Pro Light"/>
                <a:ea typeface="Soho Gothic Pro Light"/>
              </a:rPr>
              <a:t> </a:t>
            </a:r>
            <a:r>
              <a:rPr lang="ca-ES" sz="1750"/>
              <a:t/>
            </a:r>
            <a:br>
              <a:rPr lang="ca-ES" sz="1750"/>
            </a:br>
            <a:r>
              <a:rPr lang="es-ES" sz="1000" b="1" strike="noStrike" spc="-1">
                <a:latin typeface="Soho Gothic Pro Light"/>
                <a:ea typeface="Soho Gothic Pro Light"/>
              </a:rPr>
              <a:t>Ingles -</a:t>
            </a:r>
            <a:r>
              <a:rPr lang="es-ES" sz="1000" b="1" spc="-1">
                <a:latin typeface="Soho Gothic Pro Light"/>
                <a:ea typeface="Soho Gothic Pro Light"/>
              </a:rPr>
              <a:t> </a:t>
            </a:r>
            <a:r>
              <a:rPr lang="es-ES" sz="1000" spc="-1">
                <a:latin typeface="Soho Gothic Pro Light"/>
              </a:rPr>
              <a:t>Intermedio</a:t>
            </a:r>
          </a:p>
          <a:p>
            <a:pPr>
              <a:lnSpc>
                <a:spcPct val="100000"/>
              </a:lnSpc>
            </a:pPr>
            <a:endParaRPr lang="es-ES" sz="1000" b="0" strike="noStrike" spc="-1">
              <a:solidFill>
                <a:srgbClr val="FF0000"/>
              </a:solidFill>
              <a:latin typeface="Arial"/>
            </a:endParaRPr>
          </a:p>
          <a:p>
            <a:pPr>
              <a:lnSpc>
                <a:spcPct val="100000"/>
              </a:lnSpc>
            </a:pPr>
            <a:endParaRPr lang="es-ES" sz="1000" b="0" strike="noStrike" spc="-1">
              <a:solidFill>
                <a:srgbClr val="FF0000"/>
              </a:solidFill>
              <a:latin typeface="Arial"/>
            </a:endParaRPr>
          </a:p>
        </p:txBody>
      </p:sp>
      <p:sp>
        <p:nvSpPr>
          <p:cNvPr id="105" name="CuadroTexto 40_0"/>
          <p:cNvSpPr/>
          <p:nvPr/>
        </p:nvSpPr>
        <p:spPr>
          <a:xfrm>
            <a:off x="3451680" y="110520"/>
            <a:ext cx="2692800" cy="45756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2400" b="0" strike="noStrike" spc="-1">
                <a:solidFill>
                  <a:schemeClr val="bg1"/>
                </a:solidFill>
                <a:latin typeface="Soho Gothic Pro Medium"/>
              </a:rPr>
              <a:t>Data </a:t>
            </a:r>
            <a:r>
              <a:rPr lang="es-ES" sz="2400" b="0" strike="noStrike" spc="-1" err="1">
                <a:solidFill>
                  <a:schemeClr val="bg1"/>
                </a:solidFill>
                <a:latin typeface="Soho Gothic Pro Medium"/>
              </a:rPr>
              <a:t>Engineer</a:t>
            </a:r>
            <a:endParaRPr lang="es-ES" sz="2400" b="0" strike="noStrike" spc="-1">
              <a:solidFill>
                <a:schemeClr val="bg1"/>
              </a:solidFill>
              <a:latin typeface="Arial"/>
              <a:cs typeface="Aria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A.G.C.</a:t>
            </a:r>
            <a:endParaRPr lang="es-ES" sz="2000" b="0" strike="noStrike" spc="-1">
              <a:solidFill>
                <a:schemeClr val="bg1"/>
              </a:solidFill>
              <a:latin typeface="Arial"/>
            </a:endParaRPr>
          </a:p>
        </p:txBody>
      </p:sp>
      <p:sp>
        <p:nvSpPr>
          <p:cNvPr id="109" name="CuadroTexto 37_0"/>
          <p:cNvSpPr/>
          <p:nvPr/>
        </p:nvSpPr>
        <p:spPr>
          <a:xfrm>
            <a:off x="9447480" y="2574286"/>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0" strike="noStrike" spc="-1">
                <a:latin typeface="Soho Gothic Pro"/>
              </a:rPr>
              <a:t>IT</a:t>
            </a:r>
            <a:endParaRPr lang="es-ES" sz="1200" b="0" strike="noStrike" spc="-1">
              <a:latin typeface="Arial"/>
            </a:endParaRPr>
          </a:p>
        </p:txBody>
      </p:sp>
      <p:sp>
        <p:nvSpPr>
          <p:cNvPr id="110" name="CuadroTexto 52_0"/>
          <p:cNvSpPr/>
          <p:nvPr/>
        </p:nvSpPr>
        <p:spPr>
          <a:xfrm>
            <a:off x="9437040" y="2866680"/>
            <a:ext cx="2739600" cy="116955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n-US" sz="1000" b="1" strike="noStrike" spc="-1">
                <a:latin typeface="Soho Gothic Pro Light"/>
                <a:ea typeface="Soho Gothic Pro Light"/>
              </a:rPr>
              <a:t>Programming languages</a:t>
            </a:r>
            <a:r>
              <a:rPr lang="en-US" sz="1000" b="0" strike="noStrike" spc="-1">
                <a:latin typeface="Soho Gothic Pro Light"/>
                <a:ea typeface="Soho Gothic Pro Light"/>
              </a:rPr>
              <a:t>: </a:t>
            </a:r>
            <a:r>
              <a:rPr lang="en-US" sz="1000" i="1" spc="-1">
                <a:ea typeface="Soho Gothic Pro Light"/>
              </a:rPr>
              <a:t>Java, Scala, Python.</a:t>
            </a:r>
            <a:endParaRPr lang="es-ES" sz="1750">
              <a:latin typeface="Soho Gothic Pro Light"/>
              <a:ea typeface="Soho Gothic Pro Light"/>
            </a:endParaRPr>
          </a:p>
          <a:p>
            <a:r>
              <a:rPr lang="en-US" sz="1000" b="1" spc="-1">
                <a:ea typeface="+mn-lt"/>
                <a:cs typeface="+mn-lt"/>
              </a:rPr>
              <a:t>Scripting: </a:t>
            </a:r>
            <a:r>
              <a:rPr lang="en-US" sz="1000" i="1" spc="-1"/>
              <a:t>Linux Scripting</a:t>
            </a:r>
          </a:p>
          <a:p>
            <a:r>
              <a:rPr lang="en-US" sz="1000" b="1" strike="noStrike" spc="-1">
                <a:latin typeface="Soho Gothic Pro Light"/>
                <a:ea typeface="Soho Gothic Pro Light"/>
              </a:rPr>
              <a:t>Databases: </a:t>
            </a:r>
            <a:r>
              <a:rPr lang="en-US" sz="1000" i="1" spc="-1" err="1">
                <a:ea typeface="Soho Gothic Pro Light"/>
              </a:rPr>
              <a:t>Mysql</a:t>
            </a:r>
            <a:r>
              <a:rPr lang="en-US" sz="1000" i="1" spc="-1">
                <a:ea typeface="Soho Gothic Pro Light"/>
              </a:rPr>
              <a:t>, PostgreSQL</a:t>
            </a:r>
            <a:endParaRPr lang="es-ES" sz="1750"/>
          </a:p>
          <a:p>
            <a:pPr>
              <a:lnSpc>
                <a:spcPct val="100000"/>
              </a:lnSpc>
            </a:pPr>
            <a:r>
              <a:rPr lang="en-US" sz="1000" b="1" spc="-1">
                <a:ea typeface="Soho Gothic Pro Light"/>
              </a:rPr>
              <a:t>Big Data (</a:t>
            </a:r>
            <a:r>
              <a:rPr lang="en-US" sz="1000" b="1" spc="-1" err="1">
                <a:ea typeface="Soho Gothic Pro Light"/>
              </a:rPr>
              <a:t>tecnología</a:t>
            </a:r>
            <a:r>
              <a:rPr lang="en-US" sz="1000" b="1" spc="-1">
                <a:ea typeface="Soho Gothic Pro Light"/>
              </a:rPr>
              <a:t>): </a:t>
            </a:r>
            <a:r>
              <a:rPr lang="en-US" sz="1000" i="1" spc="-1">
                <a:ea typeface="Soho Gothic Pro Light"/>
              </a:rPr>
              <a:t>Hadoop, MongoDB, neo4j , kudu, impala</a:t>
            </a:r>
          </a:p>
          <a:p>
            <a:pPr>
              <a:lnSpc>
                <a:spcPct val="100000"/>
              </a:lnSpc>
            </a:pPr>
            <a:r>
              <a:rPr lang="en-US" sz="1000" b="1" spc="-1">
                <a:latin typeface="Soho Gothic Pro Light"/>
                <a:ea typeface="Soho Gothic Pro Light"/>
              </a:rPr>
              <a:t>Platforms</a:t>
            </a:r>
            <a:r>
              <a:rPr lang="en-US" sz="1000" b="0" strike="noStrike" spc="-1">
                <a:latin typeface="Soho Gothic Pro Light"/>
                <a:ea typeface="Soho Gothic Pro Light"/>
              </a:rPr>
              <a:t>: </a:t>
            </a:r>
            <a:r>
              <a:rPr lang="en-US" sz="1000" spc="-1">
                <a:ea typeface="Soho Gothic Pro Light"/>
              </a:rPr>
              <a:t>Cloudera</a:t>
            </a:r>
            <a:endParaRPr lang="en-US" sz="1000" i="1" spc="-1">
              <a:ea typeface="Soho Gothic Pro Light"/>
            </a:endParaRPr>
          </a:p>
          <a:p>
            <a:r>
              <a:rPr lang="en-US" sz="1000" b="1" spc="-1" err="1">
                <a:ea typeface="Soho Gothic Pro Light"/>
              </a:rPr>
              <a:t>Devops</a:t>
            </a:r>
            <a:r>
              <a:rPr lang="en-US" sz="1000" spc="-1">
                <a:ea typeface="Soho Gothic Pro Light"/>
              </a:rPr>
              <a:t>: Git, Maven</a:t>
            </a:r>
            <a:endParaRPr lang="en-US" sz="1000" i="1" spc="-1">
              <a:ea typeface="Soho Gothic Pro Light"/>
            </a:endParaRPr>
          </a:p>
        </p:txBody>
      </p:sp>
      <p:sp>
        <p:nvSpPr>
          <p:cNvPr id="111" name="CuadroTexto 50_0"/>
          <p:cNvSpPr/>
          <p:nvPr/>
        </p:nvSpPr>
        <p:spPr>
          <a:xfrm>
            <a:off x="9536040" y="2031480"/>
            <a:ext cx="2651040"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ea typeface="Soho Gothic Pro Light"/>
              </a:rPr>
              <a:t>2021 | </a:t>
            </a:r>
            <a:r>
              <a:rPr lang="es-ES" sz="1000" spc="-1">
                <a:ea typeface="+mn-lt"/>
                <a:cs typeface="+mn-lt"/>
              </a:rPr>
              <a:t>MongoDB </a:t>
            </a:r>
            <a:r>
              <a:rPr lang="es-ES" sz="1000" spc="-1" err="1">
                <a:ea typeface="+mn-lt"/>
                <a:cs typeface="+mn-lt"/>
              </a:rPr>
              <a:t>Certified</a:t>
            </a:r>
            <a:r>
              <a:rPr lang="es-ES" sz="1000" spc="-1">
                <a:ea typeface="+mn-lt"/>
                <a:cs typeface="+mn-lt"/>
              </a:rPr>
              <a:t> </a:t>
            </a:r>
            <a:r>
              <a:rPr lang="es-ES" sz="1000" spc="-1" err="1">
                <a:ea typeface="+mn-lt"/>
                <a:cs typeface="+mn-lt"/>
              </a:rPr>
              <a:t>developer</a:t>
            </a:r>
            <a:r>
              <a:rPr lang="es-ES" sz="1000" spc="-1">
                <a:ea typeface="+mn-lt"/>
                <a:cs typeface="+mn-lt"/>
              </a:rPr>
              <a:t> Associate</a:t>
            </a:r>
            <a:endParaRPr lang="es-ES" sz="1750">
              <a:ea typeface="Soho Gothic Pro Light"/>
            </a:endParaRPr>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0" strike="noStrike" spc="-1">
                <a:latin typeface="Soho Gothic Pro"/>
              </a:rPr>
              <a:t>Educación</a:t>
            </a:r>
            <a:endParaRPr lang="es-ES" sz="1200" b="0" strike="noStrike" spc="-1">
              <a:latin typeface="Arial"/>
            </a:endParaRPr>
          </a:p>
        </p:txBody>
      </p:sp>
      <p:sp>
        <p:nvSpPr>
          <p:cNvPr id="113" name="CuadroTexto 70_0"/>
          <p:cNvSpPr/>
          <p:nvPr/>
        </p:nvSpPr>
        <p:spPr>
          <a:xfrm>
            <a:off x="9827280" y="1039837"/>
            <a:ext cx="2349360"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pc="-1">
                <a:ea typeface="Soho Gothic Pro Light"/>
              </a:rPr>
              <a:t>Ingeniero informático</a:t>
            </a:r>
            <a:endParaRPr lang="es-ES" sz="1750" b="1">
              <a:ea typeface="Soho Gothic Pro Light"/>
            </a:endParaRPr>
          </a:p>
          <a:p>
            <a:r>
              <a:rPr lang="es-ES" sz="1000" spc="-1"/>
              <a:t>Universidad Autónoma de Barcelona</a:t>
            </a:r>
          </a:p>
        </p:txBody>
      </p:sp>
      <p:sp>
        <p:nvSpPr>
          <p:cNvPr id="114" name="CuadroTexto 73_0"/>
          <p:cNvSpPr/>
          <p:nvPr/>
        </p:nvSpPr>
        <p:spPr>
          <a:xfrm>
            <a:off x="9430200" y="1000765"/>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latin typeface="Soho Gothic Pro Medium"/>
              </a:rPr>
              <a:t>2015</a:t>
            </a:r>
            <a:endParaRPr lang="es-ES" sz="900" b="0" strike="noStrike" spc="-1">
              <a:latin typeface="Arial"/>
              <a:cs typeface="Arial"/>
            </a:endParaRPr>
          </a:p>
          <a:p>
            <a:pPr>
              <a:lnSpc>
                <a:spcPct val="100000"/>
              </a:lnSpc>
            </a:pPr>
            <a:r>
              <a:rPr lang="es-ES" sz="900" b="0" strike="noStrike" spc="-1">
                <a:latin typeface="Soho Gothic Pro Medium"/>
              </a:rPr>
              <a:t>—</a:t>
            </a:r>
            <a:endParaRPr lang="es-ES" sz="900" b="0" strike="noStrike" spc="-1">
              <a:latin typeface="Arial"/>
              <a:cs typeface="Arial"/>
            </a:endParaRPr>
          </a:p>
          <a:p>
            <a:pPr>
              <a:lnSpc>
                <a:spcPct val="100000"/>
              </a:lnSpc>
            </a:pPr>
            <a:r>
              <a:rPr lang="es-ES" sz="900" spc="-1">
                <a:latin typeface="Soho Gothic Pro Medium"/>
              </a:rPr>
              <a:t>2019</a:t>
            </a:r>
            <a:endParaRPr lang="es-ES" sz="900" b="0" strike="noStrike" spc="-1">
              <a:latin typeface="Arial"/>
              <a:cs typeface="Arial"/>
            </a:endParaRPr>
          </a:p>
        </p:txBody>
      </p:sp>
      <p:sp>
        <p:nvSpPr>
          <p:cNvPr id="117" name="CuadroTexto 33_0"/>
          <p:cNvSpPr/>
          <p:nvPr/>
        </p:nvSpPr>
        <p:spPr>
          <a:xfrm>
            <a:off x="9540000" y="1620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1" strike="noStrike" spc="-1">
                <a:latin typeface="Soho Gothic Pro Light"/>
              </a:rPr>
              <a:t>Cursos Relevantes</a:t>
            </a:r>
            <a:endParaRPr lang="es-ES" sz="1200" b="0" strike="noStrike" spc="-1">
              <a:latin typeface="Arial"/>
              <a:cs typeface="Arial"/>
            </a:endParaRPr>
          </a:p>
        </p:txBody>
      </p:sp>
      <p:sp>
        <p:nvSpPr>
          <p:cNvPr id="37" name="CuadroTexto 30_0"/>
          <p:cNvSpPr/>
          <p:nvPr/>
        </p:nvSpPr>
        <p:spPr>
          <a:xfrm>
            <a:off x="5463001" y="152640"/>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ctr">
              <a:lnSpc>
                <a:spcPct val="100000"/>
              </a:lnSpc>
            </a:pPr>
            <a:r>
              <a:rPr lang="es-ES" sz="2000" spc="-1">
                <a:solidFill>
                  <a:schemeClr val="bg1"/>
                </a:solidFill>
                <a:ea typeface="Soho Gothic Pro Light"/>
              </a:rPr>
              <a:t>Alejandro García Carballo</a:t>
            </a:r>
            <a:endParaRPr lang="es-ES" sz="2000" b="0" strike="noStrike" spc="-1">
              <a:solidFill>
                <a:schemeClr val="bg1"/>
              </a:solidFill>
              <a:latin typeface="Arial"/>
            </a:endParaRPr>
          </a:p>
        </p:txBody>
      </p:sp>
      <p:sp>
        <p:nvSpPr>
          <p:cNvPr id="27" name="CuadroTexto 44_0"/>
          <p:cNvSpPr/>
          <p:nvPr/>
        </p:nvSpPr>
        <p:spPr>
          <a:xfrm>
            <a:off x="685800" y="1427861"/>
            <a:ext cx="4215600" cy="3985706"/>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lnSpc>
                <a:spcPct val="100000"/>
              </a:lnSpc>
            </a:pPr>
            <a:r>
              <a:rPr lang="es-ES" sz="1100" b="1" spc="-1" err="1">
                <a:solidFill>
                  <a:srgbClr val="1A3B47"/>
                </a:solidFill>
                <a:latin typeface="Soho Gothic Pro Light"/>
              </a:rPr>
              <a:t>Minsait</a:t>
            </a:r>
            <a:r>
              <a:rPr lang="es-ES" sz="1100" b="1" spc="-1">
                <a:solidFill>
                  <a:srgbClr val="1A3B47"/>
                </a:solidFill>
                <a:latin typeface="Soho Gothic Pro Light"/>
              </a:rPr>
              <a:t> </a:t>
            </a:r>
            <a:r>
              <a:rPr lang="es-ES" sz="1100" b="1" spc="-1" err="1">
                <a:solidFill>
                  <a:srgbClr val="1A3B47"/>
                </a:solidFill>
                <a:latin typeface="Soho Gothic Pro Light"/>
              </a:rPr>
              <a:t>by</a:t>
            </a:r>
            <a:r>
              <a:rPr lang="es-ES" sz="1100" b="1" spc="-1">
                <a:solidFill>
                  <a:srgbClr val="1A3B47"/>
                </a:solidFill>
                <a:latin typeface="Soho Gothic Pro Light"/>
              </a:rPr>
              <a:t> Indra (Barcelona, España)</a:t>
            </a:r>
          </a:p>
          <a:p>
            <a:pPr algn="just">
              <a:lnSpc>
                <a:spcPct val="100000"/>
              </a:lnSpc>
            </a:pPr>
            <a:r>
              <a:rPr lang="es-ES" sz="1100" spc="-1">
                <a:latin typeface="Soho Gothic Pro Light"/>
                <a:ea typeface="Soho Gothic Pro Light"/>
              </a:rPr>
              <a:t>Ingeniero de Datos</a:t>
            </a:r>
            <a:endParaRPr lang="es-ES" sz="1100" b="0" strike="noStrike" spc="-1">
              <a:latin typeface="Arial"/>
            </a:endParaRPr>
          </a:p>
          <a:p>
            <a:pPr algn="just">
              <a:lnSpc>
                <a:spcPct val="100000"/>
              </a:lnSpc>
            </a:pPr>
            <a:endParaRPr lang="es-ES" sz="1100" b="0" strike="noStrike" spc="-1">
              <a:solidFill>
                <a:srgbClr val="FF0000"/>
              </a:solidFill>
              <a:latin typeface="Arial"/>
            </a:endParaRPr>
          </a:p>
          <a:p>
            <a:pPr algn="just">
              <a:buClr>
                <a:srgbClr val="1A3B47"/>
              </a:buClr>
            </a:pPr>
            <a:r>
              <a:rPr lang="es-ES" sz="1100" b="1" spc="-1">
                <a:ea typeface="+mn-lt"/>
                <a:cs typeface="+mn-lt"/>
              </a:rPr>
              <a:t>ENEL</a:t>
            </a:r>
            <a:endParaRPr lang="es-ES" b="1"/>
          </a:p>
          <a:p>
            <a:pPr marL="171450" indent="-171450" algn="just">
              <a:buClr>
                <a:srgbClr val="1A3B47"/>
              </a:buClr>
              <a:buFont typeface="Arial"/>
              <a:buChar char="•"/>
            </a:pPr>
            <a:r>
              <a:rPr lang="es-ES" sz="1100" spc="-1">
                <a:ea typeface="+mn-lt"/>
                <a:cs typeface="+mn-lt"/>
              </a:rPr>
              <a:t>Diseño e implementación para proyecto energético en el que se realizó un </a:t>
            </a:r>
            <a:r>
              <a:rPr lang="es-ES" sz="1100" spc="-1" err="1">
                <a:ea typeface="+mn-lt"/>
                <a:cs typeface="+mn-lt"/>
              </a:rPr>
              <a:t>Datalake</a:t>
            </a:r>
            <a:r>
              <a:rPr lang="es-ES" sz="1100" spc="-1">
                <a:ea typeface="+mn-lt"/>
                <a:cs typeface="+mn-lt"/>
              </a:rPr>
              <a:t>, creado a través de los datos de origen extraídos con una ETL en Python, para el  desarrollo de un modelo predictivo.</a:t>
            </a:r>
          </a:p>
          <a:p>
            <a:pPr algn="just">
              <a:buClr>
                <a:srgbClr val="1A3B47"/>
              </a:buClr>
              <a:buFont typeface="Arial"/>
              <a:buChar char="•"/>
            </a:pPr>
            <a:endParaRPr lang="es-ES" sz="1100" spc="-1">
              <a:ea typeface="+mn-lt"/>
              <a:cs typeface="+mn-lt"/>
            </a:endParaRPr>
          </a:p>
          <a:p>
            <a:pPr algn="just">
              <a:buClr>
                <a:srgbClr val="1A3B47"/>
              </a:buClr>
            </a:pPr>
            <a:r>
              <a:rPr lang="es-ES" sz="1100" b="1" spc="-1">
                <a:ea typeface="+mn-lt"/>
                <a:cs typeface="+mn-lt"/>
              </a:rPr>
              <a:t>ATC (Agencia Tributaria Catalunya)</a:t>
            </a:r>
            <a:endParaRPr lang="es-ES" sz="1750" b="1">
              <a:ea typeface="+mn-lt"/>
              <a:cs typeface="+mn-lt"/>
            </a:endParaRPr>
          </a:p>
          <a:p>
            <a:pPr marL="171450" indent="-171450" algn="just">
              <a:buClr>
                <a:srgbClr val="1A3B47"/>
              </a:buClr>
              <a:buFont typeface="Arial"/>
              <a:buChar char="•"/>
            </a:pPr>
            <a:r>
              <a:rPr lang="es-ES" sz="1100" spc="-1">
                <a:ea typeface="+mn-lt"/>
                <a:cs typeface="+mn-lt"/>
              </a:rPr>
              <a:t>Desarrollo de ETL usando lenguajes como Python o Scala y tecnologías Big Data como </a:t>
            </a:r>
            <a:r>
              <a:rPr lang="es-ES" sz="1100" spc="-1" err="1">
                <a:ea typeface="+mn-lt"/>
                <a:cs typeface="+mn-lt"/>
              </a:rPr>
              <a:t>Spark</a:t>
            </a:r>
            <a:r>
              <a:rPr lang="es-ES" sz="1100" spc="-1">
                <a:ea typeface="+mn-lt"/>
                <a:cs typeface="+mn-lt"/>
              </a:rPr>
              <a:t>.</a:t>
            </a:r>
          </a:p>
          <a:p>
            <a:pPr marL="171450" indent="-171450" algn="just">
              <a:buFont typeface="Arial"/>
              <a:buChar char="•"/>
            </a:pPr>
            <a:r>
              <a:rPr lang="es-ES" sz="1100" spc="-1">
                <a:ea typeface="+mn-lt"/>
                <a:cs typeface="+mn-lt"/>
              </a:rPr>
              <a:t>Soporte en el desarrollo de un grafo en Neo4j, construido a partir de los datos almacenados en otra base de datos MongoDB.</a:t>
            </a:r>
          </a:p>
          <a:p>
            <a:pPr marL="170815" indent="-170815" algn="just">
              <a:buFont typeface="Arial,Sans-Serif"/>
              <a:buChar char="•"/>
            </a:pPr>
            <a:r>
              <a:rPr lang="es-ES" sz="1100" spc="-1">
                <a:ea typeface="+mn-lt"/>
                <a:cs typeface="+mn-lt"/>
              </a:rPr>
              <a:t>Desarrollo de API tanto en Python como Java.</a:t>
            </a:r>
            <a:endParaRPr lang="en-US" sz="1100" spc="-1">
              <a:ea typeface="+mn-lt"/>
              <a:cs typeface="+mn-lt"/>
            </a:endParaRPr>
          </a:p>
          <a:p>
            <a:pPr marL="170815" indent="-170815" algn="just">
              <a:buFont typeface="Arial,Sans-Serif"/>
              <a:buChar char="•"/>
            </a:pPr>
            <a:endParaRPr lang="es-ES" sz="1100" b="1" spc="-1">
              <a:ea typeface="+mn-lt"/>
              <a:cs typeface="+mn-lt"/>
            </a:endParaRPr>
          </a:p>
          <a:p>
            <a:pPr algn="just"/>
            <a:r>
              <a:rPr lang="es-ES" sz="1100" b="1" spc="-1">
                <a:ea typeface="+mn-lt"/>
                <a:cs typeface="+mn-lt"/>
              </a:rPr>
              <a:t>SUNAT (Agencia Tributaria Perú)</a:t>
            </a:r>
            <a:endParaRPr lang="es-ES" sz="1100" b="1" spc="-1">
              <a:solidFill>
                <a:srgbClr val="1A3B47"/>
              </a:solidFill>
            </a:endParaRPr>
          </a:p>
          <a:p>
            <a:pPr algn="just"/>
            <a:endParaRPr lang="es-ES" sz="1100" b="1" spc="-1">
              <a:ea typeface="+mn-lt"/>
              <a:cs typeface="+mn-lt"/>
            </a:endParaRPr>
          </a:p>
          <a:p>
            <a:pPr marL="171450" indent="-171450" algn="just">
              <a:buClr>
                <a:srgbClr val="1A3B47"/>
              </a:buClr>
              <a:buFont typeface="Arial"/>
              <a:buChar char="•"/>
            </a:pPr>
            <a:r>
              <a:rPr lang="es-ES" sz="1100" spc="-1">
                <a:ea typeface="+mn-lt"/>
                <a:cs typeface="+mn-lt"/>
              </a:rPr>
              <a:t>Definición de las entidades en el modelo lógico.</a:t>
            </a:r>
          </a:p>
          <a:p>
            <a:pPr marL="171450" indent="-171450" algn="just">
              <a:buClr>
                <a:srgbClr val="1A3B47"/>
              </a:buClr>
              <a:buFont typeface="Arial"/>
              <a:buChar char="•"/>
            </a:pPr>
            <a:r>
              <a:rPr lang="es-ES" sz="1100" spc="-1">
                <a:ea typeface="+mn-lt"/>
                <a:cs typeface="+mn-lt"/>
              </a:rPr>
              <a:t>Traslado de los requerimientos del cliente hacia el modelo lógico y físico, integrándolos con las definiciones ya existentes. Todo ello en colecciones MongoDB</a:t>
            </a:r>
          </a:p>
          <a:p>
            <a:pPr marL="170815" indent="-170815" algn="just">
              <a:buClr>
                <a:srgbClr val="1A3B47"/>
              </a:buClr>
              <a:buFont typeface="Arial,Sans-Serif"/>
              <a:buChar char="•"/>
            </a:pPr>
            <a:endParaRPr lang="es-ES" sz="1100" spc="-1">
              <a:solidFill>
                <a:srgbClr val="FF0000"/>
              </a:solidFill>
              <a:ea typeface="+mn-lt"/>
              <a:cs typeface="+mn-lt"/>
            </a:endParaRPr>
          </a:p>
        </p:txBody>
      </p:sp>
      <p:sp>
        <p:nvSpPr>
          <p:cNvPr id="28" name="CuadroTexto 45_2"/>
          <p:cNvSpPr/>
          <p:nvPr/>
        </p:nvSpPr>
        <p:spPr>
          <a:xfrm>
            <a:off x="5312879" y="3139402"/>
            <a:ext cx="4007341" cy="1106542"/>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algn="just"/>
            <a:r>
              <a:rPr lang="es-ES" sz="1100" b="1" spc="-1">
                <a:solidFill>
                  <a:srgbClr val="1A3B47"/>
                </a:solidFill>
                <a:latin typeface="Soho Gothic Pro Light"/>
              </a:rPr>
              <a:t>Enterprise </a:t>
            </a:r>
            <a:r>
              <a:rPr lang="es-ES" sz="1100" b="1" spc="-1" err="1">
                <a:solidFill>
                  <a:srgbClr val="1A3B47"/>
                </a:solidFill>
                <a:latin typeface="Soho Gothic Pro Light"/>
              </a:rPr>
              <a:t>Consulting</a:t>
            </a:r>
            <a:r>
              <a:rPr lang="es-ES" sz="1100" b="1" spc="-1">
                <a:solidFill>
                  <a:srgbClr val="1A3B47"/>
                </a:solidFill>
                <a:latin typeface="Soho Gothic Pro Light"/>
              </a:rPr>
              <a:t> and Training</a:t>
            </a:r>
            <a:r>
              <a:rPr lang="es-ES" sz="1100" b="1" spc="-1">
                <a:latin typeface="Soho Gothic Pro Light"/>
              </a:rPr>
              <a:t> </a:t>
            </a:r>
            <a:r>
              <a:rPr lang="es-ES" sz="1100" b="1" spc="-1">
                <a:ea typeface="Soho Gothic Pro Light"/>
              </a:rPr>
              <a:t>(Barcelona, España)</a:t>
            </a:r>
            <a:endParaRPr lang="es-ES" sz="1100" spc="-1">
              <a:latin typeface="Arial"/>
              <a:cs typeface="Arial"/>
            </a:endParaRPr>
          </a:p>
          <a:p>
            <a:pPr algn="just"/>
            <a:r>
              <a:rPr lang="es-ES" sz="1100" spc="-1">
                <a:ea typeface="+mn-lt"/>
                <a:cs typeface="+mn-lt"/>
              </a:rPr>
              <a:t>Desarrollador web</a:t>
            </a:r>
          </a:p>
          <a:p>
            <a:pPr algn="just">
              <a:lnSpc>
                <a:spcPct val="100000"/>
              </a:lnSpc>
            </a:pPr>
            <a:endParaRPr lang="es-ES" sz="1100" spc="-1">
              <a:solidFill>
                <a:srgbClr val="FF0000"/>
              </a:solidFill>
              <a:latin typeface="Arial"/>
            </a:endParaRPr>
          </a:p>
          <a:p>
            <a:pPr marL="170815" indent="-170815" algn="just">
              <a:buClr>
                <a:srgbClr val="1A3B47"/>
              </a:buClr>
              <a:buFont typeface="Arial,Sans-Serif"/>
              <a:buChar char="•"/>
            </a:pPr>
            <a:r>
              <a:rPr lang="es-ES" sz="1100" spc="-1">
                <a:ea typeface="+mn-lt"/>
                <a:cs typeface="+mn-lt"/>
              </a:rPr>
              <a:t>Desarrollo de aplicaciones web en </a:t>
            </a:r>
            <a:r>
              <a:rPr lang="es-ES" sz="1100" spc="-1" err="1">
                <a:ea typeface="+mn-lt"/>
                <a:cs typeface="+mn-lt"/>
              </a:rPr>
              <a:t>Php</a:t>
            </a:r>
            <a:r>
              <a:rPr lang="es-ES" sz="1100" spc="-1">
                <a:ea typeface="+mn-lt"/>
                <a:cs typeface="+mn-lt"/>
              </a:rPr>
              <a:t> y </a:t>
            </a:r>
            <a:r>
              <a:rPr lang="es-ES" sz="1100" spc="-1" err="1">
                <a:ea typeface="+mn-lt"/>
                <a:cs typeface="+mn-lt"/>
              </a:rPr>
              <a:t>Javascript</a:t>
            </a:r>
            <a:r>
              <a:rPr lang="es-ES" sz="1100" spc="-1">
                <a:ea typeface="+mn-lt"/>
                <a:cs typeface="+mn-lt"/>
              </a:rPr>
              <a:t>, </a:t>
            </a:r>
            <a:r>
              <a:rPr lang="es-ES" sz="1100" spc="-1" err="1">
                <a:ea typeface="+mn-lt"/>
                <a:cs typeface="+mn-lt"/>
              </a:rPr>
              <a:t>frameworks</a:t>
            </a:r>
            <a:r>
              <a:rPr lang="es-ES" sz="1100" spc="-1">
                <a:ea typeface="+mn-lt"/>
                <a:cs typeface="+mn-lt"/>
              </a:rPr>
              <a:t> </a:t>
            </a:r>
            <a:r>
              <a:rPr lang="es-ES" sz="1100" spc="-1" err="1">
                <a:ea typeface="+mn-lt"/>
                <a:cs typeface="+mn-lt"/>
              </a:rPr>
              <a:t>CodeIgniter</a:t>
            </a:r>
            <a:r>
              <a:rPr lang="es-ES" sz="1100" spc="-1">
                <a:ea typeface="+mn-lt"/>
                <a:cs typeface="+mn-lt"/>
              </a:rPr>
              <a:t>, Zend, Slim, Doctrine, </a:t>
            </a:r>
            <a:r>
              <a:rPr lang="es-ES" sz="1100" spc="-1" err="1">
                <a:ea typeface="+mn-lt"/>
                <a:cs typeface="+mn-lt"/>
              </a:rPr>
              <a:t>Ionic</a:t>
            </a:r>
            <a:r>
              <a:rPr lang="es-ES" sz="1100" spc="-1">
                <a:ea typeface="+mn-lt"/>
                <a:cs typeface="+mn-lt"/>
              </a:rPr>
              <a:t>, Bootstrap, </a:t>
            </a:r>
            <a:r>
              <a:rPr lang="es-ES" sz="1100" spc="-1" err="1">
                <a:ea typeface="+mn-lt"/>
                <a:cs typeface="+mn-lt"/>
              </a:rPr>
              <a:t>AngularJS</a:t>
            </a:r>
            <a:r>
              <a:rPr lang="es-ES" sz="1100" spc="-1">
                <a:ea typeface="+mn-lt"/>
                <a:cs typeface="+mn-lt"/>
              </a:rPr>
              <a:t> y base de datos </a:t>
            </a:r>
            <a:r>
              <a:rPr lang="es-ES" sz="1100" spc="-1" err="1">
                <a:ea typeface="+mn-lt"/>
                <a:cs typeface="+mn-lt"/>
              </a:rPr>
              <a:t>Mysql</a:t>
            </a:r>
            <a:r>
              <a:rPr lang="es-ES" sz="1100" spc="-1">
                <a:ea typeface="+mn-lt"/>
                <a:cs typeface="+mn-lt"/>
              </a:rPr>
              <a:t> tanto para entornos Linux como Windows.</a:t>
            </a:r>
            <a:endParaRPr lang="es-ES" sz="1100" spc="-1">
              <a:solidFill>
                <a:srgbClr val="FF0000"/>
              </a:solidFill>
            </a:endParaRPr>
          </a:p>
        </p:txBody>
      </p:sp>
      <p:sp>
        <p:nvSpPr>
          <p:cNvPr id="29" name="CuadroTexto 48_2"/>
          <p:cNvSpPr/>
          <p:nvPr/>
        </p:nvSpPr>
        <p:spPr>
          <a:xfrm>
            <a:off x="4901400" y="3141685"/>
            <a:ext cx="604023" cy="64633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900" b="1" spc="-1">
                <a:latin typeface="Soho Gothic Pro Light"/>
              </a:rPr>
              <a:t>Abr 2015     </a:t>
            </a:r>
          </a:p>
          <a:p>
            <a:pPr>
              <a:lnSpc>
                <a:spcPct val="100000"/>
              </a:lnSpc>
            </a:pPr>
            <a:r>
              <a:rPr lang="es-ES" sz="900" b="1" spc="-1">
                <a:latin typeface="Soho Gothic Pro Light"/>
              </a:rPr>
              <a:t>—</a:t>
            </a:r>
          </a:p>
          <a:p>
            <a:r>
              <a:rPr lang="es-ES" sz="900" b="1" spc="-1">
                <a:latin typeface="Soho Gothic Pro Light"/>
              </a:rPr>
              <a:t>Dic 2014</a:t>
            </a:r>
          </a:p>
        </p:txBody>
      </p:sp>
      <p:sp>
        <p:nvSpPr>
          <p:cNvPr id="32" name="CuadroTexto 39_0"/>
          <p:cNvSpPr/>
          <p:nvPr/>
        </p:nvSpPr>
        <p:spPr>
          <a:xfrm>
            <a:off x="240120" y="1394381"/>
            <a:ext cx="551520" cy="78483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trike="noStrike" spc="-1">
                <a:latin typeface="Soho Gothic Pro Light"/>
                <a:ea typeface="Soho Gothic Pro Light"/>
              </a:rPr>
              <a:t>ACT</a:t>
            </a:r>
            <a:endParaRPr lang="es-ES" sz="900" b="1" strike="noStrike" spc="-1">
              <a:latin typeface="Arial"/>
              <a:cs typeface="Arial"/>
            </a:endParaRPr>
          </a:p>
          <a:p>
            <a:pPr>
              <a:lnSpc>
                <a:spcPct val="100000"/>
              </a:lnSpc>
            </a:pPr>
            <a:r>
              <a:rPr lang="es-ES" sz="900" b="1" strike="noStrike" spc="-1">
                <a:latin typeface="Soho Gothic Pro Light"/>
                <a:ea typeface="Soho Gothic Pro Light"/>
              </a:rPr>
              <a:t>—</a:t>
            </a:r>
            <a:endParaRPr lang="es-ES" sz="900" b="1" strike="noStrike" spc="-1">
              <a:latin typeface="Arial"/>
              <a:cs typeface="Arial"/>
            </a:endParaRPr>
          </a:p>
          <a:p>
            <a:r>
              <a:rPr lang="es-ES" sz="900" b="1" spc="-1">
                <a:latin typeface="Soho Gothic Pro Light"/>
              </a:rPr>
              <a:t>Sept 2019</a:t>
            </a:r>
            <a:endParaRPr lang="es-ES" sz="900" b="1" strike="noStrike" spc="-1">
              <a:latin typeface="Arial"/>
              <a:cs typeface="Arial"/>
            </a:endParaRPr>
          </a:p>
          <a:p>
            <a:pPr>
              <a:lnSpc>
                <a:spcPct val="100000"/>
              </a:lnSpc>
            </a:pPr>
            <a:endParaRPr lang="es-ES" sz="900" b="0" strike="noStrike" spc="-1">
              <a:solidFill>
                <a:srgbClr val="FF0000"/>
              </a:solidFill>
              <a:latin typeface="Arial"/>
            </a:endParaRPr>
          </a:p>
        </p:txBody>
      </p:sp>
      <p:sp>
        <p:nvSpPr>
          <p:cNvPr id="42" name="CuadroTexto 44_0"/>
          <p:cNvSpPr/>
          <p:nvPr/>
        </p:nvSpPr>
        <p:spPr>
          <a:xfrm>
            <a:off x="5400900" y="1418789"/>
            <a:ext cx="3919320" cy="144655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lnSpc>
                <a:spcPct val="100000"/>
              </a:lnSpc>
            </a:pPr>
            <a:r>
              <a:rPr lang="es-ES" sz="1100" b="1" spc="-1">
                <a:solidFill>
                  <a:srgbClr val="1A3B47"/>
                </a:solidFill>
                <a:latin typeface="Soho Gothic Pro Light"/>
              </a:rPr>
              <a:t>Accenture (Barcelona, España)</a:t>
            </a:r>
            <a:r>
              <a:rPr lang="es-ES" sz="1100" b="1" strike="noStrike" spc="-1">
                <a:solidFill>
                  <a:srgbClr val="FF0000"/>
                </a:solidFill>
                <a:latin typeface="Soho Gothic Pro Light"/>
                <a:ea typeface="Soho Gothic Pro Light"/>
              </a:rPr>
              <a:t> </a:t>
            </a:r>
            <a:endParaRPr lang="es-ES" sz="1100" b="0" strike="noStrike" spc="-1">
              <a:solidFill>
                <a:srgbClr val="FF0000"/>
              </a:solidFill>
              <a:latin typeface="Arial"/>
            </a:endParaRPr>
          </a:p>
          <a:p>
            <a:pPr algn="just"/>
            <a:r>
              <a:rPr lang="es-ES" sz="1100" spc="-1" err="1">
                <a:ea typeface="+mn-lt"/>
                <a:cs typeface="+mn-lt"/>
              </a:rPr>
              <a:t>Technology</a:t>
            </a:r>
            <a:r>
              <a:rPr lang="es-ES" sz="1100" spc="-1">
                <a:ea typeface="+mn-lt"/>
                <a:cs typeface="+mn-lt"/>
              </a:rPr>
              <a:t> </a:t>
            </a:r>
            <a:r>
              <a:rPr lang="es-ES" sz="1100" spc="-1" err="1">
                <a:ea typeface="+mn-lt"/>
                <a:cs typeface="+mn-lt"/>
              </a:rPr>
              <a:t>Consultant</a:t>
            </a:r>
            <a:endParaRPr lang="es-ES" err="1"/>
          </a:p>
          <a:p>
            <a:pPr algn="just">
              <a:lnSpc>
                <a:spcPct val="100000"/>
              </a:lnSpc>
            </a:pPr>
            <a:endParaRPr lang="es-ES" sz="1100" b="0" strike="noStrike" spc="-1">
              <a:solidFill>
                <a:srgbClr val="FF0000"/>
              </a:solidFill>
              <a:latin typeface="Arial"/>
            </a:endParaRPr>
          </a:p>
          <a:p>
            <a:pPr marL="170815" indent="-170815" algn="just">
              <a:buClr>
                <a:srgbClr val="1A3B47"/>
              </a:buClr>
              <a:buFont typeface="Arial,Sans-Serif"/>
              <a:buChar char="•"/>
            </a:pPr>
            <a:r>
              <a:rPr lang="es-ES" sz="1100" spc="-1">
                <a:ea typeface="+mn-lt"/>
                <a:cs typeface="+mn-lt"/>
              </a:rPr>
              <a:t>Soporte en la definición de una Cloud Híbrida, ayudando en la definición del proyecto y en la integración del Cloud con los sistemas anteriores.</a:t>
            </a:r>
            <a:endParaRPr lang="es-ES">
              <a:ea typeface="+mn-lt"/>
              <a:cs typeface="+mn-lt"/>
            </a:endParaRPr>
          </a:p>
          <a:p>
            <a:pPr marL="170815" indent="-170815" algn="just">
              <a:buClr>
                <a:srgbClr val="1A3B47"/>
              </a:buClr>
              <a:buFont typeface="Arial,Sans-Serif"/>
              <a:buChar char="•"/>
            </a:pPr>
            <a:r>
              <a:rPr lang="es-ES" sz="1100" spc="-1">
                <a:ea typeface="+mn-lt"/>
                <a:cs typeface="+mn-lt"/>
              </a:rPr>
              <a:t>Automatización de aprovisionamiento e implementación con Ansible.</a:t>
            </a:r>
            <a:endParaRPr lang="es-ES" sz="1100" spc="-1">
              <a:solidFill>
                <a:srgbClr val="FF0000"/>
              </a:solidFill>
            </a:endParaRPr>
          </a:p>
        </p:txBody>
      </p:sp>
      <p:sp>
        <p:nvSpPr>
          <p:cNvPr id="43" name="CuadroTexto 39_0"/>
          <p:cNvSpPr/>
          <p:nvPr/>
        </p:nvSpPr>
        <p:spPr>
          <a:xfrm>
            <a:off x="4955220" y="1385309"/>
            <a:ext cx="551520" cy="92333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r>
              <a:rPr lang="es-ES" sz="900" b="1" spc="-1">
                <a:latin typeface="Soho Gothic Pro Light"/>
              </a:rPr>
              <a:t>Sept 2019</a:t>
            </a:r>
          </a:p>
          <a:p>
            <a:pPr>
              <a:lnSpc>
                <a:spcPct val="100000"/>
              </a:lnSpc>
            </a:pPr>
            <a:r>
              <a:rPr lang="es-ES" sz="900" b="1" spc="-1">
                <a:latin typeface="Soho Gothic Pro Light"/>
              </a:rPr>
              <a:t>—</a:t>
            </a:r>
          </a:p>
          <a:p>
            <a:r>
              <a:rPr lang="es-ES" sz="900" b="1" spc="-1">
                <a:latin typeface="Soho Gothic Pro Light"/>
              </a:rPr>
              <a:t>Jun 2019</a:t>
            </a:r>
          </a:p>
          <a:p>
            <a:pPr>
              <a:lnSpc>
                <a:spcPct val="100000"/>
              </a:lnSpc>
            </a:pPr>
            <a:endParaRPr lang="es-ES" sz="900" b="1" spc="-1">
              <a:latin typeface="Soho Gothic Pro Light"/>
            </a:endParaRPr>
          </a:p>
        </p:txBody>
      </p:sp>
      <p:sp>
        <p:nvSpPr>
          <p:cNvPr id="30" name="CuadroTexto 70_0">
            <a:extLst>
              <a:ext uri="{FF2B5EF4-FFF2-40B4-BE49-F238E27FC236}">
                <a16:creationId xmlns:a16="http://schemas.microsoft.com/office/drawing/2014/main" id="{4B60B62C-9F5C-4DD4-A50A-AED324B29FE1}"/>
              </a:ext>
            </a:extLst>
          </p:cNvPr>
          <p:cNvSpPr/>
          <p:nvPr/>
        </p:nvSpPr>
        <p:spPr>
          <a:xfrm>
            <a:off x="9854493" y="413908"/>
            <a:ext cx="2349360" cy="553998"/>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pc="-1"/>
              <a:t>Master en sistemas inteligentes e interactivos</a:t>
            </a:r>
            <a:endParaRPr lang="es-ES"/>
          </a:p>
          <a:p>
            <a:r>
              <a:rPr lang="es-ES" sz="1000" spc="-1"/>
              <a:t>Universidad Pompeu Fabra</a:t>
            </a:r>
          </a:p>
        </p:txBody>
      </p:sp>
      <p:sp>
        <p:nvSpPr>
          <p:cNvPr id="31" name="CuadroTexto 73_0">
            <a:extLst>
              <a:ext uri="{FF2B5EF4-FFF2-40B4-BE49-F238E27FC236}">
                <a16:creationId xmlns:a16="http://schemas.microsoft.com/office/drawing/2014/main" id="{42DBC37E-9828-4095-AB36-FC5D9E620073}"/>
              </a:ext>
            </a:extLst>
          </p:cNvPr>
          <p:cNvSpPr/>
          <p:nvPr/>
        </p:nvSpPr>
        <p:spPr>
          <a:xfrm>
            <a:off x="9457413" y="456478"/>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latin typeface="Soho Gothic Pro Medium"/>
              </a:rPr>
              <a:t>2020</a:t>
            </a:r>
            <a:endParaRPr lang="es-ES" sz="900" b="0" strike="noStrike" spc="-1">
              <a:latin typeface="Arial"/>
              <a:cs typeface="Arial"/>
            </a:endParaRPr>
          </a:p>
          <a:p>
            <a:pPr>
              <a:lnSpc>
                <a:spcPct val="100000"/>
              </a:lnSpc>
            </a:pPr>
            <a:r>
              <a:rPr lang="es-ES" sz="900" b="0" strike="noStrike" spc="-1">
                <a:latin typeface="Soho Gothic Pro Medium"/>
              </a:rPr>
              <a:t>—</a:t>
            </a:r>
            <a:endParaRPr lang="es-ES" sz="900" b="0" strike="noStrike" spc="-1">
              <a:latin typeface="Arial"/>
              <a:cs typeface="Arial"/>
            </a:endParaRPr>
          </a:p>
          <a:p>
            <a:pPr>
              <a:lnSpc>
                <a:spcPct val="100000"/>
              </a:lnSpc>
            </a:pPr>
            <a:r>
              <a:rPr lang="es-ES" sz="900" spc="-1">
                <a:latin typeface="Soho Gothic Pro Medium"/>
              </a:rPr>
              <a:t>ACT</a:t>
            </a:r>
            <a:endParaRPr lang="es-ES" sz="900" b="0" strike="noStrike" spc="-1">
              <a:latin typeface="Arial"/>
              <a:cs typeface="Arial"/>
            </a:endParaRPr>
          </a:p>
        </p:txBody>
      </p:sp>
    </p:spTree>
    <p:extLst>
      <p:ext uri="{BB962C8B-B14F-4D97-AF65-F5344CB8AC3E}">
        <p14:creationId xmlns:p14="http://schemas.microsoft.com/office/powerpoint/2010/main" val="2332787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66138" y="71438"/>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461665"/>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defTabSz="914377">
              <a:defRPr b="0" i="0"/>
            </a:pPr>
            <a:r>
              <a:rPr lang="en-US" sz="1200" err="1">
                <a:solidFill>
                  <a:srgbClr val="1A3B47"/>
                </a:solidFill>
                <a:ea typeface="+mn-lt"/>
                <a:cs typeface="+mn-lt"/>
              </a:rPr>
              <a:t>Arquitecto</a:t>
            </a:r>
            <a:r>
              <a:rPr lang="en-US" sz="1200">
                <a:solidFill>
                  <a:srgbClr val="1A3B47"/>
                </a:solidFill>
                <a:ea typeface="+mn-lt"/>
                <a:cs typeface="+mn-lt"/>
              </a:rPr>
              <a:t> de software bigdata con más de 20 años de experiencia en el sector de IT. </a:t>
            </a:r>
            <a:r>
              <a:rPr lang="en-US" sz="1200" err="1">
                <a:solidFill>
                  <a:srgbClr val="1A3B47"/>
                </a:solidFill>
                <a:ea typeface="+mn-lt"/>
                <a:cs typeface="+mn-lt"/>
              </a:rPr>
              <a:t>Especializado</a:t>
            </a:r>
            <a:r>
              <a:rPr lang="en-US" sz="1200">
                <a:solidFill>
                  <a:srgbClr val="1A3B47"/>
                </a:solidFill>
                <a:ea typeface="+mn-lt"/>
                <a:cs typeface="+mn-lt"/>
              </a:rPr>
              <a:t> en la definición y </a:t>
            </a:r>
            <a:r>
              <a:rPr lang="en-US" sz="1200" err="1">
                <a:solidFill>
                  <a:srgbClr val="1A3B47"/>
                </a:solidFill>
                <a:ea typeface="+mn-lt"/>
                <a:cs typeface="+mn-lt"/>
              </a:rPr>
              <a:t>desarrollo</a:t>
            </a:r>
            <a:r>
              <a:rPr lang="en-US" sz="1200">
                <a:solidFill>
                  <a:srgbClr val="1A3B47"/>
                </a:solidFill>
                <a:ea typeface="+mn-lt"/>
                <a:cs typeface="+mn-lt"/>
              </a:rPr>
              <a:t> de </a:t>
            </a:r>
            <a:r>
              <a:rPr lang="en-US" sz="1200" err="1">
                <a:solidFill>
                  <a:srgbClr val="1A3B47"/>
                </a:solidFill>
                <a:ea typeface="+mn-lt"/>
                <a:cs typeface="+mn-lt"/>
              </a:rPr>
              <a:t>arquitecturas</a:t>
            </a:r>
            <a:r>
              <a:rPr lang="en-US" sz="1200">
                <a:solidFill>
                  <a:srgbClr val="1A3B47"/>
                </a:solidFill>
                <a:ea typeface="+mn-lt"/>
                <a:cs typeface="+mn-lt"/>
              </a:rPr>
              <a:t> de software </a:t>
            </a:r>
            <a:r>
              <a:rPr lang="en-US" sz="1200" err="1">
                <a:solidFill>
                  <a:srgbClr val="1A3B47"/>
                </a:solidFill>
                <a:ea typeface="+mn-lt"/>
                <a:cs typeface="+mn-lt"/>
              </a:rPr>
              <a:t>BigData</a:t>
            </a:r>
            <a:r>
              <a:rPr lang="en-US" sz="1200">
                <a:solidFill>
                  <a:srgbClr val="1A3B47"/>
                </a:solidFill>
                <a:ea typeface="+mn-lt"/>
                <a:cs typeface="+mn-lt"/>
              </a:rPr>
              <a:t>  e </a:t>
            </a:r>
            <a:r>
              <a:rPr lang="en-US" sz="1200" err="1">
                <a:solidFill>
                  <a:srgbClr val="1A3B47"/>
                </a:solidFill>
                <a:ea typeface="+mn-lt"/>
                <a:cs typeface="+mn-lt"/>
              </a:rPr>
              <a:t>Inteligencia</a:t>
            </a:r>
            <a:r>
              <a:rPr lang="en-US" sz="1200">
                <a:solidFill>
                  <a:srgbClr val="1A3B47"/>
                </a:solidFill>
                <a:ea typeface="+mn-lt"/>
                <a:cs typeface="+mn-lt"/>
              </a:rPr>
              <a:t> Artificial </a:t>
            </a:r>
            <a:r>
              <a:rPr lang="en-US" sz="1200" err="1">
                <a:solidFill>
                  <a:srgbClr val="1A3B47"/>
                </a:solidFill>
                <a:ea typeface="+mn-lt"/>
                <a:cs typeface="+mn-lt"/>
              </a:rPr>
              <a:t>en</a:t>
            </a:r>
            <a:r>
              <a:rPr lang="en-US" sz="1200">
                <a:solidFill>
                  <a:srgbClr val="1A3B47"/>
                </a:solidFill>
                <a:ea typeface="+mn-lt"/>
                <a:cs typeface="+mn-lt"/>
              </a:rPr>
              <a:t> los </a:t>
            </a:r>
            <a:r>
              <a:rPr lang="en-US" sz="1200" err="1">
                <a:solidFill>
                  <a:srgbClr val="1A3B47"/>
                </a:solidFill>
                <a:ea typeface="+mn-lt"/>
                <a:cs typeface="+mn-lt"/>
              </a:rPr>
              <a:t>últimos</a:t>
            </a:r>
            <a:r>
              <a:rPr lang="en-US" sz="1200">
                <a:solidFill>
                  <a:srgbClr val="1A3B47"/>
                </a:solidFill>
                <a:ea typeface="+mn-lt"/>
                <a:cs typeface="+mn-lt"/>
              </a:rPr>
              <a:t> 4 </a:t>
            </a:r>
            <a:r>
              <a:rPr lang="en-US" sz="1200" err="1">
                <a:solidFill>
                  <a:srgbClr val="1A3B47"/>
                </a:solidFill>
                <a:ea typeface="+mn-lt"/>
                <a:cs typeface="+mn-lt"/>
              </a:rPr>
              <a:t>años</a:t>
            </a:r>
            <a:r>
              <a:rPr lang="en-US" sz="1200">
                <a:solidFill>
                  <a:srgbClr val="1A3B47"/>
                </a:solidFill>
                <a:ea typeface="+mn-lt"/>
                <a:cs typeface="+mn-lt"/>
              </a:rPr>
              <a:t> para </a:t>
            </a:r>
            <a:r>
              <a:rPr lang="en-US" sz="1200" err="1">
                <a:solidFill>
                  <a:srgbClr val="1A3B47"/>
                </a:solidFill>
                <a:ea typeface="+mn-lt"/>
                <a:cs typeface="+mn-lt"/>
              </a:rPr>
              <a:t>diferentes</a:t>
            </a:r>
            <a:r>
              <a:rPr lang="en-US" sz="1200">
                <a:solidFill>
                  <a:srgbClr val="1A3B47"/>
                </a:solidFill>
                <a:ea typeface="+mn-lt"/>
                <a:cs typeface="+mn-lt"/>
              </a:rPr>
              <a:t> </a:t>
            </a:r>
            <a:r>
              <a:rPr lang="en-US" sz="1200" err="1">
                <a:solidFill>
                  <a:srgbClr val="1A3B47"/>
                </a:solidFill>
                <a:ea typeface="+mn-lt"/>
                <a:cs typeface="+mn-lt"/>
              </a:rPr>
              <a:t>sectores</a:t>
            </a:r>
            <a:r>
              <a:rPr lang="en-US" sz="1200">
                <a:solidFill>
                  <a:srgbClr val="1A3B47"/>
                </a:solidFill>
                <a:ea typeface="+mn-lt"/>
                <a:cs typeface="+mn-lt"/>
              </a:rPr>
              <a:t> </a:t>
            </a:r>
            <a:endParaRPr lang="en-US" sz="1200">
              <a:ea typeface="+mn-lt"/>
              <a:cs typeface="+mn-lt"/>
            </a:endParaRPr>
          </a:p>
        </p:txBody>
      </p:sp>
      <p:sp>
        <p:nvSpPr>
          <p:cNvPr id="102" name="CuadroTexto 54_0"/>
          <p:cNvSpPr/>
          <p:nvPr/>
        </p:nvSpPr>
        <p:spPr>
          <a:xfrm>
            <a:off x="9429518" y="6029484"/>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1" strike="noStrike" spc="-1">
                <a:latin typeface="Soho Gothic Pro"/>
              </a:rPr>
              <a:t>Idiomas</a:t>
            </a:r>
            <a:endParaRPr lang="es-ES" sz="1200" b="1" strike="noStrike" spc="-1">
              <a:latin typeface="Arial"/>
            </a:endParaRPr>
          </a:p>
        </p:txBody>
      </p:sp>
      <p:sp>
        <p:nvSpPr>
          <p:cNvPr id="103" name="CuadroTexto 55_0"/>
          <p:cNvSpPr/>
          <p:nvPr/>
        </p:nvSpPr>
        <p:spPr>
          <a:xfrm>
            <a:off x="9433872" y="6225486"/>
            <a:ext cx="2712240" cy="707886"/>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r>
              <a:rPr lang="es-ES" sz="1000" b="1" strike="noStrike" spc="-1">
                <a:latin typeface="Soho Gothic Pro Light"/>
                <a:ea typeface="Soho Gothic Pro Light"/>
              </a:rPr>
              <a:t>Castellano - </a:t>
            </a:r>
            <a:r>
              <a:rPr lang="es-ES" sz="1000" b="0" strike="noStrike" spc="-1">
                <a:latin typeface="Soho Gothic Pro Light"/>
                <a:ea typeface="Soho Gothic Pro Light"/>
              </a:rPr>
              <a:t>Nativo</a:t>
            </a:r>
          </a:p>
          <a:p>
            <a:r>
              <a:rPr lang="ca-ES" sz="1000" b="1" spc="-1" err="1">
                <a:latin typeface="Soho Gothic Pro Light"/>
                <a:ea typeface="Soho Gothic Pro Light"/>
              </a:rPr>
              <a:t>Catalán</a:t>
            </a:r>
            <a:r>
              <a:rPr lang="ca-ES" sz="1000" b="1" spc="-1">
                <a:latin typeface="Soho Gothic Pro Light"/>
                <a:ea typeface="Soho Gothic Pro Light"/>
              </a:rPr>
              <a:t> - </a:t>
            </a:r>
            <a:r>
              <a:rPr lang="ca-ES" sz="1000" spc="-1">
                <a:latin typeface="Soho Gothic Pro Light"/>
                <a:ea typeface="Soho Gothic Pro Light"/>
              </a:rPr>
              <a:t>B2</a:t>
            </a:r>
            <a:r>
              <a:rPr lang="ca-ES" sz="1000" i="1" spc="-1">
                <a:latin typeface="Soho Gothic Pro Light"/>
                <a:ea typeface="Soho Gothic Pro Light"/>
              </a:rPr>
              <a:t> </a:t>
            </a:r>
            <a:r>
              <a:rPr lang="ca-ES" sz="900" i="1" spc="-1">
                <a:latin typeface="Soho Gothic Pro Light"/>
                <a:ea typeface="Soho Gothic Pro Light"/>
              </a:rPr>
              <a:t>(</a:t>
            </a:r>
            <a:r>
              <a:rPr lang="ca-ES" sz="900" i="1" spc="-1" err="1">
                <a:latin typeface="Soho Gothic Pro Light"/>
                <a:ea typeface="Soho Gothic Pro Light"/>
              </a:rPr>
              <a:t>Escuela</a:t>
            </a:r>
            <a:r>
              <a:rPr lang="ca-ES" sz="900" i="1" spc="-1">
                <a:latin typeface="Soho Gothic Pro Light"/>
                <a:ea typeface="Soho Gothic Pro Light"/>
              </a:rPr>
              <a:t> oficial de </a:t>
            </a:r>
            <a:r>
              <a:rPr lang="ca-ES" sz="900" i="1" spc="-1" err="1">
                <a:latin typeface="Soho Gothic Pro Light"/>
                <a:ea typeface="Soho Gothic Pro Light"/>
              </a:rPr>
              <a:t>Idiomas</a:t>
            </a:r>
            <a:r>
              <a:rPr lang="ca-ES" sz="900" i="1" spc="-1">
                <a:latin typeface="Soho Gothic Pro Light"/>
                <a:ea typeface="Soho Gothic Pro Light"/>
              </a:rPr>
              <a:t>)</a:t>
            </a:r>
            <a:r>
              <a:rPr lang="ca-ES" sz="1750"/>
              <a:t/>
            </a:r>
            <a:br>
              <a:rPr lang="ca-ES" sz="1750"/>
            </a:br>
            <a:r>
              <a:rPr lang="es-ES" sz="1000" b="1" spc="-1">
                <a:latin typeface="Soho Gothic Pro Light"/>
              </a:rPr>
              <a:t>Inglés</a:t>
            </a:r>
            <a:r>
              <a:rPr lang="es-ES" sz="1000" b="1" strike="noStrike" spc="-1">
                <a:latin typeface="Soho Gothic Pro Light"/>
                <a:ea typeface="Soho Gothic Pro Light"/>
              </a:rPr>
              <a:t> </a:t>
            </a:r>
            <a:r>
              <a:rPr lang="es-ES" sz="1000" b="1" spc="-1">
                <a:latin typeface="Soho Gothic Pro Light"/>
                <a:ea typeface="Soho Gothic Pro Light"/>
              </a:rPr>
              <a:t>- </a:t>
            </a:r>
            <a:r>
              <a:rPr lang="es-ES" sz="1000" spc="-1">
                <a:latin typeface="Soho Gothic Pro Light"/>
                <a:ea typeface="Soho Gothic Pro Light"/>
              </a:rPr>
              <a:t>B2.1 </a:t>
            </a:r>
            <a:r>
              <a:rPr lang="es-ES" sz="900" i="1" spc="-1">
                <a:latin typeface="Soho Gothic Pro Light"/>
                <a:ea typeface="Soho Gothic Pro Light"/>
              </a:rPr>
              <a:t>(Escuela Oficial de Idiomas)</a:t>
            </a:r>
            <a:endParaRPr lang="es-ES" sz="900" i="1" strike="noStrike" spc="-1">
              <a:latin typeface="Soho Gothic Pro Light"/>
            </a:endParaRPr>
          </a:p>
          <a:p>
            <a:pPr>
              <a:lnSpc>
                <a:spcPct val="100000"/>
              </a:lnSpc>
            </a:pPr>
            <a:endParaRPr lang="es-ES" sz="1000" b="0" strike="noStrike" spc="-1">
              <a:solidFill>
                <a:srgbClr val="FF0000"/>
              </a:solidFill>
              <a:latin typeface="Arial"/>
            </a:endParaRPr>
          </a:p>
        </p:txBody>
      </p:sp>
      <p:sp>
        <p:nvSpPr>
          <p:cNvPr id="105" name="CuadroTexto 40_0"/>
          <p:cNvSpPr/>
          <p:nvPr/>
        </p:nvSpPr>
        <p:spPr>
          <a:xfrm>
            <a:off x="1456018" y="112710"/>
            <a:ext cx="6166508" cy="461665"/>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2400" spc="-1">
                <a:solidFill>
                  <a:srgbClr val="FFFFFF"/>
                </a:solidFill>
                <a:latin typeface="Soho Gothic Pro Medium"/>
              </a:rPr>
              <a:t>BigData </a:t>
            </a:r>
            <a:r>
              <a:rPr lang="es-ES" sz="2400" spc="-1" err="1">
                <a:solidFill>
                  <a:srgbClr val="FFFFFF"/>
                </a:solidFill>
                <a:latin typeface="Soho Gothic Pro Medium"/>
              </a:rPr>
              <a:t>Architect</a:t>
            </a:r>
            <a:r>
              <a:rPr lang="es-ES" sz="2400" spc="-1">
                <a:solidFill>
                  <a:srgbClr val="FFFFFF"/>
                </a:solidFill>
                <a:latin typeface="Soho Gothic Pro Medium"/>
              </a:rPr>
              <a:t> &amp; IA </a:t>
            </a:r>
            <a:r>
              <a:rPr lang="es-ES" sz="2400" spc="-1" err="1">
                <a:solidFill>
                  <a:srgbClr val="FFFFFF"/>
                </a:solidFill>
                <a:latin typeface="Soho Gothic Pro Medium"/>
              </a:rPr>
              <a:t>Engineer</a:t>
            </a:r>
            <a:endParaRPr lang="es-ES" sz="2400" b="0" strike="noStrike" spc="-1">
              <a:solidFill>
                <a:srgbClr val="FFFFFF"/>
              </a:solidFill>
              <a:latin typeface="Soho Gothic Pro Medium"/>
              <a:cs typeface="Arial"/>
            </a:endParaRPr>
          </a:p>
        </p:txBody>
      </p:sp>
      <p:sp>
        <p:nvSpPr>
          <p:cNvPr id="106" name="CuadroTexto 30_0"/>
          <p:cNvSpPr/>
          <p:nvPr/>
        </p:nvSpPr>
        <p:spPr>
          <a:xfrm>
            <a:off x="24916" y="110419"/>
            <a:ext cx="2731320" cy="40011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r>
              <a:rPr lang="es-ES" sz="2000" spc="-1">
                <a:solidFill>
                  <a:schemeClr val="bg1"/>
                </a:solidFill>
                <a:latin typeface="Soho Gothic Pro Light"/>
                <a:ea typeface="Soho Gothic Pro Light"/>
              </a:rPr>
              <a:t>M.G.B. </a:t>
            </a:r>
            <a:endParaRPr lang="es-ES" sz="2000" b="0" strike="noStrike" spc="-1">
              <a:solidFill>
                <a:schemeClr val="bg1"/>
              </a:solidFill>
              <a:latin typeface="Arial"/>
            </a:endParaRPr>
          </a:p>
        </p:txBody>
      </p:sp>
      <p:sp>
        <p:nvSpPr>
          <p:cNvPr id="109" name="CuadroTexto 37_0"/>
          <p:cNvSpPr/>
          <p:nvPr/>
        </p:nvSpPr>
        <p:spPr>
          <a:xfrm>
            <a:off x="9431605" y="3599290"/>
            <a:ext cx="2298975" cy="272880"/>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r>
              <a:rPr lang="es-ES" sz="1200" b="1" spc="-1">
                <a:solidFill>
                  <a:srgbClr val="1A3B47"/>
                </a:solidFill>
                <a:latin typeface="Soho Gothic Pro"/>
              </a:rPr>
              <a:t>Formación complementaria</a:t>
            </a:r>
          </a:p>
        </p:txBody>
      </p:sp>
      <p:sp>
        <p:nvSpPr>
          <p:cNvPr id="110" name="CuadroTexto 52_0"/>
          <p:cNvSpPr/>
          <p:nvPr/>
        </p:nvSpPr>
        <p:spPr>
          <a:xfrm>
            <a:off x="9444978" y="4687169"/>
            <a:ext cx="2723726" cy="1323439"/>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n-US" sz="1000" b="1" spc="-1">
                <a:latin typeface="Soho Gothic Pro Light"/>
                <a:ea typeface="Soho Gothic Pro Light"/>
              </a:rPr>
              <a:t>Programming languages</a:t>
            </a:r>
            <a:r>
              <a:rPr lang="en-US" sz="1000" spc="-1">
                <a:latin typeface="Soho Gothic Pro Light"/>
                <a:ea typeface="Soho Gothic Pro Light"/>
              </a:rPr>
              <a:t>: </a:t>
            </a:r>
            <a:r>
              <a:rPr lang="en-US" sz="1000" i="1" spc="-1">
                <a:ea typeface="Soho Gothic Pro Light"/>
              </a:rPr>
              <a:t>Java, Scala, Python, Microsoft.NET, C++, PHP</a:t>
            </a:r>
            <a:endParaRPr lang="es-ES" sz="1000" i="1" spc="-1">
              <a:ea typeface="Soho Gothic Pro Light"/>
            </a:endParaRPr>
          </a:p>
          <a:p>
            <a:r>
              <a:rPr lang="en-US" sz="1000" b="1" spc="-1">
                <a:latin typeface="Soho Gothic Pro Light"/>
                <a:ea typeface="Soho Gothic Pro Light"/>
              </a:rPr>
              <a:t>Databases: </a:t>
            </a:r>
            <a:r>
              <a:rPr lang="en-US" sz="1000" spc="-1">
                <a:ea typeface="+mn-lt"/>
                <a:cs typeface="+mn-lt"/>
              </a:rPr>
              <a:t>MongoDB, Hive, Impala, Kudu, </a:t>
            </a:r>
            <a:r>
              <a:rPr lang="en-US" sz="1000" spc="-1" err="1">
                <a:ea typeface="+mn-lt"/>
                <a:cs typeface="+mn-lt"/>
              </a:rPr>
              <a:t>Hbase</a:t>
            </a:r>
            <a:r>
              <a:rPr lang="en-US" sz="1000" spc="-1">
                <a:ea typeface="+mn-lt"/>
                <a:cs typeface="+mn-lt"/>
              </a:rPr>
              <a:t>, </a:t>
            </a:r>
            <a:r>
              <a:rPr lang="en-US" sz="1000" spc="-1" err="1">
                <a:ea typeface="+mn-lt"/>
                <a:cs typeface="+mn-lt"/>
              </a:rPr>
              <a:t>ElasticSearch</a:t>
            </a:r>
            <a:r>
              <a:rPr lang="en-US" sz="1000" spc="-1">
                <a:ea typeface="+mn-lt"/>
                <a:cs typeface="+mn-lt"/>
              </a:rPr>
              <a:t>, Oracle, </a:t>
            </a:r>
            <a:r>
              <a:rPr lang="en-US" sz="1000" spc="-1" err="1">
                <a:ea typeface="+mn-lt"/>
                <a:cs typeface="+mn-lt"/>
              </a:rPr>
              <a:t>SQLServer</a:t>
            </a:r>
            <a:r>
              <a:rPr lang="en-US" sz="1000" spc="-1">
                <a:ea typeface="+mn-lt"/>
                <a:cs typeface="+mn-lt"/>
              </a:rPr>
              <a:t>, MySQL, Postgres</a:t>
            </a:r>
          </a:p>
          <a:p>
            <a:r>
              <a:rPr lang="en-US" sz="1000" b="1" spc="-1">
                <a:ea typeface="Soho Gothic Pro Light"/>
              </a:rPr>
              <a:t>Big Data (</a:t>
            </a:r>
            <a:r>
              <a:rPr lang="en-US" sz="1000" b="1" spc="-1" err="1">
                <a:ea typeface="Soho Gothic Pro Light"/>
              </a:rPr>
              <a:t>tecnología</a:t>
            </a:r>
            <a:r>
              <a:rPr lang="en-US" sz="1000" b="1" spc="-1">
                <a:ea typeface="Soho Gothic Pro Light"/>
              </a:rPr>
              <a:t>): </a:t>
            </a:r>
            <a:r>
              <a:rPr lang="en-US" sz="1000" i="1" spc="-1">
                <a:ea typeface="Soho Gothic Pro Light"/>
              </a:rPr>
              <a:t>Hadoop, Spark, </a:t>
            </a:r>
            <a:r>
              <a:rPr lang="en-US" sz="1000" i="1" spc="-1" err="1">
                <a:ea typeface="Soho Gothic Pro Light"/>
              </a:rPr>
              <a:t>Storn</a:t>
            </a:r>
            <a:r>
              <a:rPr lang="en-US" sz="1000" i="1" spc="-1">
                <a:ea typeface="Soho Gothic Pro Light"/>
              </a:rPr>
              <a:t>, </a:t>
            </a:r>
            <a:r>
              <a:rPr lang="en-US" sz="1000" i="1" spc="-1" err="1">
                <a:ea typeface="Soho Gothic Pro Light"/>
              </a:rPr>
              <a:t>Arquitecturas</a:t>
            </a:r>
            <a:r>
              <a:rPr lang="en-US" sz="1000" i="1" spc="-1">
                <a:ea typeface="Soho Gothic Pro Light"/>
              </a:rPr>
              <a:t>, Kafka, MQTT, Cloudera, Akka, GIT, Machine Learning.</a:t>
            </a:r>
            <a:endParaRPr lang="en-US" sz="1000" i="1" spc="-1">
              <a:solidFill>
                <a:srgbClr val="1A3B47"/>
              </a:solidFill>
              <a:ea typeface="Soho Gothic Pro Light"/>
            </a:endParaRPr>
          </a:p>
        </p:txBody>
      </p:sp>
      <p:sp>
        <p:nvSpPr>
          <p:cNvPr id="112" name="CuadroTexto 56_0"/>
          <p:cNvSpPr/>
          <p:nvPr/>
        </p:nvSpPr>
        <p:spPr>
          <a:xfrm>
            <a:off x="936049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solidFill>
                  <a:srgbClr val="1A3B47"/>
                </a:solidFill>
                <a:latin typeface="Soho Gothic Pro"/>
              </a:rPr>
              <a:t>Educación</a:t>
            </a:r>
            <a:endParaRPr lang="es-ES" sz="1200" b="1" strike="noStrike" spc="-1">
              <a:solidFill>
                <a:srgbClr val="1A3B47"/>
              </a:solidFill>
              <a:latin typeface="Arial"/>
            </a:endParaRPr>
          </a:p>
        </p:txBody>
      </p:sp>
      <p:sp>
        <p:nvSpPr>
          <p:cNvPr id="113" name="CuadroTexto 70_0"/>
          <p:cNvSpPr/>
          <p:nvPr/>
        </p:nvSpPr>
        <p:spPr>
          <a:xfrm>
            <a:off x="9819343" y="340457"/>
            <a:ext cx="2365234" cy="2693045"/>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pc="-1">
                <a:ea typeface="Soho Gothic Pro Light"/>
              </a:rPr>
              <a:t>Máster Universitario en Investigación en Inteligencia Artificial</a:t>
            </a:r>
            <a:r>
              <a:rPr lang="es-ES" sz="1000" spc="-1">
                <a:ea typeface="Soho Gothic Pro Light"/>
              </a:rPr>
              <a:t>, mención </a:t>
            </a:r>
            <a:r>
              <a:rPr lang="es-ES" sz="1000" i="1" spc="-1">
                <a:ea typeface="Soho Gothic Pro Light"/>
              </a:rPr>
              <a:t>especialidad Big Data y aprendizaje ciencia de datos</a:t>
            </a:r>
            <a:endParaRPr lang="es-ES" sz="1000" spc="-1"/>
          </a:p>
          <a:p>
            <a:r>
              <a:rPr lang="es-ES" sz="900" spc="-1">
                <a:ea typeface="Soho Gothic Pro Light"/>
              </a:rPr>
              <a:t>(Asociación Española para la Inteligencia Artificial y Universidad Internacional Menéndez Pelayo)</a:t>
            </a:r>
            <a:endParaRPr lang="es-ES" sz="900"/>
          </a:p>
          <a:p>
            <a:endParaRPr lang="es-ES" sz="1000" spc="-1">
              <a:ea typeface="Soho Gothic Pro Light"/>
            </a:endParaRPr>
          </a:p>
          <a:p>
            <a:r>
              <a:rPr lang="es-ES" sz="1000" b="1" spc="-1">
                <a:ea typeface="Soho Gothic Pro Light"/>
              </a:rPr>
              <a:t>Máster Universitario en Ingeniería Informática</a:t>
            </a:r>
            <a:r>
              <a:rPr lang="es-ES" sz="1000" spc="-1">
                <a:ea typeface="Soho Gothic Pro Light"/>
              </a:rPr>
              <a:t>, mención especialidad </a:t>
            </a:r>
            <a:r>
              <a:rPr lang="es-ES" sz="1000" i="1" spc="-1">
                <a:ea typeface="Soho Gothic Pro Light"/>
              </a:rPr>
              <a:t>Big Data </a:t>
            </a:r>
            <a:r>
              <a:rPr lang="es-ES" sz="1000" i="1" spc="-1" err="1">
                <a:ea typeface="Soho Gothic Pro Light"/>
              </a:rPr>
              <a:t>Analytics</a:t>
            </a:r>
            <a:endParaRPr lang="es-ES" sz="1000" spc="-1" err="1">
              <a:ea typeface="Soho Gothic Pro Light"/>
            </a:endParaRPr>
          </a:p>
          <a:p>
            <a:r>
              <a:rPr lang="es-ES" sz="900" spc="-1">
                <a:ea typeface="Soho Gothic Pro Light"/>
              </a:rPr>
              <a:t>(Universidad de Lleida)</a:t>
            </a:r>
            <a:endParaRPr lang="es-ES" sz="900"/>
          </a:p>
          <a:p>
            <a:endParaRPr lang="es-ES" sz="1000" spc="-1">
              <a:ea typeface="Soho Gothic Pro Light"/>
            </a:endParaRPr>
          </a:p>
          <a:p>
            <a:r>
              <a:rPr lang="es-ES" sz="1000" b="1" spc="-1">
                <a:ea typeface="Soho Gothic Pro Light"/>
              </a:rPr>
              <a:t>Ingeniero Técnico en Informática de Sistemas</a:t>
            </a:r>
            <a:r>
              <a:rPr lang="es-ES" sz="1000" spc="-1">
                <a:ea typeface="Soho Gothic Pro Light"/>
              </a:rPr>
              <a:t> </a:t>
            </a:r>
          </a:p>
          <a:p>
            <a:r>
              <a:rPr lang="es-ES" sz="900" spc="-1">
                <a:ea typeface="Soho Gothic Pro Light"/>
              </a:rPr>
              <a:t>(Universidad Nacional de Educación a Distancia)</a:t>
            </a:r>
            <a:endParaRPr lang="es-ES" sz="900"/>
          </a:p>
        </p:txBody>
      </p:sp>
      <p:sp>
        <p:nvSpPr>
          <p:cNvPr id="114" name="CuadroTexto 73_0"/>
          <p:cNvSpPr/>
          <p:nvPr/>
        </p:nvSpPr>
        <p:spPr>
          <a:xfrm>
            <a:off x="9422262" y="362983"/>
            <a:ext cx="535645" cy="230832"/>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r>
              <a:rPr lang="es-ES" sz="900" spc="-1">
                <a:solidFill>
                  <a:srgbClr val="1A3B47"/>
                </a:solidFill>
                <a:latin typeface="Soho Gothic Pro Medium"/>
              </a:rPr>
              <a:t>2021</a:t>
            </a:r>
            <a:endParaRPr lang="es-ES" sz="900" b="0" strike="noStrike" spc="-1">
              <a:solidFill>
                <a:srgbClr val="1A3B47"/>
              </a:solidFill>
              <a:latin typeface="Soho Gothic Pro Medium"/>
            </a:endParaRPr>
          </a:p>
        </p:txBody>
      </p:sp>
      <p:sp>
        <p:nvSpPr>
          <p:cNvPr id="117" name="CuadroTexto 33_0"/>
          <p:cNvSpPr/>
          <p:nvPr/>
        </p:nvSpPr>
        <p:spPr>
          <a:xfrm>
            <a:off x="9428874" y="2948084"/>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r>
              <a:rPr lang="es-ES" sz="1200" b="1" spc="-1">
                <a:solidFill>
                  <a:srgbClr val="1A3B47"/>
                </a:solidFill>
                <a:latin typeface="Soho Gothic Pro Light"/>
              </a:rPr>
              <a:t>Certificaciones</a:t>
            </a:r>
          </a:p>
        </p:txBody>
      </p:sp>
      <p:sp>
        <p:nvSpPr>
          <p:cNvPr id="37" name="CuadroTexto 30_0"/>
          <p:cNvSpPr/>
          <p:nvPr/>
        </p:nvSpPr>
        <p:spPr>
          <a:xfrm>
            <a:off x="5757155" y="166495"/>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Mariano Garralda Barrio</a:t>
            </a:r>
            <a:endParaRPr lang="es-ES" sz="2000" b="0" strike="noStrike" spc="-1">
              <a:solidFill>
                <a:schemeClr val="bg1"/>
              </a:solidFill>
              <a:latin typeface="Arial"/>
            </a:endParaRPr>
          </a:p>
        </p:txBody>
      </p:sp>
      <p:sp>
        <p:nvSpPr>
          <p:cNvPr id="27" name="CuadroTexto 44_0"/>
          <p:cNvSpPr/>
          <p:nvPr/>
        </p:nvSpPr>
        <p:spPr>
          <a:xfrm>
            <a:off x="685800" y="1346218"/>
            <a:ext cx="4215600" cy="3647152"/>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lnSpc>
                <a:spcPct val="100000"/>
              </a:lnSpc>
            </a:pPr>
            <a:r>
              <a:rPr lang="es-ES" sz="1100" b="1" strike="noStrike" spc="-1" err="1">
                <a:solidFill>
                  <a:srgbClr val="1A3B47"/>
                </a:solidFill>
                <a:latin typeface="Soho Gothic Pro Light"/>
                <a:ea typeface="Soho Gothic Pro Light"/>
              </a:rPr>
              <a:t>Minsait</a:t>
            </a:r>
            <a:r>
              <a:rPr lang="es-ES" sz="1100" b="1" strike="noStrike" spc="-1">
                <a:solidFill>
                  <a:srgbClr val="1A3B47"/>
                </a:solidFill>
                <a:latin typeface="Soho Gothic Pro Light"/>
                <a:ea typeface="Soho Gothic Pro Light"/>
              </a:rPr>
              <a:t> </a:t>
            </a:r>
            <a:r>
              <a:rPr lang="es-ES" sz="1100" b="1" strike="noStrike" spc="-1" err="1">
                <a:solidFill>
                  <a:srgbClr val="1A3B47"/>
                </a:solidFill>
                <a:latin typeface="Soho Gothic Pro Light"/>
                <a:ea typeface="Soho Gothic Pro Light"/>
              </a:rPr>
              <a:t>by</a:t>
            </a:r>
            <a:r>
              <a:rPr lang="es-ES" sz="1100" b="1" strike="noStrike" spc="-1">
                <a:solidFill>
                  <a:srgbClr val="1A3B47"/>
                </a:solidFill>
                <a:latin typeface="Soho Gothic Pro Light"/>
                <a:ea typeface="Soho Gothic Pro Light"/>
              </a:rPr>
              <a:t> Indra (</a:t>
            </a:r>
            <a:r>
              <a:rPr lang="es-ES" sz="1100" b="1" spc="-1">
                <a:solidFill>
                  <a:srgbClr val="1A3B47"/>
                </a:solidFill>
                <a:latin typeface="Soho Gothic Pro Light"/>
                <a:ea typeface="Soho Gothic Pro Light"/>
              </a:rPr>
              <a:t>Lleida</a:t>
            </a:r>
            <a:r>
              <a:rPr lang="es-ES" sz="1100" b="1" strike="noStrike" spc="-1">
                <a:solidFill>
                  <a:srgbClr val="1A3B47"/>
                </a:solidFill>
                <a:latin typeface="Soho Gothic Pro Light"/>
                <a:ea typeface="Soho Gothic Pro Light"/>
              </a:rPr>
              <a:t>, España)</a:t>
            </a:r>
            <a:endParaRPr lang="es-ES" sz="1100" b="0" strike="noStrike" spc="-1">
              <a:solidFill>
                <a:srgbClr val="1A3B47"/>
              </a:solidFill>
              <a:latin typeface="Arial"/>
            </a:endParaRPr>
          </a:p>
          <a:p>
            <a:pPr algn="just"/>
            <a:r>
              <a:rPr lang="es-ES" sz="1100" spc="-1">
                <a:solidFill>
                  <a:srgbClr val="1A3B47"/>
                </a:solidFill>
                <a:latin typeface="Soho Gothic Pro Light"/>
              </a:rPr>
              <a:t>Responsable área de Big Data e IA</a:t>
            </a:r>
          </a:p>
          <a:p>
            <a:pPr algn="just"/>
            <a:endParaRPr lang="es-ES" sz="1100" spc="-1">
              <a:solidFill>
                <a:srgbClr val="1A3B47"/>
              </a:solidFill>
            </a:endParaRPr>
          </a:p>
          <a:p>
            <a:pPr marL="170815" indent="-170815" algn="just">
              <a:buClr>
                <a:srgbClr val="1A3B47"/>
              </a:buClr>
              <a:buFont typeface="Arial,Sans-Serif"/>
              <a:buChar char="•"/>
            </a:pPr>
            <a:r>
              <a:rPr lang="es-ES" sz="1100" spc="-1">
                <a:solidFill>
                  <a:srgbClr val="1A3B47"/>
                </a:solidFill>
              </a:rPr>
              <a:t>Responsable del área de Big Data e Inteligencia Artificial en </a:t>
            </a:r>
            <a:r>
              <a:rPr lang="es-ES" sz="1100" spc="-1" err="1">
                <a:solidFill>
                  <a:srgbClr val="1A3B47"/>
                </a:solidFill>
              </a:rPr>
              <a:t>OpSait</a:t>
            </a:r>
            <a:r>
              <a:rPr lang="es-ES" sz="1100" spc="-1">
                <a:solidFill>
                  <a:srgbClr val="1A3B47"/>
                </a:solidFill>
              </a:rPr>
              <a:t>  (Indra) Lleida/Zaragoza.</a:t>
            </a:r>
          </a:p>
          <a:p>
            <a:pPr algn="just">
              <a:buClr>
                <a:srgbClr val="1A3B47"/>
              </a:buClr>
            </a:pPr>
            <a:endParaRPr lang="es-ES" sz="1100" spc="-1">
              <a:solidFill>
                <a:srgbClr val="1A3B47"/>
              </a:solidFill>
            </a:endParaRPr>
          </a:p>
          <a:p>
            <a:pPr marL="170815" indent="-170815" algn="just">
              <a:buClr>
                <a:srgbClr val="1A3B47"/>
              </a:buClr>
              <a:buFont typeface="Arial,Sans-Serif"/>
              <a:buChar char="•"/>
            </a:pPr>
            <a:r>
              <a:rPr lang="es-ES" sz="1100" spc="-1">
                <a:solidFill>
                  <a:srgbClr val="1A3B47"/>
                </a:solidFill>
              </a:rPr>
              <a:t>Diseño de arquitecturas y programador de software Big Data en proyectos para diferentes mercados de Indra: Energía, Medios de pago, Administraciones públicas, Industria.</a:t>
            </a:r>
          </a:p>
          <a:p>
            <a:pPr marL="170815" indent="-170815" algn="just">
              <a:lnSpc>
                <a:spcPct val="100000"/>
              </a:lnSpc>
              <a:buClr>
                <a:srgbClr val="1A3B47"/>
              </a:buClr>
              <a:buFont typeface="Arial,Sans-Serif"/>
              <a:buChar char="•"/>
            </a:pPr>
            <a:endParaRPr lang="es-ES" sz="1100" spc="-1">
              <a:solidFill>
                <a:srgbClr val="1A3B47"/>
              </a:solidFill>
            </a:endParaRPr>
          </a:p>
          <a:p>
            <a:pPr marL="170815" indent="-170815" algn="just">
              <a:buClr>
                <a:srgbClr val="1A3B47"/>
              </a:buClr>
              <a:buFont typeface="Arial,Sans-Serif"/>
              <a:buChar char="•"/>
            </a:pPr>
            <a:r>
              <a:rPr lang="es-ES" sz="1100" spc="-1">
                <a:solidFill>
                  <a:srgbClr val="1A3B47"/>
                </a:solidFill>
              </a:rPr>
              <a:t>Diseño del marco de arquitectura de datos y algoritmos de </a:t>
            </a:r>
            <a:r>
              <a:rPr lang="es-ES" sz="1100" spc="-1" err="1">
                <a:solidFill>
                  <a:srgbClr val="1A3B47"/>
                </a:solidFill>
              </a:rPr>
              <a:t>MinSait</a:t>
            </a:r>
            <a:r>
              <a:rPr lang="es-ES" sz="1100" spc="-1">
                <a:solidFill>
                  <a:srgbClr val="1A3B47"/>
                </a:solidFill>
              </a:rPr>
              <a:t>.</a:t>
            </a:r>
          </a:p>
          <a:p>
            <a:pPr marL="170815" indent="-170815" algn="just">
              <a:buClr>
                <a:srgbClr val="1A3B47"/>
              </a:buClr>
              <a:buFont typeface="Arial,Sans-Serif"/>
              <a:buChar char="•"/>
            </a:pPr>
            <a:endParaRPr lang="es-ES" sz="1100" spc="-1">
              <a:solidFill>
                <a:srgbClr val="1A3B47"/>
              </a:solidFill>
            </a:endParaRPr>
          </a:p>
          <a:p>
            <a:pPr marL="170815" indent="-170815" algn="just">
              <a:buClr>
                <a:srgbClr val="1A3B47"/>
              </a:buClr>
              <a:buFont typeface="Arial,Sans-Serif"/>
              <a:buChar char="•"/>
            </a:pPr>
            <a:r>
              <a:rPr lang="es-ES" sz="1100" spc="-1">
                <a:solidFill>
                  <a:srgbClr val="1A3B47"/>
                </a:solidFill>
              </a:rPr>
              <a:t>Soporte como experto tecnológico dentro de Indra a diferentes proyectos basados en Big Data</a:t>
            </a:r>
          </a:p>
          <a:p>
            <a:pPr marL="170815" indent="-170815" algn="just">
              <a:buClr>
                <a:srgbClr val="1A3B47"/>
              </a:buClr>
              <a:buFont typeface="Arial,Sans-Serif"/>
              <a:buChar char="•"/>
            </a:pPr>
            <a:endParaRPr lang="es-ES" sz="1100" spc="-1">
              <a:solidFill>
                <a:srgbClr val="1A3B47"/>
              </a:solidFill>
            </a:endParaRPr>
          </a:p>
          <a:p>
            <a:pPr marL="170815" indent="-170815" algn="just">
              <a:buClr>
                <a:srgbClr val="1A3B47"/>
              </a:buClr>
              <a:buFont typeface="Arial,Sans-Serif"/>
              <a:buChar char="•"/>
            </a:pPr>
            <a:r>
              <a:rPr lang="es-ES" sz="1100" spc="-1">
                <a:solidFill>
                  <a:srgbClr val="1A3B47"/>
                </a:solidFill>
              </a:rPr>
              <a:t>Análisis de aplicaciones Big Data para mejorar el rendimiento</a:t>
            </a:r>
          </a:p>
          <a:p>
            <a:pPr marL="170815" indent="-170815" algn="just">
              <a:buClr>
                <a:srgbClr val="1A3B47"/>
              </a:buClr>
              <a:buFont typeface="Arial,Sans-Serif"/>
              <a:buChar char="•"/>
            </a:pPr>
            <a:endParaRPr lang="es-ES" sz="1100" spc="-1">
              <a:solidFill>
                <a:srgbClr val="1A3B47"/>
              </a:solidFill>
            </a:endParaRPr>
          </a:p>
          <a:p>
            <a:pPr marL="170815" indent="-170815" algn="just">
              <a:buClr>
                <a:srgbClr val="1A3B47"/>
              </a:buClr>
              <a:buFont typeface="Arial,Sans-Serif"/>
              <a:buChar char="•"/>
            </a:pPr>
            <a:r>
              <a:rPr lang="es-ES" sz="1100" spc="-1">
                <a:solidFill>
                  <a:srgbClr val="1A3B47"/>
                </a:solidFill>
              </a:rPr>
              <a:t>Diseño y desarrollo de arquitectura de Procesamiento de Lenguaje Natural para el procesamiento de documentos jurídicos.</a:t>
            </a:r>
          </a:p>
          <a:p>
            <a:pPr marL="170815" indent="-170815" algn="just">
              <a:buClr>
                <a:srgbClr val="1A3B47"/>
              </a:buClr>
              <a:buFont typeface="Arial,Sans-Serif"/>
              <a:buChar char="•"/>
            </a:pPr>
            <a:endParaRPr lang="es-ES" sz="1100" spc="-1">
              <a:solidFill>
                <a:srgbClr val="1A3B47"/>
              </a:solidFill>
            </a:endParaRPr>
          </a:p>
          <a:p>
            <a:pPr marL="170815" indent="-170815" algn="just">
              <a:buClr>
                <a:srgbClr val="1A3B47"/>
              </a:buClr>
              <a:buFont typeface="Arial,Sans-Serif"/>
              <a:buChar char="•"/>
            </a:pPr>
            <a:endParaRPr lang="es-ES" sz="1100" spc="-1">
              <a:solidFill>
                <a:srgbClr val="1A3B47"/>
              </a:solidFill>
            </a:endParaRPr>
          </a:p>
        </p:txBody>
      </p:sp>
      <p:sp>
        <p:nvSpPr>
          <p:cNvPr id="28" name="CuadroTexto 45_2"/>
          <p:cNvSpPr/>
          <p:nvPr/>
        </p:nvSpPr>
        <p:spPr>
          <a:xfrm>
            <a:off x="5368442" y="2888804"/>
            <a:ext cx="4007341" cy="1952927"/>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algn="just"/>
            <a:r>
              <a:rPr lang="es-ES" sz="1100" b="1" spc="-1" err="1">
                <a:solidFill>
                  <a:srgbClr val="1A3B47"/>
                </a:solidFill>
                <a:ea typeface="Soho Gothic Pro Light"/>
              </a:rPr>
              <a:t>Distromel</a:t>
            </a:r>
            <a:r>
              <a:rPr lang="es-ES" sz="1100" b="1" spc="-1">
                <a:solidFill>
                  <a:srgbClr val="1A3B47"/>
                </a:solidFill>
                <a:ea typeface="Soho Gothic Pro Light"/>
              </a:rPr>
              <a:t> Ingeniería de Sistemas (Huesca, España)</a:t>
            </a:r>
            <a:endParaRPr lang="es-ES" sz="1100" spc="-1">
              <a:solidFill>
                <a:srgbClr val="1A3B47"/>
              </a:solidFill>
              <a:latin typeface="Arial"/>
            </a:endParaRPr>
          </a:p>
          <a:p>
            <a:pPr algn="just"/>
            <a:r>
              <a:rPr lang="es-ES" sz="1100" spc="-1" err="1">
                <a:solidFill>
                  <a:srgbClr val="1A3B47"/>
                </a:solidFill>
                <a:ea typeface="Soho Gothic Pro Light"/>
              </a:rPr>
              <a:t>Chieft</a:t>
            </a:r>
            <a:r>
              <a:rPr lang="es-ES" sz="1100" spc="-1">
                <a:solidFill>
                  <a:srgbClr val="1A3B47"/>
                </a:solidFill>
                <a:ea typeface="Soho Gothic Pro Light"/>
              </a:rPr>
              <a:t> </a:t>
            </a:r>
            <a:r>
              <a:rPr lang="es-ES" sz="1100" spc="-1" err="1">
                <a:solidFill>
                  <a:srgbClr val="1A3B47"/>
                </a:solidFill>
                <a:ea typeface="Soho Gothic Pro Light"/>
              </a:rPr>
              <a:t>Technology</a:t>
            </a:r>
            <a:r>
              <a:rPr lang="es-ES" sz="1100" spc="-1">
                <a:solidFill>
                  <a:srgbClr val="1A3B47"/>
                </a:solidFill>
                <a:ea typeface="Soho Gothic Pro Light"/>
              </a:rPr>
              <a:t> </a:t>
            </a:r>
            <a:r>
              <a:rPr lang="es-ES" sz="1100" spc="-1" err="1">
                <a:solidFill>
                  <a:srgbClr val="1A3B47"/>
                </a:solidFill>
                <a:ea typeface="Soho Gothic Pro Light"/>
              </a:rPr>
              <a:t>Officer</a:t>
            </a:r>
            <a:endParaRPr lang="es-ES" sz="1100" spc="-1">
              <a:solidFill>
                <a:srgbClr val="1A3B47"/>
              </a:solidFill>
              <a:ea typeface="Soho Gothic Pro Light"/>
            </a:endParaRPr>
          </a:p>
          <a:p>
            <a:pPr algn="just"/>
            <a:endParaRPr lang="es-ES" sz="1100" spc="-1">
              <a:solidFill>
                <a:srgbClr val="1A3B47"/>
              </a:solidFill>
            </a:endParaRPr>
          </a:p>
          <a:p>
            <a:pPr marL="170815" indent="-170815" algn="just">
              <a:buClr>
                <a:srgbClr val="1A3B47"/>
              </a:buClr>
              <a:buFont typeface="Arial,Sans-Serif"/>
              <a:buChar char="•"/>
            </a:pPr>
            <a:r>
              <a:rPr lang="es-ES" sz="1100" spc="-1">
                <a:solidFill>
                  <a:srgbClr val="1A3B47"/>
                </a:solidFill>
              </a:rPr>
              <a:t>Responsable del área de </a:t>
            </a:r>
            <a:r>
              <a:rPr lang="es-ES" sz="1100" spc="-1" err="1">
                <a:solidFill>
                  <a:srgbClr val="1A3B47"/>
                </a:solidFill>
              </a:rPr>
              <a:t>ingenería</a:t>
            </a:r>
            <a:r>
              <a:rPr lang="es-ES" sz="1100" spc="-1">
                <a:solidFill>
                  <a:srgbClr val="1A3B47"/>
                </a:solidFill>
              </a:rPr>
              <a:t> informática y electrónica.</a:t>
            </a:r>
          </a:p>
          <a:p>
            <a:pPr marL="170815" indent="-170815" algn="just">
              <a:buClr>
                <a:srgbClr val="1A3B47"/>
              </a:buClr>
              <a:buFont typeface="Arial,Sans-Serif"/>
              <a:buChar char="•"/>
            </a:pPr>
            <a:r>
              <a:rPr lang="es-ES" sz="1100" spc="-1">
                <a:solidFill>
                  <a:srgbClr val="1A3B47"/>
                </a:solidFill>
              </a:rPr>
              <a:t>Diseño y desarrollo de sistemas informáticos para el sector de gestión de residuos</a:t>
            </a:r>
          </a:p>
          <a:p>
            <a:pPr marL="170815" indent="-170815" algn="just">
              <a:buClr>
                <a:srgbClr val="1A3B47"/>
              </a:buClr>
              <a:buFont typeface="Arial,Sans-Serif"/>
              <a:buChar char="•"/>
            </a:pPr>
            <a:r>
              <a:rPr lang="es-ES" sz="1100" spc="-1">
                <a:solidFill>
                  <a:srgbClr val="1A3B47"/>
                </a:solidFill>
              </a:rPr>
              <a:t>Desarrollo de aplicaciones de software en alta disponibilidad para </a:t>
            </a:r>
            <a:r>
              <a:rPr lang="es-ES" sz="1100" spc="-1" err="1">
                <a:solidFill>
                  <a:srgbClr val="1A3B47"/>
                </a:solidFill>
              </a:rPr>
              <a:t>IoT</a:t>
            </a:r>
            <a:endParaRPr lang="es-ES" sz="1100" spc="-1">
              <a:solidFill>
                <a:srgbClr val="1A3B47"/>
              </a:solidFill>
            </a:endParaRPr>
          </a:p>
          <a:p>
            <a:pPr marL="170815" indent="-170815" algn="just">
              <a:buClr>
                <a:srgbClr val="1A3B47"/>
              </a:buClr>
              <a:buFont typeface="Arial,Sans-Serif"/>
              <a:buChar char="•"/>
            </a:pPr>
            <a:r>
              <a:rPr lang="es-ES" sz="1100" spc="-1">
                <a:solidFill>
                  <a:srgbClr val="1A3B47"/>
                </a:solidFill>
              </a:rPr>
              <a:t>Desarrollo de aplicaciones para </a:t>
            </a:r>
            <a:r>
              <a:rPr lang="es-ES" sz="1100" spc="-1" err="1">
                <a:solidFill>
                  <a:srgbClr val="1A3B47"/>
                </a:solidFill>
              </a:rPr>
              <a:t>SmartCities</a:t>
            </a:r>
            <a:r>
              <a:rPr lang="es-ES" sz="1100" spc="-1">
                <a:solidFill>
                  <a:srgbClr val="1A3B47"/>
                </a:solidFill>
              </a:rPr>
              <a:t> e Industriales</a:t>
            </a:r>
          </a:p>
          <a:p>
            <a:pPr marL="170815" indent="-170815" algn="just">
              <a:buClr>
                <a:srgbClr val="1A3B47"/>
              </a:buClr>
              <a:buFont typeface="Arial,Sans-Serif"/>
              <a:buChar char="•"/>
            </a:pPr>
            <a:r>
              <a:rPr lang="es-ES" sz="1100" spc="-1">
                <a:solidFill>
                  <a:srgbClr val="1A3B47"/>
                </a:solidFill>
              </a:rPr>
              <a:t>Arquitecto de software y desarrollador</a:t>
            </a:r>
          </a:p>
          <a:p>
            <a:pPr marL="170815" indent="-170815" algn="just">
              <a:buClr>
                <a:srgbClr val="1A3B47"/>
              </a:buClr>
              <a:buFont typeface="Arial,Sans-Serif"/>
              <a:buChar char="•"/>
            </a:pPr>
            <a:endParaRPr lang="es-ES" sz="1100" spc="-1">
              <a:solidFill>
                <a:srgbClr val="1A3B47"/>
              </a:solidFill>
            </a:endParaRPr>
          </a:p>
        </p:txBody>
      </p:sp>
      <p:sp>
        <p:nvSpPr>
          <p:cNvPr id="29" name="CuadroTexto 48_2"/>
          <p:cNvSpPr/>
          <p:nvPr/>
        </p:nvSpPr>
        <p:spPr>
          <a:xfrm>
            <a:off x="4941087" y="2891086"/>
            <a:ext cx="839880" cy="5078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solidFill>
                  <a:srgbClr val="1A3B47"/>
                </a:solidFill>
              </a:rPr>
              <a:t>2012</a:t>
            </a:r>
            <a:endParaRPr lang="es-ES" sz="900" b="1" spc="-1">
              <a:solidFill>
                <a:srgbClr val="1A3B47"/>
              </a:solidFill>
              <a:latin typeface="Arial"/>
            </a:endParaRPr>
          </a:p>
          <a:p>
            <a:pPr>
              <a:lnSpc>
                <a:spcPct val="100000"/>
              </a:lnSpc>
            </a:pPr>
            <a:r>
              <a:rPr lang="es-ES" sz="900" b="1" spc="-1">
                <a:solidFill>
                  <a:srgbClr val="1A3B47"/>
                </a:solidFill>
                <a:ea typeface="Soho Gothic Pro Light"/>
              </a:rPr>
              <a:t>—</a:t>
            </a:r>
            <a:endParaRPr lang="es-ES" sz="900" b="1" spc="-1">
              <a:solidFill>
                <a:srgbClr val="1A3B47"/>
              </a:solidFill>
              <a:latin typeface="Arial"/>
            </a:endParaRPr>
          </a:p>
          <a:p>
            <a:pPr>
              <a:lnSpc>
                <a:spcPct val="100000"/>
              </a:lnSpc>
            </a:pPr>
            <a:r>
              <a:rPr lang="es-ES" sz="900" b="1" spc="-1">
                <a:solidFill>
                  <a:srgbClr val="1A3B47"/>
                </a:solidFill>
              </a:rPr>
              <a:t>2003</a:t>
            </a:r>
            <a:endParaRPr lang="es-ES" sz="900" b="1" spc="-1">
              <a:solidFill>
                <a:srgbClr val="1A3B47"/>
              </a:solidFill>
              <a:latin typeface="Arial"/>
            </a:endParaRPr>
          </a:p>
        </p:txBody>
      </p:sp>
      <p:sp>
        <p:nvSpPr>
          <p:cNvPr id="32" name="CuadroTexto 39_0"/>
          <p:cNvSpPr/>
          <p:nvPr/>
        </p:nvSpPr>
        <p:spPr>
          <a:xfrm>
            <a:off x="128995" y="1344488"/>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trike="noStrike" spc="-1">
                <a:solidFill>
                  <a:srgbClr val="1A3B47"/>
                </a:solidFill>
                <a:latin typeface="Soho Gothic Pro Light"/>
                <a:ea typeface="Soho Gothic Pro Light"/>
              </a:rPr>
              <a:t>ACT</a:t>
            </a:r>
            <a:endParaRPr lang="es-ES" sz="900" b="1" strike="noStrike" spc="-1">
              <a:solidFill>
                <a:srgbClr val="1A3B47"/>
              </a:solidFill>
              <a:latin typeface="Arial"/>
            </a:endParaRPr>
          </a:p>
          <a:p>
            <a:pPr>
              <a:lnSpc>
                <a:spcPct val="100000"/>
              </a:lnSpc>
            </a:pPr>
            <a:r>
              <a:rPr lang="es-ES" sz="900" b="1" strike="noStrike" spc="-1">
                <a:solidFill>
                  <a:srgbClr val="1A3B47"/>
                </a:solidFill>
                <a:latin typeface="Soho Gothic Pro Light"/>
                <a:ea typeface="Soho Gothic Pro Light"/>
              </a:rPr>
              <a:t>—</a:t>
            </a:r>
            <a:endParaRPr lang="es-ES" sz="900" b="1" strike="noStrike" spc="-1">
              <a:solidFill>
                <a:srgbClr val="1A3B47"/>
              </a:solidFill>
              <a:latin typeface="Arial"/>
            </a:endParaRPr>
          </a:p>
          <a:p>
            <a:pPr>
              <a:lnSpc>
                <a:spcPct val="100000"/>
              </a:lnSpc>
            </a:pPr>
            <a:r>
              <a:rPr lang="es-ES" sz="900" b="1" spc="-1">
                <a:solidFill>
                  <a:srgbClr val="1A3B47"/>
                </a:solidFill>
                <a:latin typeface="Soho Gothic Pro Light"/>
              </a:rPr>
              <a:t>2018</a:t>
            </a:r>
            <a:endParaRPr lang="es-ES" sz="900" b="1" strike="noStrike" spc="-1">
              <a:solidFill>
                <a:srgbClr val="1A3B47"/>
              </a:solidFill>
              <a:latin typeface="Arial"/>
            </a:endParaRPr>
          </a:p>
          <a:p>
            <a:pPr>
              <a:lnSpc>
                <a:spcPct val="100000"/>
              </a:lnSpc>
            </a:pPr>
            <a:endParaRPr lang="es-ES" sz="900" b="0" strike="noStrike" spc="-1">
              <a:solidFill>
                <a:srgbClr val="1A3B47"/>
              </a:solidFill>
              <a:latin typeface="Arial"/>
            </a:endParaRPr>
          </a:p>
        </p:txBody>
      </p:sp>
      <p:sp>
        <p:nvSpPr>
          <p:cNvPr id="38" name="CuadroTexto 44_0"/>
          <p:cNvSpPr/>
          <p:nvPr/>
        </p:nvSpPr>
        <p:spPr>
          <a:xfrm>
            <a:off x="646113" y="5103366"/>
            <a:ext cx="4215600" cy="144655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lnSpc>
                <a:spcPct val="100000"/>
              </a:lnSpc>
            </a:pPr>
            <a:r>
              <a:rPr lang="es-ES" sz="1100" b="1" strike="noStrike" spc="-1" err="1">
                <a:solidFill>
                  <a:srgbClr val="1A3B47"/>
                </a:solidFill>
                <a:latin typeface="Soho Gothic Pro Light"/>
                <a:ea typeface="Soho Gothic Pro Light"/>
              </a:rPr>
              <a:t>Minsait</a:t>
            </a:r>
            <a:r>
              <a:rPr lang="es-ES" sz="1100" b="1" strike="noStrike" spc="-1">
                <a:solidFill>
                  <a:srgbClr val="1A3B47"/>
                </a:solidFill>
                <a:latin typeface="Soho Gothic Pro Light"/>
                <a:ea typeface="Soho Gothic Pro Light"/>
              </a:rPr>
              <a:t> </a:t>
            </a:r>
            <a:r>
              <a:rPr lang="es-ES" sz="1100" b="1" strike="noStrike" spc="-1" err="1">
                <a:solidFill>
                  <a:srgbClr val="1A3B47"/>
                </a:solidFill>
                <a:latin typeface="Soho Gothic Pro Light"/>
                <a:ea typeface="Soho Gothic Pro Light"/>
              </a:rPr>
              <a:t>by</a:t>
            </a:r>
            <a:r>
              <a:rPr lang="es-ES" sz="1100" b="1" strike="noStrike" spc="-1">
                <a:solidFill>
                  <a:srgbClr val="1A3B47"/>
                </a:solidFill>
                <a:latin typeface="Soho Gothic Pro Light"/>
                <a:ea typeface="Soho Gothic Pro Light"/>
              </a:rPr>
              <a:t> Indra </a:t>
            </a:r>
            <a:r>
              <a:rPr lang="es-ES" sz="1100" b="1" spc="-1">
                <a:solidFill>
                  <a:srgbClr val="1A3B47"/>
                </a:solidFill>
                <a:latin typeface="Soho Gothic Pro Light"/>
                <a:ea typeface="Soho Gothic Pro Light"/>
              </a:rPr>
              <a:t>(Lleida,</a:t>
            </a:r>
            <a:r>
              <a:rPr lang="es-ES" sz="1100" b="1" strike="noStrike" spc="-1">
                <a:solidFill>
                  <a:srgbClr val="1A3B47"/>
                </a:solidFill>
                <a:latin typeface="Soho Gothic Pro Light"/>
                <a:ea typeface="Soho Gothic Pro Light"/>
              </a:rPr>
              <a:t> España)</a:t>
            </a:r>
            <a:endParaRPr lang="es-ES" sz="1100" b="0" strike="noStrike" spc="-1">
              <a:solidFill>
                <a:srgbClr val="1A3B47"/>
              </a:solidFill>
              <a:latin typeface="Arial"/>
            </a:endParaRPr>
          </a:p>
          <a:p>
            <a:pPr algn="just"/>
            <a:r>
              <a:rPr lang="es-ES" sz="1100" spc="-1">
                <a:solidFill>
                  <a:srgbClr val="1A3B47"/>
                </a:solidFill>
                <a:latin typeface="Soho Gothic Pro Light"/>
              </a:rPr>
              <a:t>Arquitecto de software</a:t>
            </a:r>
            <a:endParaRPr lang="es-ES" sz="1100" b="0" strike="noStrike" spc="-1">
              <a:solidFill>
                <a:srgbClr val="1A3B47"/>
              </a:solidFill>
              <a:latin typeface="Soho Gothic Pro Light"/>
            </a:endParaRPr>
          </a:p>
          <a:p>
            <a:pPr algn="just">
              <a:lnSpc>
                <a:spcPct val="100000"/>
              </a:lnSpc>
            </a:pPr>
            <a:endParaRPr lang="es-ES" sz="1100" b="0" strike="noStrike" spc="-1">
              <a:solidFill>
                <a:srgbClr val="1A3B47"/>
              </a:solidFill>
              <a:latin typeface="Arial"/>
            </a:endParaRPr>
          </a:p>
          <a:p>
            <a:pPr marL="170815" indent="-170815" algn="just">
              <a:buClr>
                <a:srgbClr val="1A3B47"/>
              </a:buClr>
              <a:buFont typeface="Arial,Sans-Serif"/>
              <a:buChar char="•"/>
            </a:pPr>
            <a:r>
              <a:rPr lang="es-ES" sz="1100" spc="-1">
                <a:solidFill>
                  <a:srgbClr val="1A3B47"/>
                </a:solidFill>
              </a:rPr>
              <a:t>Arquitecto de software para varios proyectos en el CTTI relacionados con agricultura.</a:t>
            </a:r>
          </a:p>
          <a:p>
            <a:pPr marL="170815" indent="-170815" algn="just">
              <a:buClr>
                <a:srgbClr val="1A3B47"/>
              </a:buClr>
              <a:buFont typeface="Arial,Sans-Serif"/>
              <a:buChar char="•"/>
            </a:pPr>
            <a:r>
              <a:rPr lang="es-ES" sz="1100" spc="-1">
                <a:solidFill>
                  <a:srgbClr val="1A3B47"/>
                </a:solidFill>
              </a:rPr>
              <a:t>Responsable de arquitectura sobre tecnología .NET</a:t>
            </a:r>
          </a:p>
          <a:p>
            <a:pPr marL="170815" indent="-170815" algn="just">
              <a:buClr>
                <a:srgbClr val="1A3B47"/>
              </a:buClr>
              <a:buFont typeface="Arial,Sans-Serif"/>
              <a:buChar char="•"/>
            </a:pPr>
            <a:r>
              <a:rPr lang="es-ES" sz="1100" spc="-1">
                <a:solidFill>
                  <a:srgbClr val="1A3B47"/>
                </a:solidFill>
              </a:rPr>
              <a:t>Liderazgo de las </a:t>
            </a:r>
            <a:r>
              <a:rPr lang="es-ES" sz="1100" spc="-1" err="1">
                <a:solidFill>
                  <a:srgbClr val="1A3B47"/>
                </a:solidFill>
              </a:rPr>
              <a:t>inicitiavas</a:t>
            </a:r>
            <a:r>
              <a:rPr lang="es-ES" sz="1100" spc="-1">
                <a:solidFill>
                  <a:srgbClr val="1A3B47"/>
                </a:solidFill>
              </a:rPr>
              <a:t> de estandarización de patrones de desarrollo y CI/CD</a:t>
            </a:r>
          </a:p>
        </p:txBody>
      </p:sp>
      <p:sp>
        <p:nvSpPr>
          <p:cNvPr id="39" name="CuadroTexto 39_0"/>
          <p:cNvSpPr/>
          <p:nvPr/>
        </p:nvSpPr>
        <p:spPr>
          <a:xfrm>
            <a:off x="128995" y="5129461"/>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solidFill>
                  <a:srgbClr val="1A3B47"/>
                </a:solidFill>
                <a:latin typeface="Soho Gothic Pro Light"/>
              </a:rPr>
              <a:t>2017</a:t>
            </a:r>
            <a:endParaRPr lang="es-ES" sz="900" b="1" strike="noStrike" spc="-1">
              <a:solidFill>
                <a:srgbClr val="1A3B47"/>
              </a:solidFill>
              <a:latin typeface="Arial"/>
            </a:endParaRPr>
          </a:p>
          <a:p>
            <a:pPr>
              <a:lnSpc>
                <a:spcPct val="100000"/>
              </a:lnSpc>
            </a:pPr>
            <a:r>
              <a:rPr lang="es-ES" sz="900" b="1" strike="noStrike" spc="-1">
                <a:solidFill>
                  <a:srgbClr val="1A3B47"/>
                </a:solidFill>
                <a:latin typeface="Soho Gothic Pro Light"/>
                <a:ea typeface="Soho Gothic Pro Light"/>
              </a:rPr>
              <a:t>—</a:t>
            </a:r>
            <a:endParaRPr lang="es-ES" sz="900" b="1" strike="noStrike" spc="-1">
              <a:solidFill>
                <a:srgbClr val="1A3B47"/>
              </a:solidFill>
              <a:latin typeface="Arial"/>
            </a:endParaRPr>
          </a:p>
          <a:p>
            <a:pPr>
              <a:lnSpc>
                <a:spcPct val="100000"/>
              </a:lnSpc>
            </a:pPr>
            <a:r>
              <a:rPr lang="es-ES" sz="900" b="1" spc="-1">
                <a:solidFill>
                  <a:srgbClr val="1A3B47"/>
                </a:solidFill>
                <a:latin typeface="Soho Gothic Pro Light"/>
              </a:rPr>
              <a:t>2015</a:t>
            </a:r>
            <a:endParaRPr lang="es-ES" sz="900" b="1" strike="noStrike" spc="-1">
              <a:solidFill>
                <a:srgbClr val="1A3B47"/>
              </a:solidFill>
              <a:latin typeface="Arial"/>
            </a:endParaRPr>
          </a:p>
          <a:p>
            <a:pPr>
              <a:lnSpc>
                <a:spcPct val="100000"/>
              </a:lnSpc>
            </a:pPr>
            <a:endParaRPr lang="es-ES" sz="900" b="0" strike="noStrike" spc="-1">
              <a:solidFill>
                <a:srgbClr val="1A3B47"/>
              </a:solidFill>
              <a:latin typeface="Arial"/>
            </a:endParaRPr>
          </a:p>
        </p:txBody>
      </p:sp>
      <p:sp>
        <p:nvSpPr>
          <p:cNvPr id="42" name="CuadroTexto 44_0"/>
          <p:cNvSpPr/>
          <p:nvPr/>
        </p:nvSpPr>
        <p:spPr>
          <a:xfrm>
            <a:off x="5400900" y="1346218"/>
            <a:ext cx="3919320" cy="1277273"/>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r>
              <a:rPr lang="es-ES" sz="1100" b="1" spc="-1" err="1">
                <a:solidFill>
                  <a:srgbClr val="1A3B47"/>
                </a:solidFill>
                <a:latin typeface="Soho Gothic Pro Light"/>
                <a:ea typeface="Soho Gothic Pro Light"/>
              </a:rPr>
              <a:t>Engisystem</a:t>
            </a:r>
            <a:r>
              <a:rPr lang="es-ES" sz="1100" b="1" spc="-1">
                <a:solidFill>
                  <a:srgbClr val="1A3B47"/>
                </a:solidFill>
                <a:latin typeface="Soho Gothic Pro Light"/>
                <a:ea typeface="Soho Gothic Pro Light"/>
              </a:rPr>
              <a:t> </a:t>
            </a:r>
            <a:r>
              <a:rPr lang="es-ES" sz="1100" b="1" spc="-1" err="1">
                <a:solidFill>
                  <a:srgbClr val="1A3B47"/>
                </a:solidFill>
                <a:latin typeface="Soho Gothic Pro Light"/>
                <a:ea typeface="Soho Gothic Pro Light"/>
              </a:rPr>
              <a:t>Technology</a:t>
            </a:r>
            <a:r>
              <a:rPr lang="es-ES" sz="1100" b="1" spc="-1">
                <a:solidFill>
                  <a:srgbClr val="1A3B47"/>
                </a:solidFill>
                <a:latin typeface="Soho Gothic Pro Light"/>
                <a:ea typeface="Soho Gothic Pro Light"/>
              </a:rPr>
              <a:t> (Lleida,</a:t>
            </a:r>
            <a:r>
              <a:rPr lang="es-ES" sz="1100" b="1" strike="noStrike" spc="-1">
                <a:solidFill>
                  <a:srgbClr val="1A3B47"/>
                </a:solidFill>
                <a:latin typeface="Soho Gothic Pro Light"/>
                <a:ea typeface="Soho Gothic Pro Light"/>
              </a:rPr>
              <a:t> España)</a:t>
            </a:r>
            <a:endParaRPr lang="es-ES" sz="1100" b="0" strike="noStrike" spc="-1">
              <a:solidFill>
                <a:srgbClr val="1A3B47"/>
              </a:solidFill>
              <a:latin typeface="Arial"/>
              <a:cs typeface="Arial"/>
            </a:endParaRPr>
          </a:p>
          <a:p>
            <a:pPr algn="just"/>
            <a:r>
              <a:rPr lang="es-ES" sz="1100" spc="-1">
                <a:solidFill>
                  <a:srgbClr val="1A3B47"/>
                </a:solidFill>
                <a:latin typeface="Soho Gothic Pro Light"/>
              </a:rPr>
              <a:t>Fundador </a:t>
            </a:r>
            <a:r>
              <a:rPr lang="es-ES" sz="1100" spc="-1" err="1">
                <a:solidFill>
                  <a:srgbClr val="1A3B47"/>
                </a:solidFill>
                <a:latin typeface="Soho Gothic Pro Light"/>
              </a:rPr>
              <a:t>Start</a:t>
            </a:r>
            <a:r>
              <a:rPr lang="es-ES" sz="1100" spc="-1">
                <a:solidFill>
                  <a:srgbClr val="1A3B47"/>
                </a:solidFill>
                <a:latin typeface="Soho Gothic Pro Light"/>
              </a:rPr>
              <a:t>-UP</a:t>
            </a:r>
            <a:endParaRPr lang="es-ES" sz="1100" b="0" strike="noStrike" spc="-1">
              <a:solidFill>
                <a:srgbClr val="1A3B47"/>
              </a:solidFill>
              <a:latin typeface="Soho Gothic Pro Light"/>
            </a:endParaRPr>
          </a:p>
          <a:p>
            <a:pPr algn="just">
              <a:lnSpc>
                <a:spcPct val="100000"/>
              </a:lnSpc>
            </a:pPr>
            <a:endParaRPr lang="es-ES" sz="1100" b="0" strike="noStrike" spc="-1">
              <a:solidFill>
                <a:srgbClr val="1A3B47"/>
              </a:solidFill>
              <a:latin typeface="Arial"/>
            </a:endParaRPr>
          </a:p>
          <a:p>
            <a:pPr marL="170815" indent="-170815" algn="just">
              <a:buClr>
                <a:srgbClr val="1A3B47"/>
              </a:buClr>
              <a:buFont typeface="Arial,Sans-Serif"/>
              <a:buChar char="•"/>
            </a:pPr>
            <a:r>
              <a:rPr lang="es-ES" sz="1100" spc="-1">
                <a:solidFill>
                  <a:srgbClr val="1A3B47"/>
                </a:solidFill>
                <a:latin typeface="Soho Gothic Pro Light"/>
                <a:cs typeface="Arial"/>
              </a:rPr>
              <a:t>Desarrollador de aplicaciones para </a:t>
            </a:r>
            <a:r>
              <a:rPr lang="es-ES" sz="1100" spc="-1" err="1">
                <a:solidFill>
                  <a:srgbClr val="1A3B47"/>
                </a:solidFill>
                <a:latin typeface="Soho Gothic Pro Light"/>
                <a:cs typeface="Arial"/>
              </a:rPr>
              <a:t>SmartTV</a:t>
            </a:r>
            <a:endParaRPr lang="es-ES" sz="1100" spc="-1">
              <a:solidFill>
                <a:srgbClr val="1A3B47"/>
              </a:solidFill>
              <a:latin typeface="Soho Gothic Pro Light"/>
              <a:cs typeface="Arial"/>
            </a:endParaRPr>
          </a:p>
          <a:p>
            <a:pPr marL="170815" indent="-170815" algn="just">
              <a:buClr>
                <a:srgbClr val="1A3B47"/>
              </a:buClr>
              <a:buFont typeface="Arial,Sans-Serif"/>
              <a:buChar char="•"/>
            </a:pPr>
            <a:r>
              <a:rPr lang="es-ES" sz="1100" spc="-1">
                <a:solidFill>
                  <a:srgbClr val="1A3B47"/>
                </a:solidFill>
                <a:latin typeface="Soho Gothic Pro Light"/>
                <a:cs typeface="Arial"/>
              </a:rPr>
              <a:t>Arquitecto de software API REST</a:t>
            </a:r>
          </a:p>
          <a:p>
            <a:pPr marL="170815" indent="-170815" algn="just">
              <a:buClr>
                <a:srgbClr val="1A3B47"/>
              </a:buClr>
              <a:buFont typeface="Arial,Sans-Serif"/>
              <a:buChar char="•"/>
            </a:pPr>
            <a:r>
              <a:rPr lang="es-ES" sz="1100" spc="-1">
                <a:solidFill>
                  <a:srgbClr val="1A3B47"/>
                </a:solidFill>
                <a:latin typeface="Soho Gothic Pro Light"/>
                <a:cs typeface="Arial"/>
              </a:rPr>
              <a:t>Desarrollador de aplicaciones </a:t>
            </a:r>
            <a:r>
              <a:rPr lang="es-ES" sz="1100" spc="-1" err="1">
                <a:solidFill>
                  <a:srgbClr val="1A3B47"/>
                </a:solidFill>
                <a:latin typeface="Soho Gothic Pro Light"/>
                <a:cs typeface="Arial"/>
              </a:rPr>
              <a:t>SmartMobile</a:t>
            </a:r>
            <a:endParaRPr lang="es-ES" sz="1100" spc="-1">
              <a:solidFill>
                <a:srgbClr val="1A3B47"/>
              </a:solidFill>
              <a:latin typeface="Soho Gothic Pro Light"/>
              <a:cs typeface="Arial"/>
            </a:endParaRPr>
          </a:p>
          <a:p>
            <a:pPr marL="170815" indent="-170815" algn="just">
              <a:buClr>
                <a:srgbClr val="1A3B47"/>
              </a:buClr>
              <a:buFont typeface="Arial,Sans-Serif"/>
              <a:buChar char="•"/>
            </a:pPr>
            <a:r>
              <a:rPr lang="es-ES" sz="1100" spc="-1">
                <a:solidFill>
                  <a:srgbClr val="1A3B47"/>
                </a:solidFill>
              </a:rPr>
              <a:t>Programación sobre </a:t>
            </a:r>
            <a:r>
              <a:rPr lang="es-ES" sz="1100" spc="-1" err="1">
                <a:solidFill>
                  <a:srgbClr val="1A3B47"/>
                </a:solidFill>
              </a:rPr>
              <a:t>smartDevice</a:t>
            </a:r>
            <a:r>
              <a:rPr lang="es-ES" sz="1100" spc="-1">
                <a:solidFill>
                  <a:srgbClr val="1A3B47"/>
                </a:solidFill>
              </a:rPr>
              <a:t> </a:t>
            </a:r>
            <a:r>
              <a:rPr lang="es-ES" sz="1100" spc="-1" err="1">
                <a:solidFill>
                  <a:srgbClr val="1A3B47"/>
                </a:solidFill>
              </a:rPr>
              <a:t>IoT</a:t>
            </a:r>
            <a:endParaRPr lang="es-ES" sz="1100" spc="-1">
              <a:solidFill>
                <a:srgbClr val="1A3B47"/>
              </a:solidFill>
            </a:endParaRPr>
          </a:p>
        </p:txBody>
      </p:sp>
      <p:sp>
        <p:nvSpPr>
          <p:cNvPr id="43" name="CuadroTexto 39_0"/>
          <p:cNvSpPr/>
          <p:nvPr/>
        </p:nvSpPr>
        <p:spPr>
          <a:xfrm>
            <a:off x="4955220" y="1312738"/>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solidFill>
                  <a:srgbClr val="1A3B47"/>
                </a:solidFill>
                <a:ea typeface="Soho Gothic Pro Light"/>
              </a:rPr>
              <a:t>2015</a:t>
            </a:r>
            <a:endParaRPr lang="es-ES" sz="900" b="1" spc="-1">
              <a:solidFill>
                <a:srgbClr val="1A3B47"/>
              </a:solidFill>
              <a:latin typeface="Arial"/>
            </a:endParaRPr>
          </a:p>
          <a:p>
            <a:pPr>
              <a:lnSpc>
                <a:spcPct val="100000"/>
              </a:lnSpc>
            </a:pPr>
            <a:r>
              <a:rPr lang="es-ES" sz="900" b="1" spc="-1">
                <a:solidFill>
                  <a:srgbClr val="1A3B47"/>
                </a:solidFill>
                <a:ea typeface="Soho Gothic Pro Light"/>
              </a:rPr>
              <a:t>—</a:t>
            </a:r>
            <a:endParaRPr lang="es-ES" sz="900" b="1" spc="-1">
              <a:solidFill>
                <a:srgbClr val="1A3B47"/>
              </a:solidFill>
              <a:latin typeface="Arial"/>
            </a:endParaRPr>
          </a:p>
          <a:p>
            <a:pPr>
              <a:lnSpc>
                <a:spcPct val="100000"/>
              </a:lnSpc>
            </a:pPr>
            <a:r>
              <a:rPr lang="es-ES" sz="900" b="1" spc="-1">
                <a:solidFill>
                  <a:srgbClr val="1A3B47"/>
                </a:solidFill>
              </a:rPr>
              <a:t>2012</a:t>
            </a:r>
            <a:endParaRPr lang="es-ES" sz="900" spc="-1">
              <a:solidFill>
                <a:srgbClr val="1A3B47"/>
              </a:solidFill>
              <a:latin typeface="Arial"/>
            </a:endParaRPr>
          </a:p>
          <a:p>
            <a:pPr>
              <a:lnSpc>
                <a:spcPct val="100000"/>
              </a:lnSpc>
            </a:pPr>
            <a:endParaRPr lang="es-ES" sz="900" b="0" strike="noStrike" spc="-1">
              <a:solidFill>
                <a:srgbClr val="1A3B47"/>
              </a:solidFill>
              <a:latin typeface="Arial"/>
            </a:endParaRPr>
          </a:p>
        </p:txBody>
      </p:sp>
      <p:sp>
        <p:nvSpPr>
          <p:cNvPr id="30" name="CuadroTexto 73_0">
            <a:extLst>
              <a:ext uri="{FF2B5EF4-FFF2-40B4-BE49-F238E27FC236}">
                <a16:creationId xmlns:a16="http://schemas.microsoft.com/office/drawing/2014/main" id="{2427939C-DBF8-48F1-91EE-B809ED2B8647}"/>
              </a:ext>
            </a:extLst>
          </p:cNvPr>
          <p:cNvSpPr/>
          <p:nvPr/>
        </p:nvSpPr>
        <p:spPr>
          <a:xfrm>
            <a:off x="9430200" y="1546951"/>
            <a:ext cx="535645" cy="230832"/>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900" spc="-1">
                <a:solidFill>
                  <a:srgbClr val="1A3B47"/>
                </a:solidFill>
                <a:latin typeface="Soho Gothic Pro Medium"/>
              </a:rPr>
              <a:t>2017</a:t>
            </a:r>
            <a:endParaRPr lang="es-ES"/>
          </a:p>
        </p:txBody>
      </p:sp>
      <p:sp>
        <p:nvSpPr>
          <p:cNvPr id="26" name="CuadroTexto 73_0">
            <a:extLst>
              <a:ext uri="{FF2B5EF4-FFF2-40B4-BE49-F238E27FC236}">
                <a16:creationId xmlns:a16="http://schemas.microsoft.com/office/drawing/2014/main" id="{2E626D57-4A73-4401-8655-F9DE8EFEABBA}"/>
              </a:ext>
            </a:extLst>
          </p:cNvPr>
          <p:cNvSpPr/>
          <p:nvPr/>
        </p:nvSpPr>
        <p:spPr>
          <a:xfrm>
            <a:off x="9461949" y="2261326"/>
            <a:ext cx="535645" cy="230832"/>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900" spc="-1">
                <a:solidFill>
                  <a:srgbClr val="1A3B47"/>
                </a:solidFill>
                <a:latin typeface="Soho Gothic Pro Medium"/>
              </a:rPr>
              <a:t>2006</a:t>
            </a:r>
            <a:endParaRPr lang="es-ES"/>
          </a:p>
        </p:txBody>
      </p:sp>
      <p:sp>
        <p:nvSpPr>
          <p:cNvPr id="33" name="CuadroTexto 50_0">
            <a:extLst>
              <a:ext uri="{FF2B5EF4-FFF2-40B4-BE49-F238E27FC236}">
                <a16:creationId xmlns:a16="http://schemas.microsoft.com/office/drawing/2014/main" id="{59E7FDF5-8848-4483-B599-B0F490623CFB}"/>
              </a:ext>
            </a:extLst>
          </p:cNvPr>
          <p:cNvSpPr/>
          <p:nvPr/>
        </p:nvSpPr>
        <p:spPr>
          <a:xfrm>
            <a:off x="9440791" y="3799208"/>
            <a:ext cx="2651040" cy="707886"/>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a:ea typeface="+mn-lt"/>
                <a:cs typeface="+mn-lt"/>
              </a:rPr>
              <a:t>Spring </a:t>
            </a:r>
            <a:r>
              <a:rPr lang="es-ES" sz="1000" err="1">
                <a:ea typeface="+mn-lt"/>
                <a:cs typeface="+mn-lt"/>
              </a:rPr>
              <a:t>Boot</a:t>
            </a:r>
            <a:r>
              <a:rPr lang="es-ES" sz="1000">
                <a:ea typeface="+mn-lt"/>
                <a:cs typeface="+mn-lt"/>
              </a:rPr>
              <a:t> and </a:t>
            </a:r>
            <a:r>
              <a:rPr lang="es-ES" sz="1000" err="1">
                <a:ea typeface="+mn-lt"/>
                <a:cs typeface="+mn-lt"/>
              </a:rPr>
              <a:t>Microservices</a:t>
            </a:r>
            <a:endParaRPr lang="es-ES" err="1"/>
          </a:p>
          <a:p>
            <a:r>
              <a:rPr lang="es-ES" sz="1000">
                <a:ea typeface="+mn-lt"/>
                <a:cs typeface="+mn-lt"/>
              </a:rPr>
              <a:t>Project Management Professional (PMP)</a:t>
            </a:r>
            <a:endParaRPr lang="es-ES"/>
          </a:p>
          <a:p>
            <a:r>
              <a:rPr lang="es-ES" sz="1000">
                <a:ea typeface="+mn-lt"/>
                <a:cs typeface="+mn-lt"/>
              </a:rPr>
              <a:t>Docker container </a:t>
            </a:r>
            <a:r>
              <a:rPr lang="es-ES" sz="1000" err="1">
                <a:ea typeface="+mn-lt"/>
                <a:cs typeface="+mn-lt"/>
              </a:rPr>
              <a:t>technology</a:t>
            </a:r>
            <a:endParaRPr lang="es-ES" err="1"/>
          </a:p>
          <a:p>
            <a:r>
              <a:rPr lang="es-ES" sz="1000">
                <a:ea typeface="+mn-lt"/>
                <a:cs typeface="+mn-lt"/>
              </a:rPr>
              <a:t>Patrones de Software</a:t>
            </a:r>
            <a:endParaRPr lang="es-ES"/>
          </a:p>
        </p:txBody>
      </p:sp>
      <p:sp>
        <p:nvSpPr>
          <p:cNvPr id="34" name="CuadroTexto 33_0">
            <a:extLst>
              <a:ext uri="{FF2B5EF4-FFF2-40B4-BE49-F238E27FC236}">
                <a16:creationId xmlns:a16="http://schemas.microsoft.com/office/drawing/2014/main" id="{494DBDE4-FAF0-488B-AC67-6C7848DE3F81}"/>
              </a:ext>
            </a:extLst>
          </p:cNvPr>
          <p:cNvSpPr/>
          <p:nvPr/>
        </p:nvSpPr>
        <p:spPr>
          <a:xfrm>
            <a:off x="9444749" y="4527926"/>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1" spc="-1">
                <a:solidFill>
                  <a:srgbClr val="1A3B47"/>
                </a:solidFill>
                <a:latin typeface="Soho Gothic Pro Light"/>
              </a:rPr>
              <a:t>IT</a:t>
            </a:r>
            <a:endParaRPr lang="es-ES" sz="1200" b="1" strike="noStrike" spc="-1">
              <a:solidFill>
                <a:srgbClr val="1A3B47"/>
              </a:solidFill>
              <a:latin typeface="Soho Gothic Pro Light"/>
            </a:endParaRPr>
          </a:p>
        </p:txBody>
      </p:sp>
      <p:sp>
        <p:nvSpPr>
          <p:cNvPr id="31" name="CuadroTexto 45_2">
            <a:extLst>
              <a:ext uri="{FF2B5EF4-FFF2-40B4-BE49-F238E27FC236}">
                <a16:creationId xmlns:a16="http://schemas.microsoft.com/office/drawing/2014/main" id="{B768F485-42A8-4783-9935-EC0FA62FC1D1}"/>
              </a:ext>
            </a:extLst>
          </p:cNvPr>
          <p:cNvSpPr/>
          <p:nvPr/>
        </p:nvSpPr>
        <p:spPr>
          <a:xfrm>
            <a:off x="5368442" y="5127179"/>
            <a:ext cx="4007341" cy="1106542"/>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algn="just"/>
            <a:r>
              <a:rPr lang="es-ES" sz="1100" b="1" spc="-1" err="1">
                <a:solidFill>
                  <a:srgbClr val="1A3B47"/>
                </a:solidFill>
                <a:ea typeface="Soho Gothic Pro Light"/>
              </a:rPr>
              <a:t>Infotrol</a:t>
            </a:r>
            <a:r>
              <a:rPr lang="es-ES" sz="1100" b="1" spc="-1">
                <a:solidFill>
                  <a:srgbClr val="1A3B47"/>
                </a:solidFill>
                <a:ea typeface="Soho Gothic Pro Light"/>
              </a:rPr>
              <a:t>  (Huesca, España)</a:t>
            </a:r>
            <a:endParaRPr lang="es-ES" sz="1100" spc="-1">
              <a:solidFill>
                <a:srgbClr val="1A3B47"/>
              </a:solidFill>
              <a:latin typeface="Arial"/>
            </a:endParaRPr>
          </a:p>
          <a:p>
            <a:pPr algn="just"/>
            <a:r>
              <a:rPr lang="es-ES" sz="1100" spc="-1" err="1">
                <a:solidFill>
                  <a:srgbClr val="1A3B47"/>
                </a:solidFill>
                <a:ea typeface="Soho Gothic Pro Light"/>
              </a:rPr>
              <a:t>Backend</a:t>
            </a:r>
            <a:r>
              <a:rPr lang="es-ES" sz="1100" spc="-1">
                <a:solidFill>
                  <a:srgbClr val="1A3B47"/>
                </a:solidFill>
                <a:ea typeface="Soho Gothic Pro Light"/>
              </a:rPr>
              <a:t> </a:t>
            </a:r>
            <a:r>
              <a:rPr lang="es-ES" sz="1100" spc="-1" err="1">
                <a:solidFill>
                  <a:srgbClr val="1A3B47"/>
                </a:solidFill>
                <a:ea typeface="Soho Gothic Pro Light"/>
              </a:rPr>
              <a:t>Developer</a:t>
            </a:r>
          </a:p>
          <a:p>
            <a:pPr algn="just"/>
            <a:endParaRPr lang="es-ES" sz="1100" spc="-1">
              <a:solidFill>
                <a:srgbClr val="1A3B47"/>
              </a:solidFill>
            </a:endParaRPr>
          </a:p>
          <a:p>
            <a:pPr marL="170815" indent="-170815" algn="just">
              <a:buClr>
                <a:srgbClr val="1A3B47"/>
              </a:buClr>
              <a:buFont typeface="Arial,Sans-Serif"/>
              <a:buChar char="•"/>
            </a:pPr>
            <a:r>
              <a:rPr lang="es-ES" sz="1100" spc="-1">
                <a:solidFill>
                  <a:srgbClr val="1A3B47"/>
                </a:solidFill>
              </a:rPr>
              <a:t>Desarrollador de aplicaciones para la industrial en Visual Basic</a:t>
            </a:r>
          </a:p>
          <a:p>
            <a:pPr marL="170815" indent="-170815" algn="just">
              <a:buClr>
                <a:srgbClr val="1A3B47"/>
              </a:buClr>
              <a:buFont typeface="Arial,Sans-Serif"/>
              <a:buChar char="•"/>
            </a:pPr>
            <a:r>
              <a:rPr lang="es-ES" sz="1100" spc="-1">
                <a:solidFill>
                  <a:srgbClr val="1A3B47"/>
                </a:solidFill>
              </a:rPr>
              <a:t>Desarrollador en C para microcontroladores para la comunicación de maquinas industriales.</a:t>
            </a:r>
          </a:p>
        </p:txBody>
      </p:sp>
      <p:sp>
        <p:nvSpPr>
          <p:cNvPr id="35" name="CuadroTexto 48_2">
            <a:extLst>
              <a:ext uri="{FF2B5EF4-FFF2-40B4-BE49-F238E27FC236}">
                <a16:creationId xmlns:a16="http://schemas.microsoft.com/office/drawing/2014/main" id="{DF5C2B75-7A73-481E-8C86-5AB48C96C569}"/>
              </a:ext>
            </a:extLst>
          </p:cNvPr>
          <p:cNvSpPr/>
          <p:nvPr/>
        </p:nvSpPr>
        <p:spPr>
          <a:xfrm>
            <a:off x="4917275" y="5058024"/>
            <a:ext cx="839880" cy="5078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solidFill>
                  <a:srgbClr val="1A3B47"/>
                </a:solidFill>
              </a:rPr>
              <a:t>2003</a:t>
            </a:r>
            <a:endParaRPr lang="es-ES" sz="900" b="1" spc="-1">
              <a:solidFill>
                <a:srgbClr val="1A3B47"/>
              </a:solidFill>
              <a:latin typeface="Arial"/>
            </a:endParaRPr>
          </a:p>
          <a:p>
            <a:pPr>
              <a:lnSpc>
                <a:spcPct val="100000"/>
              </a:lnSpc>
            </a:pPr>
            <a:r>
              <a:rPr lang="es-ES" sz="900" b="1" spc="-1">
                <a:solidFill>
                  <a:srgbClr val="1A3B47"/>
                </a:solidFill>
                <a:ea typeface="Soho Gothic Pro Light"/>
              </a:rPr>
              <a:t>—</a:t>
            </a:r>
            <a:endParaRPr lang="es-ES" sz="900" b="1" spc="-1">
              <a:solidFill>
                <a:srgbClr val="1A3B47"/>
              </a:solidFill>
              <a:latin typeface="Arial"/>
            </a:endParaRPr>
          </a:p>
          <a:p>
            <a:pPr>
              <a:lnSpc>
                <a:spcPct val="100000"/>
              </a:lnSpc>
            </a:pPr>
            <a:r>
              <a:rPr lang="es-ES" sz="900" b="1" spc="-1">
                <a:solidFill>
                  <a:srgbClr val="1A3B47"/>
                </a:solidFill>
              </a:rPr>
              <a:t>2001</a:t>
            </a:r>
            <a:endParaRPr lang="es-ES" sz="900" b="1" spc="-1">
              <a:solidFill>
                <a:srgbClr val="1A3B47"/>
              </a:solidFill>
              <a:latin typeface="Arial"/>
            </a:endParaRPr>
          </a:p>
        </p:txBody>
      </p:sp>
      <p:sp>
        <p:nvSpPr>
          <p:cNvPr id="36" name="CuadroTexto 50_0">
            <a:extLst>
              <a:ext uri="{FF2B5EF4-FFF2-40B4-BE49-F238E27FC236}">
                <a16:creationId xmlns:a16="http://schemas.microsoft.com/office/drawing/2014/main" id="{CB42E825-B6DA-48F4-9F03-B4798EAA5653}"/>
              </a:ext>
            </a:extLst>
          </p:cNvPr>
          <p:cNvSpPr/>
          <p:nvPr/>
        </p:nvSpPr>
        <p:spPr>
          <a:xfrm>
            <a:off x="9440790" y="3153189"/>
            <a:ext cx="2651040"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a:ea typeface="+mn-lt"/>
                <a:cs typeface="+mn-lt"/>
              </a:rPr>
              <a:t>Microsoft </a:t>
            </a:r>
            <a:r>
              <a:rPr lang="es-ES" sz="1000" err="1">
                <a:ea typeface="+mn-lt"/>
                <a:cs typeface="+mn-lt"/>
              </a:rPr>
              <a:t>Certified</a:t>
            </a:r>
            <a:r>
              <a:rPr lang="es-ES" sz="1000">
                <a:ea typeface="+mn-lt"/>
                <a:cs typeface="+mn-lt"/>
              </a:rPr>
              <a:t> Professional (MCP)</a:t>
            </a:r>
            <a:endParaRPr lang="es-ES"/>
          </a:p>
          <a:p>
            <a:r>
              <a:rPr lang="es-ES" sz="1000">
                <a:ea typeface="+mn-lt"/>
                <a:cs typeface="+mn-lt"/>
              </a:rPr>
              <a:t>Microsoft AZURE: Azure Fundamentals</a:t>
            </a:r>
            <a:endParaRPr lang="es-ES"/>
          </a:p>
        </p:txBody>
      </p:sp>
    </p:spTree>
    <p:extLst>
      <p:ext uri="{BB962C8B-B14F-4D97-AF65-F5344CB8AC3E}">
        <p14:creationId xmlns:p14="http://schemas.microsoft.com/office/powerpoint/2010/main" val="20175189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stomShape 2"/>
          <p:cNvSpPr/>
          <p:nvPr/>
        </p:nvSpPr>
        <p:spPr>
          <a:xfrm>
            <a:off x="0" y="0"/>
            <a:ext cx="9388192" cy="598607"/>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39" name="Rectángulo 38">
            <a:extLst>
              <a:ext uri="{FF2B5EF4-FFF2-40B4-BE49-F238E27FC236}">
                <a16:creationId xmlns:a16="http://schemas.microsoft.com/office/drawing/2014/main" id="{187520E2-A78B-FB4C-BB66-37962870F3B0}"/>
              </a:ext>
            </a:extLst>
          </p:cNvPr>
          <p:cNvSpPr/>
          <p:nvPr/>
        </p:nvSpPr>
        <p:spPr>
          <a:xfrm>
            <a:off x="9358021" y="0"/>
            <a:ext cx="2829080" cy="6858887"/>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1">
              <a:solidFill>
                <a:schemeClr val="tx1"/>
              </a:solidFill>
            </a:endParaRPr>
          </a:p>
        </p:txBody>
      </p:sp>
      <p:sp>
        <p:nvSpPr>
          <p:cNvPr id="37" name="CuadroTexto 36">
            <a:extLst>
              <a:ext uri="{FF2B5EF4-FFF2-40B4-BE49-F238E27FC236}">
                <a16:creationId xmlns:a16="http://schemas.microsoft.com/office/drawing/2014/main" id="{E4530058-C2FA-384F-825E-F61EC4296641}"/>
              </a:ext>
            </a:extLst>
          </p:cNvPr>
          <p:cNvSpPr txBox="1"/>
          <p:nvPr/>
        </p:nvSpPr>
        <p:spPr>
          <a:xfrm>
            <a:off x="87086" y="720814"/>
            <a:ext cx="9259003" cy="1015663"/>
          </a:xfrm>
          <a:prstGeom prst="rect">
            <a:avLst/>
          </a:prstGeom>
          <a:noFill/>
        </p:spPr>
        <p:txBody>
          <a:bodyPr wrap="square" lIns="91440" tIns="45720" rIns="91440" bIns="45720" rtlCol="0" anchor="t">
            <a:spAutoFit/>
          </a:bodyPr>
          <a:lstStyle/>
          <a:p>
            <a:r>
              <a:rPr lang="es-ES" sz="1200">
                <a:ea typeface="+mn-lt"/>
                <a:cs typeface="+mn-lt"/>
              </a:rPr>
              <a:t>Data Engineer, con más de 5 años de experiencia en el sector IT, definiendo requerimientos, planificando las soluciones e implementándolas; en diversos sectores: Finance, Automotive Suppliers, Supply Chain, Administraciones Publicas. En los últimos 2 años, trabajando en la definición/implementación de ETL en entornos on-premise de Cloudera y usando tecnologías como: Spark, HDFS, Kudu, MongoDB, Elastic (Elastic, </a:t>
            </a:r>
            <a:r>
              <a:rPr lang="es-ES" sz="1200" err="1">
                <a:ea typeface="+mn-lt"/>
                <a:cs typeface="+mn-lt"/>
              </a:rPr>
              <a:t>Kibana</a:t>
            </a:r>
            <a:r>
              <a:rPr lang="es-ES" sz="1200">
                <a:ea typeface="+mn-lt"/>
                <a:cs typeface="+mn-lt"/>
              </a:rPr>
              <a:t>, </a:t>
            </a:r>
            <a:r>
              <a:rPr lang="es-ES" sz="1200" err="1">
                <a:ea typeface="+mn-lt"/>
                <a:cs typeface="+mn-lt"/>
              </a:rPr>
              <a:t>Logstash</a:t>
            </a:r>
            <a:r>
              <a:rPr lang="es-ES" sz="1200">
                <a:ea typeface="+mn-lt"/>
                <a:cs typeface="+mn-lt"/>
              </a:rPr>
              <a:t>, APM)  y AKKA Actors en lenguaje Scala.</a:t>
            </a:r>
          </a:p>
          <a:p>
            <a:endParaRPr lang="es-ES" sz="1200"/>
          </a:p>
        </p:txBody>
      </p:sp>
      <p:sp>
        <p:nvSpPr>
          <p:cNvPr id="40" name="CuadroTexto 39">
            <a:extLst>
              <a:ext uri="{FF2B5EF4-FFF2-40B4-BE49-F238E27FC236}">
                <a16:creationId xmlns:a16="http://schemas.microsoft.com/office/drawing/2014/main" id="{2671AB7D-9A8C-BF47-AEB3-28A9D0EE694D}"/>
              </a:ext>
            </a:extLst>
          </p:cNvPr>
          <p:cNvSpPr txBox="1"/>
          <p:nvPr/>
        </p:nvSpPr>
        <p:spPr>
          <a:xfrm>
            <a:off x="250308" y="1595249"/>
            <a:ext cx="551757" cy="646331"/>
          </a:xfrm>
          <a:prstGeom prst="rect">
            <a:avLst/>
          </a:prstGeom>
          <a:noFill/>
        </p:spPr>
        <p:txBody>
          <a:bodyPr wrap="square" lIns="91440" tIns="45720" rIns="91440" bIns="45720" rtlCol="0" anchor="t">
            <a:spAutoFit/>
          </a:bodyPr>
          <a:lstStyle/>
          <a:p>
            <a:r>
              <a:rPr lang="es-ES" sz="900" b="1">
                <a:ea typeface="+mn-lt"/>
                <a:cs typeface="+mn-lt"/>
              </a:rPr>
              <a:t>ACT</a:t>
            </a:r>
            <a:endParaRPr lang="en-US" sz="900" b="1">
              <a:ea typeface="+mn-lt"/>
              <a:cs typeface="+mn-lt"/>
            </a:endParaRPr>
          </a:p>
          <a:p>
            <a:r>
              <a:rPr lang="es-ES" sz="900" b="1">
                <a:ea typeface="+mn-lt"/>
                <a:cs typeface="+mn-lt"/>
              </a:rPr>
              <a:t>—</a:t>
            </a:r>
            <a:endParaRPr lang="en-US" sz="900" b="1">
              <a:ea typeface="+mn-lt"/>
              <a:cs typeface="+mn-lt"/>
            </a:endParaRPr>
          </a:p>
          <a:p>
            <a:r>
              <a:rPr lang="es-ES" sz="900" b="1">
                <a:ea typeface="+mn-lt"/>
                <a:cs typeface="+mn-lt"/>
              </a:rPr>
              <a:t>2019</a:t>
            </a:r>
            <a:endParaRPr lang="en-US" sz="900" b="1">
              <a:ea typeface="+mn-lt"/>
              <a:cs typeface="+mn-lt"/>
            </a:endParaRPr>
          </a:p>
          <a:p>
            <a:endParaRPr lang="es-ES" sz="900">
              <a:latin typeface="Soho Gothic Pro Medium" panose="020B0503030504020204" pitchFamily="34" charset="77"/>
            </a:endParaRPr>
          </a:p>
        </p:txBody>
      </p:sp>
      <p:sp>
        <p:nvSpPr>
          <p:cNvPr id="45" name="CuadroTexto 44">
            <a:extLst>
              <a:ext uri="{FF2B5EF4-FFF2-40B4-BE49-F238E27FC236}">
                <a16:creationId xmlns:a16="http://schemas.microsoft.com/office/drawing/2014/main" id="{1813E8C3-18D9-0B4B-8FCA-406B39785552}"/>
              </a:ext>
            </a:extLst>
          </p:cNvPr>
          <p:cNvSpPr txBox="1"/>
          <p:nvPr/>
        </p:nvSpPr>
        <p:spPr>
          <a:xfrm>
            <a:off x="685930" y="1555339"/>
            <a:ext cx="3989098" cy="5386090"/>
          </a:xfrm>
          <a:prstGeom prst="rect">
            <a:avLst/>
          </a:prstGeom>
          <a:noFill/>
        </p:spPr>
        <p:txBody>
          <a:bodyPr wrap="square" lIns="91440" tIns="45720" rIns="91440" bIns="45720" rtlCol="0" anchor="t">
            <a:spAutoFit/>
          </a:bodyPr>
          <a:lstStyle/>
          <a:p>
            <a:pPr algn="just"/>
            <a:r>
              <a:rPr lang="es-ES" sz="800" b="1">
                <a:ea typeface="+mn-lt"/>
                <a:cs typeface="+mn-lt"/>
              </a:rPr>
              <a:t>Minsait </a:t>
            </a:r>
            <a:r>
              <a:rPr lang="es-ES" sz="800" b="1" err="1">
                <a:ea typeface="+mn-lt"/>
                <a:cs typeface="+mn-lt"/>
              </a:rPr>
              <a:t>by</a:t>
            </a:r>
            <a:r>
              <a:rPr lang="es-ES" sz="800" b="1">
                <a:ea typeface="+mn-lt"/>
                <a:cs typeface="+mn-lt"/>
              </a:rPr>
              <a:t> Indra (Barcelona, España)</a:t>
            </a:r>
            <a:endParaRPr lang="en-US" sz="800">
              <a:ea typeface="+mn-lt"/>
              <a:cs typeface="+mn-lt"/>
            </a:endParaRPr>
          </a:p>
          <a:p>
            <a:pPr algn="just"/>
            <a:r>
              <a:rPr lang="es-ES" sz="800">
                <a:ea typeface="+mn-lt"/>
                <a:cs typeface="+mn-lt"/>
              </a:rPr>
              <a:t>Senior Big Data </a:t>
            </a:r>
            <a:r>
              <a:rPr lang="es-ES" sz="800" err="1">
                <a:ea typeface="+mn-lt"/>
                <a:cs typeface="+mn-lt"/>
              </a:rPr>
              <a:t>Consultant</a:t>
            </a:r>
            <a:endParaRPr lang="en-US" sz="800">
              <a:ea typeface="+mn-lt"/>
              <a:cs typeface="+mn-lt"/>
            </a:endParaRPr>
          </a:p>
          <a:p>
            <a:pPr algn="just"/>
            <a:endParaRPr lang="es-ES" sz="800">
              <a:ea typeface="+mn-lt"/>
              <a:cs typeface="+mn-lt"/>
            </a:endParaRPr>
          </a:p>
          <a:p>
            <a:pPr marL="171450" indent="-171450" algn="just">
              <a:buFont typeface="Arial,Sans-Serif"/>
              <a:buChar char="•"/>
            </a:pPr>
            <a:r>
              <a:rPr lang="es-ES" sz="800" b="1" u="sng">
                <a:ea typeface="+mn-lt"/>
                <a:cs typeface="+mn-lt"/>
              </a:rPr>
              <a:t>ATC (Agencia Tributaria Catalunya)</a:t>
            </a:r>
            <a:endParaRPr lang="en-US" sz="800">
              <a:ea typeface="+mn-lt"/>
              <a:cs typeface="+mn-lt"/>
            </a:endParaRPr>
          </a:p>
          <a:p>
            <a:pPr marL="171450" indent="-171450" algn="just">
              <a:buFont typeface="Arial,Sans-Serif"/>
              <a:buChar char="•"/>
            </a:pPr>
            <a:endParaRPr lang="es-ES" sz="800" b="1" u="sng">
              <a:ea typeface="+mn-lt"/>
              <a:cs typeface="+mn-lt"/>
            </a:endParaRPr>
          </a:p>
          <a:p>
            <a:pPr marL="171450" indent="-171450" algn="just">
              <a:buFont typeface="Arial,Sans-Serif"/>
              <a:buChar char="•"/>
            </a:pPr>
            <a:r>
              <a:rPr lang="es-ES" sz="800" b="1" err="1">
                <a:ea typeface="+mn-lt"/>
                <a:cs typeface="+mn-lt"/>
              </a:rPr>
              <a:t>Technical</a:t>
            </a:r>
            <a:r>
              <a:rPr lang="es-ES" sz="800" b="1">
                <a:ea typeface="+mn-lt"/>
                <a:cs typeface="+mn-lt"/>
              </a:rPr>
              <a:t> </a:t>
            </a:r>
            <a:r>
              <a:rPr lang="es-ES" sz="800" b="1" err="1">
                <a:ea typeface="+mn-lt"/>
                <a:cs typeface="+mn-lt"/>
              </a:rPr>
              <a:t>Team</a:t>
            </a:r>
            <a:r>
              <a:rPr lang="es-ES" sz="800" b="1">
                <a:ea typeface="+mn-lt"/>
                <a:cs typeface="+mn-lt"/>
              </a:rPr>
              <a:t> Leader en el proyecto DALI:</a:t>
            </a:r>
            <a:endParaRPr lang="es-ES" sz="800" b="1" u="sng">
              <a:ea typeface="+mn-lt"/>
              <a:cs typeface="+mn-lt"/>
            </a:endParaRPr>
          </a:p>
          <a:p>
            <a:pPr marL="171450" indent="-171450" algn="just">
              <a:buFont typeface="Arial,Sans-Serif"/>
              <a:buChar char="•"/>
            </a:pPr>
            <a:endParaRPr lang="es-ES" sz="800" b="1" u="sng">
              <a:ea typeface="+mn-lt"/>
              <a:cs typeface="+mn-lt"/>
            </a:endParaRPr>
          </a:p>
          <a:p>
            <a:pPr marL="628015" indent="-171450" algn="just">
              <a:buFont typeface="Arial"/>
              <a:buChar char="•"/>
            </a:pPr>
            <a:r>
              <a:rPr lang="es-ES" sz="800">
                <a:ea typeface="+mn-lt"/>
                <a:cs typeface="+mn-lt"/>
              </a:rPr>
              <a:t>Definición de la pipelines (ETL) para procesar información y su posterior almacenamiento en un </a:t>
            </a:r>
            <a:r>
              <a:rPr lang="es-ES" sz="800" err="1">
                <a:ea typeface="+mn-lt"/>
                <a:cs typeface="+mn-lt"/>
              </a:rPr>
              <a:t>Datalake</a:t>
            </a:r>
            <a:r>
              <a:rPr lang="es-ES" sz="800">
                <a:ea typeface="+mn-lt"/>
                <a:cs typeface="+mn-lt"/>
              </a:rPr>
              <a:t>.</a:t>
            </a:r>
          </a:p>
          <a:p>
            <a:pPr marL="628015" indent="-171450" algn="just">
              <a:buFont typeface="Arial"/>
              <a:buChar char="•"/>
            </a:pPr>
            <a:r>
              <a:rPr lang="es-ES" sz="800">
                <a:ea typeface="+mn-lt"/>
                <a:cs typeface="+mn-lt"/>
              </a:rPr>
              <a:t>Diseños </a:t>
            </a:r>
            <a:r>
              <a:rPr lang="es-ES" sz="800" err="1">
                <a:ea typeface="+mn-lt"/>
                <a:cs typeface="+mn-lt"/>
              </a:rPr>
              <a:t>tecnicos</a:t>
            </a:r>
            <a:r>
              <a:rPr lang="es-ES" sz="800">
                <a:ea typeface="+mn-lt"/>
                <a:cs typeface="+mn-lt"/>
              </a:rPr>
              <a:t> de la arquitectura del </a:t>
            </a:r>
            <a:r>
              <a:rPr lang="es-ES" sz="800" err="1">
                <a:ea typeface="+mn-lt"/>
                <a:cs typeface="+mn-lt"/>
              </a:rPr>
              <a:t>Datalake</a:t>
            </a:r>
            <a:r>
              <a:rPr lang="es-ES" sz="800">
                <a:ea typeface="+mn-lt"/>
                <a:cs typeface="+mn-lt"/>
              </a:rPr>
              <a:t> de la ATC.</a:t>
            </a:r>
          </a:p>
          <a:p>
            <a:pPr marL="628015" lvl="1" indent="-171450" algn="just">
              <a:buFont typeface="Arial,Sans-Serif"/>
              <a:buChar char="•"/>
            </a:pPr>
            <a:r>
              <a:rPr lang="es-ES" sz="800">
                <a:ea typeface="+mn-lt"/>
                <a:cs typeface="+mn-lt"/>
              </a:rPr>
              <a:t>Definición e implementación de procesos de consulta para los diferentes frontales de usuarios.</a:t>
            </a:r>
            <a:endParaRPr lang="en-US" sz="800">
              <a:ea typeface="+mn-lt"/>
              <a:cs typeface="+mn-lt"/>
            </a:endParaRPr>
          </a:p>
          <a:p>
            <a:pPr marL="628015" lvl="1" indent="-171450" algn="just">
              <a:buFont typeface="Arial,Sans-Serif"/>
              <a:buChar char="•"/>
            </a:pPr>
            <a:r>
              <a:rPr lang="es-ES" sz="800">
                <a:ea typeface="+mn-lt"/>
                <a:cs typeface="+mn-lt"/>
              </a:rPr>
              <a:t>Implementación de procesos de  Data </a:t>
            </a:r>
            <a:r>
              <a:rPr lang="es-ES" sz="800" err="1">
                <a:ea typeface="+mn-lt"/>
                <a:cs typeface="+mn-lt"/>
              </a:rPr>
              <a:t>Normalization</a:t>
            </a:r>
            <a:r>
              <a:rPr lang="es-ES" sz="800">
                <a:ea typeface="+mn-lt"/>
                <a:cs typeface="+mn-lt"/>
              </a:rPr>
              <a:t> para la información almacenada en el </a:t>
            </a:r>
            <a:r>
              <a:rPr lang="es-ES" sz="800" err="1">
                <a:ea typeface="+mn-lt"/>
                <a:cs typeface="+mn-lt"/>
              </a:rPr>
              <a:t>datalake</a:t>
            </a:r>
            <a:r>
              <a:rPr lang="es-ES" sz="800">
                <a:ea typeface="+mn-lt"/>
                <a:cs typeface="+mn-lt"/>
              </a:rPr>
              <a:t>.</a:t>
            </a:r>
          </a:p>
          <a:p>
            <a:pPr marL="628015" lvl="1" indent="-171450" algn="just">
              <a:buFont typeface="Arial,Sans-Serif"/>
              <a:buChar char="•"/>
            </a:pPr>
            <a:r>
              <a:rPr lang="es-ES" sz="800" err="1">
                <a:ea typeface="+mn-lt"/>
                <a:cs typeface="+mn-lt"/>
              </a:rPr>
              <a:t>Coordinacion</a:t>
            </a:r>
            <a:r>
              <a:rPr lang="es-ES" sz="800">
                <a:ea typeface="+mn-lt"/>
                <a:cs typeface="+mn-lt"/>
              </a:rPr>
              <a:t> de un equipo formado por 2 </a:t>
            </a:r>
            <a:r>
              <a:rPr lang="es-ES" sz="800" err="1">
                <a:ea typeface="+mn-lt"/>
                <a:cs typeface="+mn-lt"/>
              </a:rPr>
              <a:t>developers</a:t>
            </a:r>
            <a:r>
              <a:rPr lang="es-ES" sz="800">
                <a:ea typeface="+mn-lt"/>
                <a:cs typeface="+mn-lt"/>
              </a:rPr>
              <a:t>, 1 senior </a:t>
            </a:r>
            <a:r>
              <a:rPr lang="es-ES" sz="800" err="1">
                <a:ea typeface="+mn-lt"/>
                <a:cs typeface="+mn-lt"/>
              </a:rPr>
              <a:t>developer</a:t>
            </a:r>
            <a:r>
              <a:rPr lang="es-ES" sz="800">
                <a:ea typeface="+mn-lt"/>
                <a:cs typeface="+mn-lt"/>
              </a:rPr>
              <a:t> y 1 arquitecto.</a:t>
            </a:r>
          </a:p>
          <a:p>
            <a:pPr marL="171450" indent="-171450" algn="just">
              <a:buFont typeface="Arial,Sans-Serif"/>
              <a:buChar char="•"/>
            </a:pPr>
            <a:endParaRPr lang="es-ES" sz="800">
              <a:ea typeface="+mn-lt"/>
              <a:cs typeface="+mn-lt"/>
            </a:endParaRPr>
          </a:p>
          <a:p>
            <a:pPr marL="171450" indent="-171450" algn="just">
              <a:buFont typeface="Arial,Sans-Serif"/>
              <a:buChar char="•"/>
            </a:pPr>
            <a:r>
              <a:rPr lang="es-ES" sz="800" b="1" u="sng">
                <a:ea typeface="+mn-lt"/>
                <a:cs typeface="+mn-lt"/>
              </a:rPr>
              <a:t>SUNAT (Agencia Tributaria Perú)</a:t>
            </a:r>
            <a:endParaRPr lang="en-US" sz="800">
              <a:ea typeface="+mn-lt"/>
              <a:cs typeface="+mn-lt"/>
            </a:endParaRPr>
          </a:p>
          <a:p>
            <a:pPr marL="171450" indent="-171450" algn="just">
              <a:buFont typeface="Arial,Sans-Serif"/>
              <a:buChar char="•"/>
            </a:pPr>
            <a:endParaRPr lang="es-ES" sz="800" b="1" u="sng">
              <a:ea typeface="+mn-lt"/>
              <a:cs typeface="+mn-lt"/>
            </a:endParaRPr>
          </a:p>
          <a:p>
            <a:pPr marL="171450" indent="-171450" algn="just">
              <a:buFont typeface="Arial,Sans-Serif"/>
              <a:buChar char="•"/>
            </a:pPr>
            <a:r>
              <a:rPr lang="es-ES" sz="800" b="1">
                <a:ea typeface="+mn-lt"/>
                <a:cs typeface="+mn-lt"/>
              </a:rPr>
              <a:t>Data </a:t>
            </a:r>
            <a:r>
              <a:rPr lang="es-ES" sz="800" b="1" err="1">
                <a:ea typeface="+mn-lt"/>
                <a:cs typeface="+mn-lt"/>
              </a:rPr>
              <a:t>Engineer</a:t>
            </a:r>
            <a:r>
              <a:rPr lang="es-ES" sz="800" b="1">
                <a:ea typeface="+mn-lt"/>
                <a:cs typeface="+mn-lt"/>
              </a:rPr>
              <a:t>:</a:t>
            </a:r>
          </a:p>
          <a:p>
            <a:pPr marL="171450" indent="-171450" algn="just">
              <a:buFont typeface="Arial,Sans-Serif"/>
              <a:buChar char="•"/>
            </a:pPr>
            <a:endParaRPr lang="es-ES" sz="800">
              <a:ea typeface="+mn-lt"/>
              <a:cs typeface="+mn-lt"/>
            </a:endParaRPr>
          </a:p>
          <a:p>
            <a:pPr marL="628015" lvl="1" indent="-171450" algn="just">
              <a:buFont typeface="Arial,Sans-Serif"/>
              <a:buChar char="•"/>
            </a:pPr>
            <a:r>
              <a:rPr lang="es-ES" sz="800">
                <a:ea typeface="+mn-lt"/>
                <a:cs typeface="+mn-lt"/>
              </a:rPr>
              <a:t>Definición de las entidades en el modelo lógico.</a:t>
            </a:r>
            <a:endParaRPr lang="en-US" sz="800">
              <a:ea typeface="+mn-lt"/>
              <a:cs typeface="+mn-lt"/>
            </a:endParaRPr>
          </a:p>
          <a:p>
            <a:pPr marL="628015" lvl="1" indent="-171450" algn="just">
              <a:buFont typeface="Arial,Sans-Serif"/>
              <a:buChar char="•"/>
            </a:pPr>
            <a:r>
              <a:rPr lang="es-ES" sz="800">
                <a:ea typeface="+mn-lt"/>
                <a:cs typeface="+mn-lt"/>
              </a:rPr>
              <a:t>Traslado de los requerimientos del cliente hacia el modelo lógico y físico, integrándolos con las definiciones ya existentes. Todo ello en colecciones MongoDB</a:t>
            </a:r>
            <a:endParaRPr lang="en-US" sz="800">
              <a:ea typeface="+mn-lt"/>
              <a:cs typeface="+mn-lt"/>
            </a:endParaRPr>
          </a:p>
          <a:p>
            <a:pPr marL="628015" lvl="1" indent="-171450" algn="just">
              <a:buFont typeface="Arial,Sans-Serif"/>
              <a:buChar char="•"/>
            </a:pPr>
            <a:endParaRPr lang="es-ES" sz="800" b="1" u="sng">
              <a:ea typeface="+mn-lt"/>
              <a:cs typeface="+mn-lt"/>
            </a:endParaRPr>
          </a:p>
          <a:p>
            <a:pPr marL="171450" indent="-171450" algn="just">
              <a:buFont typeface="Arial,Sans-Serif"/>
              <a:buChar char="•"/>
            </a:pPr>
            <a:r>
              <a:rPr lang="es-ES" sz="800" b="1" u="sng">
                <a:latin typeface="Soho Gothic Pro Light"/>
              </a:rPr>
              <a:t>IAM (</a:t>
            </a:r>
            <a:r>
              <a:rPr lang="es-ES" sz="800" b="1" u="sng" err="1">
                <a:latin typeface="Soho Gothic Pro Light"/>
              </a:rPr>
              <a:t>Informatica</a:t>
            </a:r>
            <a:r>
              <a:rPr lang="es-ES" sz="800" b="1" u="sng">
                <a:latin typeface="Soho Gothic Pro Light"/>
              </a:rPr>
              <a:t> Ayuntamiento Madrid)</a:t>
            </a:r>
          </a:p>
          <a:p>
            <a:pPr marL="171450" indent="-171450" algn="just">
              <a:buFont typeface="Arial,Sans-Serif"/>
              <a:buChar char="•"/>
            </a:pPr>
            <a:endParaRPr lang="es-ES" sz="800" b="1" u="sng">
              <a:latin typeface="Soho Gothic Pro Light"/>
            </a:endParaRPr>
          </a:p>
          <a:p>
            <a:pPr marL="171450" indent="-171450" algn="just">
              <a:buFont typeface="Arial"/>
              <a:buChar char="•"/>
            </a:pPr>
            <a:r>
              <a:rPr lang="es-ES" sz="800" b="1" err="1">
                <a:ea typeface="+mn-lt"/>
                <a:cs typeface="+mn-lt"/>
              </a:rPr>
              <a:t>Technical</a:t>
            </a:r>
            <a:r>
              <a:rPr lang="es-ES" sz="800" b="1">
                <a:ea typeface="+mn-lt"/>
                <a:cs typeface="+mn-lt"/>
              </a:rPr>
              <a:t> </a:t>
            </a:r>
            <a:r>
              <a:rPr lang="es-ES" sz="800" b="1" err="1">
                <a:ea typeface="+mn-lt"/>
                <a:cs typeface="+mn-lt"/>
              </a:rPr>
              <a:t>Team</a:t>
            </a:r>
            <a:r>
              <a:rPr lang="es-ES" sz="800" b="1">
                <a:ea typeface="+mn-lt"/>
                <a:cs typeface="+mn-lt"/>
              </a:rPr>
              <a:t> Leader en el proyecto DALI:</a:t>
            </a:r>
            <a:endParaRPr lang="es-ES" sz="800">
              <a:ea typeface="+mn-lt"/>
              <a:cs typeface="+mn-lt"/>
            </a:endParaRPr>
          </a:p>
          <a:p>
            <a:pPr marL="171450" indent="-171450" algn="just">
              <a:buFont typeface="Arial"/>
              <a:buChar char="•"/>
            </a:pPr>
            <a:endParaRPr lang="es-ES" sz="800" b="1">
              <a:latin typeface="Soho Gothic Pro Light"/>
            </a:endParaRPr>
          </a:p>
          <a:p>
            <a:pPr marL="628015" lvl="1" indent="-171450" algn="just">
              <a:buFont typeface="Arial"/>
              <a:buChar char="•"/>
            </a:pPr>
            <a:r>
              <a:rPr lang="es-ES" sz="800">
                <a:latin typeface="Soho Gothic Pro Light"/>
              </a:rPr>
              <a:t>Revisión de la arquitectura desplegada en IAM con </a:t>
            </a:r>
            <a:r>
              <a:rPr lang="es-ES" sz="800" err="1">
                <a:latin typeface="Soho Gothic Pro Light"/>
              </a:rPr>
              <a:t>ElasticSearch</a:t>
            </a:r>
            <a:r>
              <a:rPr lang="es-ES" sz="800">
                <a:latin typeface="Soho Gothic Pro Light"/>
              </a:rPr>
              <a:t>.</a:t>
            </a:r>
            <a:endParaRPr lang="es-ES" sz="800" b="1">
              <a:latin typeface="Soho Gothic Pro Light"/>
            </a:endParaRPr>
          </a:p>
          <a:p>
            <a:pPr marL="628015" lvl="1" indent="-171450" algn="just">
              <a:buFont typeface="Arial"/>
              <a:buChar char="•"/>
            </a:pPr>
            <a:r>
              <a:rPr lang="es-ES" sz="800">
                <a:latin typeface="Soho Gothic Pro Light"/>
              </a:rPr>
              <a:t>Propuestas de mejora y </a:t>
            </a:r>
            <a:r>
              <a:rPr lang="es-ES" sz="800" err="1">
                <a:latin typeface="Soho Gothic Pro Light"/>
              </a:rPr>
              <a:t>sizing</a:t>
            </a:r>
            <a:r>
              <a:rPr lang="es-ES" sz="800">
                <a:latin typeface="Soho Gothic Pro Light"/>
              </a:rPr>
              <a:t> en base a los requerimientos funcionales de los usuarios, </a:t>
            </a:r>
            <a:r>
              <a:rPr lang="es-ES" sz="800" err="1">
                <a:latin typeface="Soho Gothic Pro Light"/>
              </a:rPr>
              <a:t>asi</a:t>
            </a:r>
            <a:r>
              <a:rPr lang="es-ES" sz="800">
                <a:latin typeface="Soho Gothic Pro Light"/>
              </a:rPr>
              <a:t> como una </a:t>
            </a:r>
            <a:r>
              <a:rPr lang="es-ES" sz="800" err="1">
                <a:latin typeface="Soho Gothic Pro Light"/>
              </a:rPr>
              <a:t>evolucion</a:t>
            </a:r>
            <a:r>
              <a:rPr lang="es-ES" sz="800">
                <a:latin typeface="Soho Gothic Pro Light"/>
              </a:rPr>
              <a:t> de la arquitectura de la plataforma.</a:t>
            </a:r>
          </a:p>
          <a:p>
            <a:pPr marL="628015" lvl="1" indent="-171450" algn="just">
              <a:buFont typeface="Arial"/>
              <a:buChar char="•"/>
            </a:pPr>
            <a:r>
              <a:rPr lang="es-ES" sz="800">
                <a:latin typeface="Soho Gothic Pro Light"/>
              </a:rPr>
              <a:t>Aplicación del stack APM y Logstash para detectar problemas de </a:t>
            </a:r>
            <a:r>
              <a:rPr lang="es-ES" sz="800" err="1">
                <a:latin typeface="Soho Gothic Pro Light"/>
              </a:rPr>
              <a:t>perfomance</a:t>
            </a:r>
            <a:r>
              <a:rPr lang="es-ES" sz="800">
                <a:latin typeface="Soho Gothic Pro Light"/>
              </a:rPr>
              <a:t> en las aplicaciones y en los servidores de la plataforma, para la </a:t>
            </a:r>
            <a:r>
              <a:rPr lang="es-ES" sz="800" err="1">
                <a:latin typeface="Soho Gothic Pro Light"/>
              </a:rPr>
              <a:t>prediccion</a:t>
            </a:r>
            <a:r>
              <a:rPr lang="es-ES" sz="800">
                <a:latin typeface="Soho Gothic Pro Light"/>
              </a:rPr>
              <a:t> de errores en las aplicaciones y evitar </a:t>
            </a:r>
            <a:r>
              <a:rPr lang="es-ES" sz="800" err="1">
                <a:latin typeface="Soho Gothic Pro Light"/>
              </a:rPr>
              <a:t>caidas</a:t>
            </a:r>
            <a:r>
              <a:rPr lang="es-ES" sz="800">
                <a:latin typeface="Soho Gothic Pro Light"/>
              </a:rPr>
              <a:t> del sistema.</a:t>
            </a:r>
          </a:p>
          <a:p>
            <a:pPr marL="628015" lvl="1" indent="-171450" algn="just">
              <a:buFont typeface="Arial"/>
              <a:buChar char="•"/>
            </a:pPr>
            <a:r>
              <a:rPr lang="es-ES" sz="800">
                <a:latin typeface="Soho Gothic Pro Light"/>
              </a:rPr>
              <a:t>Mejora en los pipelines de </a:t>
            </a:r>
            <a:r>
              <a:rPr lang="es-ES" sz="800" err="1">
                <a:latin typeface="Soho Gothic Pro Light"/>
              </a:rPr>
              <a:t>logstash</a:t>
            </a:r>
            <a:r>
              <a:rPr lang="es-ES" sz="800">
                <a:latin typeface="Soho Gothic Pro Light"/>
              </a:rPr>
              <a:t> implementados.</a:t>
            </a:r>
          </a:p>
          <a:p>
            <a:pPr marL="628015" lvl="1" indent="-171450" algn="just">
              <a:buFont typeface="Arial"/>
              <a:buChar char="•"/>
            </a:pPr>
            <a:r>
              <a:rPr lang="es-ES" sz="800">
                <a:latin typeface="Soho Gothic Pro Light"/>
              </a:rPr>
              <a:t>Instalación de </a:t>
            </a:r>
            <a:r>
              <a:rPr lang="es-ES" sz="800" err="1">
                <a:latin typeface="Soho Gothic Pro Light"/>
              </a:rPr>
              <a:t>heartbeats</a:t>
            </a:r>
            <a:r>
              <a:rPr lang="es-ES" sz="800">
                <a:latin typeface="Soho Gothic Pro Light"/>
              </a:rPr>
              <a:t> para </a:t>
            </a:r>
            <a:r>
              <a:rPr lang="es-ES" sz="800" err="1">
                <a:latin typeface="Soho Gothic Pro Light"/>
              </a:rPr>
              <a:t>monitorizacion</a:t>
            </a:r>
            <a:r>
              <a:rPr lang="es-ES" sz="800">
                <a:latin typeface="Soho Gothic Pro Light"/>
              </a:rPr>
              <a:t> de los diversos </a:t>
            </a:r>
            <a:r>
              <a:rPr lang="es-ES" sz="800" err="1">
                <a:latin typeface="Soho Gothic Pro Light"/>
              </a:rPr>
              <a:t>endpoints</a:t>
            </a:r>
            <a:r>
              <a:rPr lang="es-ES" sz="800">
                <a:latin typeface="Soho Gothic Pro Light"/>
              </a:rPr>
              <a:t> desplegados en los servers de IAM.</a:t>
            </a:r>
          </a:p>
          <a:p>
            <a:pPr marL="628015" lvl="1" indent="-171450" algn="just">
              <a:buFont typeface="Arial"/>
              <a:buChar char="•"/>
            </a:pPr>
            <a:r>
              <a:rPr lang="es-ES" sz="800"/>
              <a:t>Mejoras en los diseños de los </a:t>
            </a:r>
            <a:r>
              <a:rPr lang="es-ES" sz="800" err="1"/>
              <a:t>dashboards</a:t>
            </a:r>
            <a:r>
              <a:rPr lang="es-ES" sz="800"/>
              <a:t> creados en Kibana para explotar la información .</a:t>
            </a:r>
            <a:endParaRPr lang="es-ES" sz="1100" b="1">
              <a:latin typeface="Soho Gothic Pro" panose="020B0503030504020204" pitchFamily="34" charset="77"/>
            </a:endParaRPr>
          </a:p>
        </p:txBody>
      </p:sp>
      <p:sp>
        <p:nvSpPr>
          <p:cNvPr id="46" name="CuadroTexto 45">
            <a:extLst>
              <a:ext uri="{FF2B5EF4-FFF2-40B4-BE49-F238E27FC236}">
                <a16:creationId xmlns:a16="http://schemas.microsoft.com/office/drawing/2014/main" id="{89221374-508B-FF4A-9DFB-601E8041A74B}"/>
              </a:ext>
            </a:extLst>
          </p:cNvPr>
          <p:cNvSpPr txBox="1"/>
          <p:nvPr/>
        </p:nvSpPr>
        <p:spPr>
          <a:xfrm>
            <a:off x="5342656" y="1628785"/>
            <a:ext cx="3848927" cy="2292935"/>
          </a:xfrm>
          <a:prstGeom prst="rect">
            <a:avLst/>
          </a:prstGeom>
          <a:noFill/>
        </p:spPr>
        <p:txBody>
          <a:bodyPr wrap="square" lIns="91440" tIns="45720" rIns="91440" bIns="45720" rtlCol="0" anchor="t">
            <a:spAutoFit/>
          </a:bodyPr>
          <a:lstStyle/>
          <a:p>
            <a:pPr algn="just"/>
            <a:r>
              <a:rPr lang="es-ES" sz="1100" b="1">
                <a:ea typeface="+mn-lt"/>
                <a:cs typeface="+mn-lt"/>
              </a:rPr>
              <a:t>QAD (ERP Industrial)</a:t>
            </a:r>
            <a:endParaRPr lang="es-ES" sz="1100">
              <a:ea typeface="+mn-lt"/>
              <a:cs typeface="+mn-lt"/>
            </a:endParaRPr>
          </a:p>
          <a:p>
            <a:pPr algn="just"/>
            <a:r>
              <a:rPr lang="es-ES" sz="1100">
                <a:ea typeface="+mn-lt"/>
                <a:cs typeface="+mn-lt"/>
              </a:rPr>
              <a:t>ERP Senior Consultant</a:t>
            </a:r>
            <a:endParaRPr lang="en-US"/>
          </a:p>
          <a:p>
            <a:pPr algn="just"/>
            <a:endParaRPr lang="en-US" sz="1100">
              <a:latin typeface="Soho Gothic Pro" panose="020B0503030504020204" pitchFamily="34" charset="77"/>
            </a:endParaRPr>
          </a:p>
          <a:p>
            <a:pPr marL="171450" indent="-171450" algn="just">
              <a:buFont typeface="Arial,Sans-Serif" panose="020B0604020202020204" pitchFamily="34" charset="0"/>
              <a:buChar char="•"/>
            </a:pPr>
            <a:r>
              <a:rPr lang="es-ES" sz="1100">
                <a:ea typeface="+mn-lt"/>
                <a:cs typeface="+mn-lt"/>
              </a:rPr>
              <a:t>Trabajo en entorno multicultural.</a:t>
            </a:r>
            <a:endParaRPr lang="en-US" sz="1100">
              <a:ea typeface="+mn-lt"/>
              <a:cs typeface="+mn-lt"/>
            </a:endParaRPr>
          </a:p>
          <a:p>
            <a:pPr algn="just"/>
            <a:endParaRPr lang="es-ES" sz="1100">
              <a:ea typeface="+mn-lt"/>
              <a:cs typeface="+mn-lt"/>
            </a:endParaRPr>
          </a:p>
          <a:p>
            <a:pPr marL="171450" indent="-171450" algn="just">
              <a:buFont typeface="Arial,Sans-Serif" panose="020B0604020202020204" pitchFamily="34" charset="0"/>
              <a:buChar char="•"/>
            </a:pPr>
            <a:r>
              <a:rPr lang="es-ES" sz="1100">
                <a:ea typeface="+mn-lt"/>
                <a:cs typeface="+mn-lt"/>
              </a:rPr>
              <a:t>Toma requerimientos a los diferentes clientes, para realizar propuestas comerciales.</a:t>
            </a:r>
            <a:endParaRPr lang="en-US" sz="1100">
              <a:ea typeface="+mn-lt"/>
              <a:cs typeface="+mn-lt"/>
            </a:endParaRPr>
          </a:p>
          <a:p>
            <a:pPr algn="just"/>
            <a:endParaRPr lang="es-ES" sz="1100">
              <a:ea typeface="+mn-lt"/>
              <a:cs typeface="+mn-lt"/>
            </a:endParaRPr>
          </a:p>
          <a:p>
            <a:pPr marL="171450" indent="-171450" algn="just">
              <a:buFont typeface="Arial,Sans-Serif" panose="020B0604020202020204" pitchFamily="34" charset="0"/>
              <a:buChar char="•"/>
            </a:pPr>
            <a:r>
              <a:rPr lang="es-ES" sz="1100">
                <a:ea typeface="+mn-lt"/>
                <a:cs typeface="+mn-lt"/>
              </a:rPr>
              <a:t>Análisis, documentación, testing e implementación..</a:t>
            </a:r>
            <a:endParaRPr lang="en-US" sz="1100">
              <a:ea typeface="+mn-lt"/>
              <a:cs typeface="+mn-lt"/>
            </a:endParaRPr>
          </a:p>
          <a:p>
            <a:pPr marL="171450" indent="-171450" algn="just">
              <a:buFont typeface="Arial,Sans-Serif" panose="020B0604020202020204" pitchFamily="34" charset="0"/>
              <a:buChar char="•"/>
            </a:pPr>
            <a:endParaRPr lang="es-ES" sz="1100">
              <a:ea typeface="+mn-lt"/>
              <a:cs typeface="+mn-lt"/>
            </a:endParaRPr>
          </a:p>
          <a:p>
            <a:pPr marL="171450" indent="-171450" algn="just">
              <a:buFont typeface="Arial,Sans-Serif" panose="020B0604020202020204" pitchFamily="34" charset="0"/>
              <a:buChar char="•"/>
            </a:pPr>
            <a:r>
              <a:rPr lang="es-ES" sz="1100">
                <a:ea typeface="+mn-lt"/>
                <a:cs typeface="+mn-lt"/>
              </a:rPr>
              <a:t>Despliegues on-site en la sede del cliente, durante mi estancia fueron realizadas en: Alemania, Republica Checa, Sudáfrica, Italia y UK.</a:t>
            </a:r>
            <a:endParaRPr lang="es-ES"/>
          </a:p>
        </p:txBody>
      </p:sp>
      <p:sp>
        <p:nvSpPr>
          <p:cNvPr id="49" name="CuadroTexto 48">
            <a:extLst>
              <a:ext uri="{FF2B5EF4-FFF2-40B4-BE49-F238E27FC236}">
                <a16:creationId xmlns:a16="http://schemas.microsoft.com/office/drawing/2014/main" id="{A669BC4B-6A50-864F-85AF-01EA17581A38}"/>
              </a:ext>
            </a:extLst>
          </p:cNvPr>
          <p:cNvSpPr txBox="1"/>
          <p:nvPr/>
        </p:nvSpPr>
        <p:spPr>
          <a:xfrm>
            <a:off x="4952126" y="1595249"/>
            <a:ext cx="840256" cy="507831"/>
          </a:xfrm>
          <a:prstGeom prst="rect">
            <a:avLst/>
          </a:prstGeom>
          <a:noFill/>
        </p:spPr>
        <p:txBody>
          <a:bodyPr wrap="square" lIns="91440" tIns="45720" rIns="91440" bIns="45720" rtlCol="0" anchor="t">
            <a:spAutoFit/>
          </a:bodyPr>
          <a:lstStyle/>
          <a:p>
            <a:r>
              <a:rPr lang="es-ES" sz="900" b="1">
                <a:ea typeface="+mn-lt"/>
                <a:cs typeface="+mn-lt"/>
              </a:rPr>
              <a:t>2019</a:t>
            </a:r>
            <a:endParaRPr lang="en-US" sz="900" b="1">
              <a:ea typeface="+mn-lt"/>
              <a:cs typeface="+mn-lt"/>
            </a:endParaRPr>
          </a:p>
          <a:p>
            <a:r>
              <a:rPr lang="es-ES" sz="900" b="1">
                <a:ea typeface="+mn-lt"/>
                <a:cs typeface="+mn-lt"/>
              </a:rPr>
              <a:t>—</a:t>
            </a:r>
            <a:endParaRPr lang="en-US" sz="900" b="1">
              <a:ea typeface="+mn-lt"/>
              <a:cs typeface="+mn-lt"/>
            </a:endParaRPr>
          </a:p>
          <a:p>
            <a:r>
              <a:rPr lang="es-ES" sz="900" b="1">
                <a:ea typeface="+mn-lt"/>
                <a:cs typeface="+mn-lt"/>
              </a:rPr>
              <a:t>2017</a:t>
            </a:r>
            <a:endParaRPr lang="es-ES" b="1"/>
          </a:p>
        </p:txBody>
      </p:sp>
      <p:sp>
        <p:nvSpPr>
          <p:cNvPr id="55" name="CuadroTexto 54">
            <a:extLst>
              <a:ext uri="{FF2B5EF4-FFF2-40B4-BE49-F238E27FC236}">
                <a16:creationId xmlns:a16="http://schemas.microsoft.com/office/drawing/2014/main" id="{BF1684E3-CE8A-1E4E-B964-0132E29D63C2}"/>
              </a:ext>
            </a:extLst>
          </p:cNvPr>
          <p:cNvSpPr txBox="1"/>
          <p:nvPr/>
        </p:nvSpPr>
        <p:spPr>
          <a:xfrm>
            <a:off x="9447648" y="5445453"/>
            <a:ext cx="1609032" cy="276999"/>
          </a:xfrm>
          <a:prstGeom prst="rect">
            <a:avLst/>
          </a:prstGeom>
          <a:noFill/>
        </p:spPr>
        <p:txBody>
          <a:bodyPr wrap="square" rtlCol="0">
            <a:spAutoFit/>
          </a:bodyPr>
          <a:lstStyle/>
          <a:p>
            <a:r>
              <a:rPr lang="es-ES" sz="1200">
                <a:solidFill>
                  <a:schemeClr val="tx1">
                    <a:lumMod val="95000"/>
                    <a:lumOff val="5000"/>
                  </a:schemeClr>
                </a:solidFill>
                <a:latin typeface="Soho Gothic Pro" panose="020B0503030504020204" pitchFamily="34" charset="77"/>
              </a:rPr>
              <a:t>Idiomas</a:t>
            </a:r>
          </a:p>
        </p:txBody>
      </p:sp>
      <p:sp>
        <p:nvSpPr>
          <p:cNvPr id="56" name="CuadroTexto 55">
            <a:extLst>
              <a:ext uri="{FF2B5EF4-FFF2-40B4-BE49-F238E27FC236}">
                <a16:creationId xmlns:a16="http://schemas.microsoft.com/office/drawing/2014/main" id="{BE67F8B7-F4EB-B543-BD33-1314BDD2C39B}"/>
              </a:ext>
            </a:extLst>
          </p:cNvPr>
          <p:cNvSpPr txBox="1"/>
          <p:nvPr/>
        </p:nvSpPr>
        <p:spPr>
          <a:xfrm>
            <a:off x="9474829" y="5689336"/>
            <a:ext cx="2154917" cy="1169551"/>
          </a:xfrm>
          <a:prstGeom prst="rect">
            <a:avLst/>
          </a:prstGeom>
          <a:noFill/>
        </p:spPr>
        <p:txBody>
          <a:bodyPr wrap="square" lIns="91440" tIns="45720" rIns="91440" bIns="45720" rtlCol="0" anchor="t">
            <a:spAutoFit/>
          </a:bodyPr>
          <a:lstStyle/>
          <a:p>
            <a:r>
              <a:rPr lang="es-ES" sz="1000" b="1">
                <a:ea typeface="+mn-lt"/>
                <a:cs typeface="+mn-lt"/>
              </a:rPr>
              <a:t>Castellano - </a:t>
            </a:r>
            <a:r>
              <a:rPr lang="es-ES" sz="1000">
                <a:ea typeface="+mn-lt"/>
                <a:cs typeface="+mn-lt"/>
              </a:rPr>
              <a:t>Nativo</a:t>
            </a:r>
            <a:r>
              <a:rPr lang="en-US" sz="1000">
                <a:ea typeface="+mn-lt"/>
                <a:cs typeface="+mn-lt"/>
              </a:rPr>
              <a:t/>
            </a:r>
            <a:br>
              <a:rPr lang="en-US" sz="1000">
                <a:ea typeface="+mn-lt"/>
                <a:cs typeface="+mn-lt"/>
              </a:rPr>
            </a:br>
            <a:r>
              <a:rPr lang="es-ES" sz="1000" b="1">
                <a:ea typeface="+mn-lt"/>
                <a:cs typeface="+mn-lt"/>
              </a:rPr>
              <a:t>Ingles - </a:t>
            </a:r>
            <a:r>
              <a:rPr lang="es-ES" sz="1000">
                <a:ea typeface="+mn-lt"/>
                <a:cs typeface="+mn-lt"/>
              </a:rPr>
              <a:t>Nivel Avanzado</a:t>
            </a:r>
            <a:endParaRPr lang="en-US" sz="1000">
              <a:ea typeface="+mn-lt"/>
              <a:cs typeface="+mn-lt"/>
            </a:endParaRPr>
          </a:p>
          <a:p>
            <a:r>
              <a:rPr lang="es-ES" sz="1000" b="1">
                <a:ea typeface="+mn-lt"/>
                <a:cs typeface="+mn-lt"/>
              </a:rPr>
              <a:t>Italiano - </a:t>
            </a:r>
            <a:r>
              <a:rPr lang="es-ES" sz="1000">
                <a:ea typeface="+mn-lt"/>
                <a:cs typeface="+mn-lt"/>
              </a:rPr>
              <a:t>Nivel intermedio</a:t>
            </a:r>
            <a:endParaRPr lang="en-US" sz="1000">
              <a:ea typeface="+mn-lt"/>
              <a:cs typeface="+mn-lt"/>
            </a:endParaRPr>
          </a:p>
          <a:p>
            <a:r>
              <a:rPr lang="es-ES" sz="1000" b="1">
                <a:ea typeface="+mn-lt"/>
                <a:cs typeface="+mn-lt"/>
              </a:rPr>
              <a:t>Alemán - </a:t>
            </a:r>
            <a:r>
              <a:rPr lang="es-ES" sz="1000">
                <a:ea typeface="+mn-lt"/>
                <a:cs typeface="+mn-lt"/>
              </a:rPr>
              <a:t>Nivel intermedio</a:t>
            </a:r>
            <a:endParaRPr lang="en-US" sz="1000">
              <a:ea typeface="+mn-lt"/>
              <a:cs typeface="+mn-lt"/>
            </a:endParaRPr>
          </a:p>
          <a:p>
            <a:r>
              <a:rPr lang="es-ES" sz="1000" b="1">
                <a:ea typeface="+mn-lt"/>
                <a:cs typeface="+mn-lt"/>
              </a:rPr>
              <a:t>Catalán - </a:t>
            </a:r>
            <a:r>
              <a:rPr lang="es-ES" sz="1000">
                <a:ea typeface="+mn-lt"/>
                <a:cs typeface="+mn-lt"/>
              </a:rPr>
              <a:t>Nivel Intermedio</a:t>
            </a:r>
            <a:endParaRPr lang="en-US" sz="1000">
              <a:ea typeface="+mn-lt"/>
              <a:cs typeface="+mn-lt"/>
            </a:endParaRPr>
          </a:p>
          <a:p>
            <a:endParaRPr lang="es-ES" sz="1000">
              <a:latin typeface="Soho Gothic Pro" panose="020B0503030504020204" pitchFamily="34" charset="77"/>
            </a:endParaRPr>
          </a:p>
          <a:p>
            <a:endParaRPr lang="es-ES" sz="1000">
              <a:latin typeface="Soho Gothic Pro" panose="020B0503030504020204" pitchFamily="34" charset="77"/>
            </a:endParaRPr>
          </a:p>
        </p:txBody>
      </p:sp>
      <p:sp>
        <p:nvSpPr>
          <p:cNvPr id="41" name="CuadroTexto 40">
            <a:extLst>
              <a:ext uri="{FF2B5EF4-FFF2-40B4-BE49-F238E27FC236}">
                <a16:creationId xmlns:a16="http://schemas.microsoft.com/office/drawing/2014/main" id="{0F4E0202-A252-624B-BDF1-C6AE5E8A25DE}"/>
              </a:ext>
            </a:extLst>
          </p:cNvPr>
          <p:cNvSpPr txBox="1"/>
          <p:nvPr/>
        </p:nvSpPr>
        <p:spPr>
          <a:xfrm>
            <a:off x="2285802" y="128854"/>
            <a:ext cx="3859275" cy="461665"/>
          </a:xfrm>
          <a:prstGeom prst="rect">
            <a:avLst/>
          </a:prstGeom>
          <a:noFill/>
        </p:spPr>
        <p:txBody>
          <a:bodyPr wrap="square" lIns="91440" tIns="45720" rIns="91440" bIns="45720" rtlCol="0" anchor="t">
            <a:spAutoFit/>
          </a:bodyPr>
          <a:lstStyle/>
          <a:p>
            <a:r>
              <a:rPr lang="es-ES" sz="2400">
                <a:solidFill>
                  <a:schemeClr val="bg1"/>
                </a:solidFill>
                <a:latin typeface="Soho Gothic Pro Medium"/>
              </a:rPr>
              <a:t>Senior Data Engineer</a:t>
            </a:r>
            <a:endParaRPr lang="es-ES" sz="2400">
              <a:solidFill>
                <a:schemeClr val="bg1"/>
              </a:solidFill>
              <a:latin typeface="Soho Gothic Pro Medium" panose="020B0503030504020204" pitchFamily="34" charset="77"/>
            </a:endParaRPr>
          </a:p>
        </p:txBody>
      </p:sp>
      <p:sp>
        <p:nvSpPr>
          <p:cNvPr id="31" name="CuadroTexto 30">
            <a:extLst>
              <a:ext uri="{FF2B5EF4-FFF2-40B4-BE49-F238E27FC236}">
                <a16:creationId xmlns:a16="http://schemas.microsoft.com/office/drawing/2014/main" id="{0F4E0202-A252-624B-BDF1-C6AE5E8A25DE}"/>
              </a:ext>
            </a:extLst>
          </p:cNvPr>
          <p:cNvSpPr txBox="1"/>
          <p:nvPr/>
        </p:nvSpPr>
        <p:spPr>
          <a:xfrm>
            <a:off x="87086" y="152551"/>
            <a:ext cx="2731759" cy="707886"/>
          </a:xfrm>
          <a:prstGeom prst="rect">
            <a:avLst/>
          </a:prstGeom>
          <a:noFill/>
        </p:spPr>
        <p:txBody>
          <a:bodyPr wrap="square" lIns="91440" tIns="45720" rIns="91440" bIns="45720" rtlCol="0" anchor="t">
            <a:spAutoFit/>
          </a:bodyPr>
          <a:lstStyle/>
          <a:p>
            <a:r>
              <a:rPr lang="es-ES" sz="2000">
                <a:solidFill>
                  <a:srgbClr val="FFFDEF"/>
                </a:solidFill>
                <a:ea typeface="+mn-lt"/>
                <a:cs typeface="+mn-lt"/>
              </a:rPr>
              <a:t>J.A.M.V.</a:t>
            </a:r>
            <a:endParaRPr lang="es-ES" sz="2000">
              <a:ea typeface="+mn-lt"/>
              <a:cs typeface="+mn-lt"/>
            </a:endParaRPr>
          </a:p>
          <a:p>
            <a:endParaRPr lang="es-ES" sz="2000">
              <a:solidFill>
                <a:schemeClr val="bg1"/>
              </a:solidFill>
              <a:latin typeface="Soho Gothic Pro Medium" panose="020B0503030504020204" pitchFamily="34" charset="77"/>
            </a:endParaRPr>
          </a:p>
        </p:txBody>
      </p:sp>
      <p:sp>
        <p:nvSpPr>
          <p:cNvPr id="47" name="CuadroTexto 46">
            <a:extLst>
              <a:ext uri="{FF2B5EF4-FFF2-40B4-BE49-F238E27FC236}">
                <a16:creationId xmlns:a16="http://schemas.microsoft.com/office/drawing/2014/main" id="{89221374-508B-FF4A-9DFB-601E8041A74B}"/>
              </a:ext>
            </a:extLst>
          </p:cNvPr>
          <p:cNvSpPr txBox="1"/>
          <p:nvPr/>
        </p:nvSpPr>
        <p:spPr>
          <a:xfrm>
            <a:off x="5342656" y="4044021"/>
            <a:ext cx="3851849" cy="1446550"/>
          </a:xfrm>
          <a:prstGeom prst="rect">
            <a:avLst/>
          </a:prstGeom>
          <a:noFill/>
        </p:spPr>
        <p:txBody>
          <a:bodyPr wrap="square" lIns="91440" tIns="45720" rIns="91440" bIns="45720" rtlCol="0" anchor="t">
            <a:spAutoFit/>
          </a:bodyPr>
          <a:lstStyle/>
          <a:p>
            <a:pPr algn="just"/>
            <a:r>
              <a:rPr lang="es-ES" sz="1100" b="1" err="1">
                <a:ea typeface="+mn-lt"/>
                <a:cs typeface="+mn-lt"/>
              </a:rPr>
              <a:t>Capgemini</a:t>
            </a:r>
            <a:r>
              <a:rPr lang="es-ES" sz="1100" b="1">
                <a:ea typeface="+mn-lt"/>
                <a:cs typeface="+mn-lt"/>
              </a:rPr>
              <a:t> </a:t>
            </a:r>
            <a:r>
              <a:rPr lang="es-ES" sz="1100" b="1" err="1">
                <a:ea typeface="+mn-lt"/>
                <a:cs typeface="+mn-lt"/>
              </a:rPr>
              <a:t>Finance</a:t>
            </a:r>
            <a:endParaRPr lang="es-ES" sz="1100">
              <a:ea typeface="+mn-lt"/>
              <a:cs typeface="+mn-lt"/>
            </a:endParaRPr>
          </a:p>
          <a:p>
            <a:pPr algn="just"/>
            <a:r>
              <a:rPr lang="es-ES" sz="1100">
                <a:ea typeface="+mn-lt"/>
                <a:cs typeface="+mn-lt"/>
              </a:rPr>
              <a:t>Java </a:t>
            </a:r>
            <a:r>
              <a:rPr lang="es-ES" sz="1100" err="1">
                <a:ea typeface="+mn-lt"/>
                <a:cs typeface="+mn-lt"/>
              </a:rPr>
              <a:t>Developer</a:t>
            </a:r>
            <a:endParaRPr lang="en-US" sz="1100">
              <a:ea typeface="+mn-lt"/>
              <a:cs typeface="+mn-lt"/>
            </a:endParaRPr>
          </a:p>
          <a:p>
            <a:pPr algn="just"/>
            <a:endParaRPr lang="es-ES" sz="1100">
              <a:ea typeface="+mn-lt"/>
              <a:cs typeface="+mn-lt"/>
            </a:endParaRPr>
          </a:p>
          <a:p>
            <a:pPr marL="171450" indent="-171450" algn="just">
              <a:buFont typeface="Arial,Sans-Serif"/>
              <a:buChar char="•"/>
            </a:pPr>
            <a:r>
              <a:rPr lang="es-ES" sz="1100">
                <a:ea typeface="+mn-lt"/>
                <a:cs typeface="+mn-lt"/>
              </a:rPr>
              <a:t>Implementación de los diferentes sistemas de cobol de </a:t>
            </a:r>
            <a:r>
              <a:rPr lang="es-ES" sz="1100" err="1">
                <a:ea typeface="+mn-lt"/>
                <a:cs typeface="+mn-lt"/>
              </a:rPr>
              <a:t>Caixabank</a:t>
            </a:r>
            <a:r>
              <a:rPr lang="es-ES" sz="1100">
                <a:ea typeface="+mn-lt"/>
                <a:cs typeface="+mn-lt"/>
              </a:rPr>
              <a:t> hacia la nueva arquitectura TF7, desarrollada en JAVA realizando </a:t>
            </a:r>
            <a:r>
              <a:rPr lang="es-ES" sz="1100" err="1">
                <a:ea typeface="+mn-lt"/>
                <a:cs typeface="+mn-lt"/>
              </a:rPr>
              <a:t>Frontend</a:t>
            </a:r>
            <a:r>
              <a:rPr lang="es-ES" sz="1100">
                <a:ea typeface="+mn-lt"/>
                <a:cs typeface="+mn-lt"/>
              </a:rPr>
              <a:t> y </a:t>
            </a:r>
            <a:r>
              <a:rPr lang="es-ES" sz="1100" err="1">
                <a:ea typeface="+mn-lt"/>
                <a:cs typeface="+mn-lt"/>
              </a:rPr>
              <a:t>Backend</a:t>
            </a:r>
            <a:r>
              <a:rPr lang="es-ES" sz="1100">
                <a:ea typeface="+mn-lt"/>
                <a:cs typeface="+mn-lt"/>
              </a:rPr>
              <a:t>.</a:t>
            </a:r>
            <a:endParaRPr lang="en-US"/>
          </a:p>
          <a:p>
            <a:pPr algn="just"/>
            <a:endParaRPr lang="es-ES" sz="1100" b="1">
              <a:latin typeface="Soho Gothic Pro" panose="020B0503030504020204" pitchFamily="34" charset="77"/>
            </a:endParaRPr>
          </a:p>
          <a:p>
            <a:pPr algn="just"/>
            <a:endParaRPr lang="en-US" sz="1100">
              <a:latin typeface="Soho Gothic Pro" panose="020B0503030504020204" pitchFamily="34" charset="77"/>
            </a:endParaRPr>
          </a:p>
        </p:txBody>
      </p:sp>
      <p:sp>
        <p:nvSpPr>
          <p:cNvPr id="50" name="CuadroTexto 49">
            <a:extLst>
              <a:ext uri="{FF2B5EF4-FFF2-40B4-BE49-F238E27FC236}">
                <a16:creationId xmlns:a16="http://schemas.microsoft.com/office/drawing/2014/main" id="{A669BC4B-6A50-864F-85AF-01EA17581A38}"/>
              </a:ext>
            </a:extLst>
          </p:cNvPr>
          <p:cNvSpPr txBox="1"/>
          <p:nvPr/>
        </p:nvSpPr>
        <p:spPr>
          <a:xfrm>
            <a:off x="4952126" y="4041254"/>
            <a:ext cx="551757" cy="507831"/>
          </a:xfrm>
          <a:prstGeom prst="rect">
            <a:avLst/>
          </a:prstGeom>
          <a:noFill/>
        </p:spPr>
        <p:txBody>
          <a:bodyPr wrap="square" lIns="91440" tIns="45720" rIns="91440" bIns="45720" rtlCol="0" anchor="t">
            <a:spAutoFit/>
          </a:bodyPr>
          <a:lstStyle/>
          <a:p>
            <a:r>
              <a:rPr lang="es-ES" sz="900">
                <a:latin typeface="Soho Gothic Pro Medium"/>
              </a:rPr>
              <a:t>2017</a:t>
            </a:r>
            <a:endParaRPr lang="es-ES" sz="900">
              <a:latin typeface="Soho Gothic Pro Medium" panose="020B0503030504020204" pitchFamily="34" charset="77"/>
            </a:endParaRPr>
          </a:p>
          <a:p>
            <a:r>
              <a:rPr lang="es-ES" sz="900">
                <a:latin typeface="Soho Gothic Pro Medium" panose="020B0503030504020204" pitchFamily="34" charset="77"/>
              </a:rPr>
              <a:t>—</a:t>
            </a:r>
          </a:p>
          <a:p>
            <a:r>
              <a:rPr lang="es-ES" sz="900">
                <a:latin typeface="Soho Gothic Pro Medium"/>
              </a:rPr>
              <a:t>2015</a:t>
            </a:r>
            <a:endParaRPr lang="es-ES" sz="900">
              <a:latin typeface="Soho Gothic Pro Medium" panose="020B0503030504020204" pitchFamily="34" charset="77"/>
            </a:endParaRPr>
          </a:p>
        </p:txBody>
      </p:sp>
      <p:sp>
        <p:nvSpPr>
          <p:cNvPr id="38" name="CuadroTexto 37">
            <a:extLst>
              <a:ext uri="{FF2B5EF4-FFF2-40B4-BE49-F238E27FC236}">
                <a16:creationId xmlns:a16="http://schemas.microsoft.com/office/drawing/2014/main" id="{920CDAA3-74D2-6940-8900-4AABDD5BE40B}"/>
              </a:ext>
            </a:extLst>
          </p:cNvPr>
          <p:cNvSpPr txBox="1"/>
          <p:nvPr/>
        </p:nvSpPr>
        <p:spPr>
          <a:xfrm>
            <a:off x="9447327" y="3681094"/>
            <a:ext cx="1965960" cy="276999"/>
          </a:xfrm>
          <a:prstGeom prst="rect">
            <a:avLst/>
          </a:prstGeom>
          <a:noFill/>
        </p:spPr>
        <p:txBody>
          <a:bodyPr wrap="square" rtlCol="0">
            <a:spAutoFit/>
          </a:bodyPr>
          <a:lstStyle/>
          <a:p>
            <a:r>
              <a:rPr lang="es-ES" sz="1200">
                <a:solidFill>
                  <a:schemeClr val="tx1">
                    <a:lumMod val="95000"/>
                    <a:lumOff val="5000"/>
                  </a:schemeClr>
                </a:solidFill>
                <a:latin typeface="Soho Gothic Pro" panose="020B0503030504020204" pitchFamily="34" charset="77"/>
              </a:rPr>
              <a:t>IT</a:t>
            </a:r>
          </a:p>
        </p:txBody>
      </p:sp>
      <p:sp>
        <p:nvSpPr>
          <p:cNvPr id="53" name="CuadroTexto 52">
            <a:extLst>
              <a:ext uri="{FF2B5EF4-FFF2-40B4-BE49-F238E27FC236}">
                <a16:creationId xmlns:a16="http://schemas.microsoft.com/office/drawing/2014/main" id="{AB2E014F-704F-3649-A8CA-79AC24262337}"/>
              </a:ext>
            </a:extLst>
          </p:cNvPr>
          <p:cNvSpPr txBox="1"/>
          <p:nvPr/>
        </p:nvSpPr>
        <p:spPr>
          <a:xfrm>
            <a:off x="9436876" y="4009824"/>
            <a:ext cx="2750225" cy="1477328"/>
          </a:xfrm>
          <a:prstGeom prst="rect">
            <a:avLst/>
          </a:prstGeom>
          <a:noFill/>
        </p:spPr>
        <p:txBody>
          <a:bodyPr wrap="square" lIns="91440" tIns="45720" rIns="91440" bIns="45720" rtlCol="0" anchor="t">
            <a:spAutoFit/>
          </a:bodyPr>
          <a:lstStyle/>
          <a:p>
            <a:r>
              <a:rPr lang="es-ES" sz="1000" b="1">
                <a:ea typeface="+mn-lt"/>
                <a:cs typeface="+mn-lt"/>
              </a:rPr>
              <a:t>Lenguajes Programación:</a:t>
            </a:r>
            <a:r>
              <a:rPr lang="es-ES" sz="1000">
                <a:ea typeface="+mn-lt"/>
                <a:cs typeface="+mn-lt"/>
              </a:rPr>
              <a:t> </a:t>
            </a:r>
            <a:r>
              <a:rPr lang="es-ES" sz="1000" i="1">
                <a:ea typeface="+mn-lt"/>
                <a:cs typeface="+mn-lt"/>
              </a:rPr>
              <a:t>Java, Scala</a:t>
            </a:r>
            <a:endParaRPr lang="es-ES" sz="1000">
              <a:ea typeface="+mn-lt"/>
              <a:cs typeface="+mn-lt"/>
            </a:endParaRPr>
          </a:p>
          <a:p>
            <a:r>
              <a:rPr lang="es-ES" sz="1000" b="1">
                <a:ea typeface="+mn-lt"/>
                <a:cs typeface="+mn-lt"/>
              </a:rPr>
              <a:t>Scripting :</a:t>
            </a:r>
            <a:r>
              <a:rPr lang="es-ES" sz="1000">
                <a:ea typeface="+mn-lt"/>
                <a:cs typeface="+mn-lt"/>
              </a:rPr>
              <a:t> </a:t>
            </a:r>
            <a:r>
              <a:rPr lang="es-ES" sz="1000" i="1">
                <a:ea typeface="+mn-lt"/>
                <a:cs typeface="+mn-lt"/>
              </a:rPr>
              <a:t>Linux Scripting</a:t>
            </a:r>
            <a:endParaRPr lang="es-ES" sz="1000">
              <a:ea typeface="+mn-lt"/>
              <a:cs typeface="+mn-lt"/>
            </a:endParaRPr>
          </a:p>
          <a:p>
            <a:r>
              <a:rPr lang="es-ES" sz="1000" b="1">
                <a:ea typeface="+mn-lt"/>
                <a:cs typeface="+mn-lt"/>
              </a:rPr>
              <a:t>BBDD SQL:</a:t>
            </a:r>
            <a:r>
              <a:rPr lang="es-ES" sz="1000">
                <a:ea typeface="+mn-lt"/>
                <a:cs typeface="+mn-lt"/>
              </a:rPr>
              <a:t> </a:t>
            </a:r>
            <a:r>
              <a:rPr lang="es-ES" sz="1000" i="1">
                <a:ea typeface="+mn-lt"/>
                <a:cs typeface="+mn-lt"/>
              </a:rPr>
              <a:t>Hive/Impala, Kudu, Oracle, </a:t>
            </a:r>
            <a:r>
              <a:rPr lang="es-ES" sz="1000" i="1" err="1">
                <a:ea typeface="+mn-lt"/>
                <a:cs typeface="+mn-lt"/>
              </a:rPr>
              <a:t>Progess</a:t>
            </a:r>
            <a:r>
              <a:rPr lang="es-ES" sz="1000" i="1">
                <a:ea typeface="+mn-lt"/>
                <a:cs typeface="+mn-lt"/>
              </a:rPr>
              <a:t>.</a:t>
            </a:r>
            <a:endParaRPr lang="en-US" sz="1000" err="1">
              <a:ea typeface="+mn-lt"/>
              <a:cs typeface="+mn-lt"/>
            </a:endParaRPr>
          </a:p>
          <a:p>
            <a:r>
              <a:rPr lang="es-ES" sz="1000" b="1">
                <a:ea typeface="+mn-lt"/>
                <a:cs typeface="+mn-lt"/>
              </a:rPr>
              <a:t>BBDD</a:t>
            </a:r>
            <a:r>
              <a:rPr lang="es-ES" sz="1000">
                <a:ea typeface="+mn-lt"/>
                <a:cs typeface="+mn-lt"/>
              </a:rPr>
              <a:t>: </a:t>
            </a:r>
            <a:r>
              <a:rPr lang="es-ES" sz="1000" i="1">
                <a:ea typeface="+mn-lt"/>
                <a:cs typeface="+mn-lt"/>
              </a:rPr>
              <a:t>MongoDB, ElasticSearch (</a:t>
            </a:r>
            <a:r>
              <a:rPr lang="es-ES" sz="1000" i="1" err="1">
                <a:ea typeface="+mn-lt"/>
                <a:cs typeface="+mn-lt"/>
              </a:rPr>
              <a:t>Logstash</a:t>
            </a:r>
            <a:r>
              <a:rPr lang="es-ES" sz="1000" i="1">
                <a:ea typeface="+mn-lt"/>
                <a:cs typeface="+mn-lt"/>
              </a:rPr>
              <a:t>, APM, </a:t>
            </a:r>
            <a:r>
              <a:rPr lang="es-ES" sz="1000" i="1" err="1">
                <a:ea typeface="+mn-lt"/>
                <a:cs typeface="+mn-lt"/>
              </a:rPr>
              <a:t>Kibana</a:t>
            </a:r>
            <a:r>
              <a:rPr lang="es-ES" sz="1000" i="1">
                <a:ea typeface="+mn-lt"/>
                <a:cs typeface="+mn-lt"/>
              </a:rPr>
              <a:t>, Machine </a:t>
            </a:r>
            <a:r>
              <a:rPr lang="es-ES" sz="1000" i="1" err="1">
                <a:ea typeface="+mn-lt"/>
                <a:cs typeface="+mn-lt"/>
              </a:rPr>
              <a:t>Learning</a:t>
            </a:r>
            <a:r>
              <a:rPr lang="es-ES" sz="1000" i="1">
                <a:ea typeface="+mn-lt"/>
                <a:cs typeface="+mn-lt"/>
              </a:rPr>
              <a:t>).</a:t>
            </a:r>
            <a:endParaRPr lang="en-US" sz="1000">
              <a:ea typeface="+mn-lt"/>
              <a:cs typeface="+mn-lt"/>
            </a:endParaRPr>
          </a:p>
          <a:p>
            <a:r>
              <a:rPr lang="es-ES" sz="1000" b="1">
                <a:ea typeface="+mn-lt"/>
                <a:cs typeface="+mn-lt"/>
              </a:rPr>
              <a:t>Platforms</a:t>
            </a:r>
            <a:r>
              <a:rPr lang="es-ES" sz="1000">
                <a:ea typeface="+mn-lt"/>
                <a:cs typeface="+mn-lt"/>
              </a:rPr>
              <a:t>: </a:t>
            </a:r>
            <a:r>
              <a:rPr lang="es-ES" sz="1000" i="1">
                <a:ea typeface="+mn-lt"/>
                <a:cs typeface="+mn-lt"/>
              </a:rPr>
              <a:t>Cloudera, AWS, Azure</a:t>
            </a:r>
            <a:endParaRPr lang="es-ES" sz="1000">
              <a:ea typeface="+mn-lt"/>
              <a:cs typeface="+mn-lt"/>
            </a:endParaRPr>
          </a:p>
          <a:p>
            <a:r>
              <a:rPr lang="es-ES" sz="1000" b="1">
                <a:ea typeface="+mn-lt"/>
                <a:cs typeface="+mn-lt"/>
              </a:rPr>
              <a:t>DevOps</a:t>
            </a:r>
            <a:r>
              <a:rPr lang="es-ES" sz="1000">
                <a:ea typeface="+mn-lt"/>
                <a:cs typeface="+mn-lt"/>
              </a:rPr>
              <a:t>: </a:t>
            </a:r>
            <a:r>
              <a:rPr lang="es-ES" sz="1000" i="1">
                <a:ea typeface="+mn-lt"/>
                <a:cs typeface="+mn-lt"/>
              </a:rPr>
              <a:t>GIT, Jenkins, Maven</a:t>
            </a:r>
            <a:endParaRPr lang="en-US" sz="1000">
              <a:ea typeface="+mn-lt"/>
              <a:cs typeface="+mn-lt"/>
            </a:endParaRPr>
          </a:p>
          <a:p>
            <a:r>
              <a:rPr lang="es-ES" sz="1000" b="1">
                <a:ea typeface="+mn-lt"/>
                <a:cs typeface="+mn-lt"/>
              </a:rPr>
              <a:t>Otras tecnologías</a:t>
            </a:r>
            <a:r>
              <a:rPr lang="es-ES" sz="1000" i="1">
                <a:ea typeface="+mn-lt"/>
                <a:cs typeface="+mn-lt"/>
              </a:rPr>
              <a:t>: JSP, AKKA actors, PL-I</a:t>
            </a:r>
            <a:endParaRPr lang="en-US"/>
          </a:p>
        </p:txBody>
      </p:sp>
      <p:sp>
        <p:nvSpPr>
          <p:cNvPr id="44" name="CuadroTexto 43">
            <a:extLst>
              <a:ext uri="{FF2B5EF4-FFF2-40B4-BE49-F238E27FC236}">
                <a16:creationId xmlns:a16="http://schemas.microsoft.com/office/drawing/2014/main" id="{920CDAA3-74D2-6940-8900-4AABDD5BE40B}"/>
              </a:ext>
            </a:extLst>
          </p:cNvPr>
          <p:cNvSpPr txBox="1"/>
          <p:nvPr/>
        </p:nvSpPr>
        <p:spPr>
          <a:xfrm>
            <a:off x="9448336" y="1525745"/>
            <a:ext cx="1965960" cy="276999"/>
          </a:xfrm>
          <a:prstGeom prst="rect">
            <a:avLst/>
          </a:prstGeom>
          <a:noFill/>
        </p:spPr>
        <p:txBody>
          <a:bodyPr wrap="square" rtlCol="0">
            <a:spAutoFit/>
          </a:bodyPr>
          <a:lstStyle/>
          <a:p>
            <a:r>
              <a:rPr lang="es-ES" sz="1200">
                <a:solidFill>
                  <a:schemeClr val="tx1">
                    <a:lumMod val="95000"/>
                    <a:lumOff val="5000"/>
                  </a:schemeClr>
                </a:solidFill>
                <a:latin typeface="Soho Gothic Pro" panose="020B0503030504020204" pitchFamily="34" charset="77"/>
              </a:rPr>
              <a:t>Certificaciones</a:t>
            </a:r>
          </a:p>
        </p:txBody>
      </p:sp>
      <p:sp>
        <p:nvSpPr>
          <p:cNvPr id="51" name="CuadroTexto 50">
            <a:extLst>
              <a:ext uri="{FF2B5EF4-FFF2-40B4-BE49-F238E27FC236}">
                <a16:creationId xmlns:a16="http://schemas.microsoft.com/office/drawing/2014/main" id="{AB2E014F-704F-3649-A8CA-79AC24262337}"/>
              </a:ext>
            </a:extLst>
          </p:cNvPr>
          <p:cNvSpPr txBox="1"/>
          <p:nvPr/>
        </p:nvSpPr>
        <p:spPr>
          <a:xfrm>
            <a:off x="9471669" y="1746788"/>
            <a:ext cx="2724612" cy="1785104"/>
          </a:xfrm>
          <a:prstGeom prst="rect">
            <a:avLst/>
          </a:prstGeom>
          <a:noFill/>
        </p:spPr>
        <p:txBody>
          <a:bodyPr wrap="square" lIns="91440" tIns="45720" rIns="91440" bIns="45720" rtlCol="0" anchor="t">
            <a:spAutoFit/>
          </a:bodyPr>
          <a:lstStyle/>
          <a:p>
            <a:r>
              <a:rPr lang="es-ES" sz="1000">
                <a:ea typeface="+mn-lt"/>
                <a:cs typeface="+mn-lt"/>
              </a:rPr>
              <a:t>2020 </a:t>
            </a:r>
            <a:endParaRPr lang="en-US" sz="1000">
              <a:ea typeface="+mn-lt"/>
              <a:cs typeface="+mn-lt"/>
            </a:endParaRPr>
          </a:p>
          <a:p>
            <a:r>
              <a:rPr lang="es-ES" sz="1000">
                <a:ea typeface="+mn-lt"/>
                <a:cs typeface="+mn-lt"/>
              </a:rPr>
              <a:t>MongoDB </a:t>
            </a:r>
            <a:r>
              <a:rPr lang="es-ES" sz="1000" err="1">
                <a:ea typeface="+mn-lt"/>
                <a:cs typeface="+mn-lt"/>
              </a:rPr>
              <a:t>developer</a:t>
            </a:r>
            <a:r>
              <a:rPr lang="es-ES" sz="1000">
                <a:ea typeface="+mn-lt"/>
                <a:cs typeface="+mn-lt"/>
              </a:rPr>
              <a:t> </a:t>
            </a:r>
            <a:r>
              <a:rPr lang="es-ES" sz="1000" err="1">
                <a:ea typeface="+mn-lt"/>
                <a:cs typeface="+mn-lt"/>
              </a:rPr>
              <a:t>Associate</a:t>
            </a:r>
            <a:r>
              <a:rPr lang="es-ES" sz="1000">
                <a:ea typeface="+mn-lt"/>
                <a:cs typeface="+mn-lt"/>
              </a:rPr>
              <a:t>, nº credencial</a:t>
            </a:r>
            <a:endParaRPr lang="en-US" sz="1000">
              <a:ea typeface="+mn-lt"/>
              <a:cs typeface="+mn-lt"/>
            </a:endParaRPr>
          </a:p>
          <a:p>
            <a:r>
              <a:rPr lang="es-ES" sz="1000">
                <a:ea typeface="+mn-lt"/>
                <a:cs typeface="+mn-lt"/>
              </a:rPr>
              <a:t>748-647-404</a:t>
            </a:r>
            <a:endParaRPr lang="en-US" sz="1000">
              <a:ea typeface="+mn-lt"/>
              <a:cs typeface="+mn-lt"/>
            </a:endParaRPr>
          </a:p>
          <a:p>
            <a:endParaRPr lang="es-ES" sz="1000">
              <a:ea typeface="+mn-lt"/>
              <a:cs typeface="+mn-lt"/>
            </a:endParaRPr>
          </a:p>
          <a:p>
            <a:r>
              <a:rPr lang="es-ES" sz="1000">
                <a:ea typeface="+mn-lt"/>
                <a:cs typeface="+mn-lt"/>
              </a:rPr>
              <a:t>2020 </a:t>
            </a:r>
            <a:endParaRPr lang="es-ES">
              <a:ea typeface="+mn-lt"/>
              <a:cs typeface="+mn-lt"/>
            </a:endParaRPr>
          </a:p>
          <a:p>
            <a:r>
              <a:rPr lang="es-ES" sz="1000">
                <a:ea typeface="+mn-lt"/>
                <a:cs typeface="+mn-lt"/>
              </a:rPr>
              <a:t>ELK </a:t>
            </a:r>
            <a:r>
              <a:rPr lang="es-ES" sz="1000" err="1">
                <a:ea typeface="+mn-lt"/>
                <a:cs typeface="+mn-lt"/>
              </a:rPr>
              <a:t>Certified</a:t>
            </a:r>
            <a:r>
              <a:rPr lang="es-ES" sz="1000">
                <a:ea typeface="+mn-lt"/>
                <a:cs typeface="+mn-lt"/>
              </a:rPr>
              <a:t> </a:t>
            </a:r>
            <a:r>
              <a:rPr lang="es-ES" sz="1000" err="1">
                <a:ea typeface="+mn-lt"/>
                <a:cs typeface="+mn-lt"/>
              </a:rPr>
              <a:t>Engineer</a:t>
            </a:r>
            <a:r>
              <a:rPr lang="es-ES" sz="1000">
                <a:ea typeface="+mn-lt"/>
                <a:cs typeface="+mn-lt"/>
              </a:rPr>
              <a:t>, nº credencial 26271016 </a:t>
            </a:r>
            <a:endParaRPr lang="es-ES" sz="1750"/>
          </a:p>
          <a:p>
            <a:endParaRPr lang="es-ES" sz="1000">
              <a:latin typeface="Soho Gothic Pro" panose="020B0503030504020204" pitchFamily="34" charset="77"/>
            </a:endParaRPr>
          </a:p>
          <a:p>
            <a:r>
              <a:rPr lang="es-ES" sz="1000">
                <a:latin typeface="Soho Gothic Pro"/>
              </a:rPr>
              <a:t>2021 </a:t>
            </a:r>
            <a:endParaRPr lang="es-ES" sz="1000">
              <a:latin typeface="Soho Gothic Pro" panose="020B0503030504020204" pitchFamily="34" charset="77"/>
            </a:endParaRPr>
          </a:p>
          <a:p>
            <a:r>
              <a:rPr lang="es-ES" sz="1000">
                <a:latin typeface="Soho Gothic Pro"/>
              </a:rPr>
              <a:t>Neo4j</a:t>
            </a:r>
            <a:endParaRPr lang="es-ES" sz="1000">
              <a:latin typeface="Soho Gothic Pro" panose="020B0503030504020204" pitchFamily="34" charset="77"/>
            </a:endParaRPr>
          </a:p>
          <a:p>
            <a:r>
              <a:rPr lang="es-ES" sz="1000" err="1">
                <a:latin typeface="Soho Gothic Pro"/>
              </a:rPr>
              <a:t>Azure</a:t>
            </a:r>
            <a:r>
              <a:rPr lang="es-ES" sz="1000">
                <a:latin typeface="Soho Gothic Pro"/>
              </a:rPr>
              <a:t> Data </a:t>
            </a:r>
            <a:r>
              <a:rPr lang="es-ES" sz="1000" err="1">
                <a:latin typeface="Soho Gothic Pro"/>
              </a:rPr>
              <a:t>Engineer</a:t>
            </a:r>
            <a:r>
              <a:rPr lang="es-ES" sz="1000">
                <a:latin typeface="Soho Gothic Pro"/>
              </a:rPr>
              <a:t>: En curso</a:t>
            </a:r>
          </a:p>
        </p:txBody>
      </p:sp>
      <p:sp>
        <p:nvSpPr>
          <p:cNvPr id="57" name="CuadroTexto 56">
            <a:extLst>
              <a:ext uri="{FF2B5EF4-FFF2-40B4-BE49-F238E27FC236}">
                <a16:creationId xmlns:a16="http://schemas.microsoft.com/office/drawing/2014/main" id="{920CDAA3-74D2-6940-8900-4AABDD5BE40B}"/>
              </a:ext>
            </a:extLst>
          </p:cNvPr>
          <p:cNvSpPr txBox="1"/>
          <p:nvPr/>
        </p:nvSpPr>
        <p:spPr>
          <a:xfrm>
            <a:off x="9475278" y="127917"/>
            <a:ext cx="1965960" cy="276999"/>
          </a:xfrm>
          <a:prstGeom prst="rect">
            <a:avLst/>
          </a:prstGeom>
          <a:noFill/>
        </p:spPr>
        <p:txBody>
          <a:bodyPr wrap="square" rtlCol="0">
            <a:spAutoFit/>
          </a:bodyPr>
          <a:lstStyle/>
          <a:p>
            <a:r>
              <a:rPr lang="es-ES" sz="1200">
                <a:solidFill>
                  <a:schemeClr val="tx1">
                    <a:lumMod val="95000"/>
                    <a:lumOff val="5000"/>
                  </a:schemeClr>
                </a:solidFill>
                <a:latin typeface="Soho Gothic Pro" panose="020B0503030504020204" pitchFamily="34" charset="77"/>
              </a:rPr>
              <a:t>Educación</a:t>
            </a:r>
          </a:p>
        </p:txBody>
      </p:sp>
      <p:sp>
        <p:nvSpPr>
          <p:cNvPr id="71" name="CuadroTexto 70">
            <a:extLst>
              <a:ext uri="{FF2B5EF4-FFF2-40B4-BE49-F238E27FC236}">
                <a16:creationId xmlns:a16="http://schemas.microsoft.com/office/drawing/2014/main" id="{2A66A929-B846-D44F-959A-6C9F46C29E0F}"/>
              </a:ext>
            </a:extLst>
          </p:cNvPr>
          <p:cNvSpPr txBox="1"/>
          <p:nvPr/>
        </p:nvSpPr>
        <p:spPr>
          <a:xfrm>
            <a:off x="9827405" y="488572"/>
            <a:ext cx="2364596" cy="553998"/>
          </a:xfrm>
          <a:prstGeom prst="rect">
            <a:avLst/>
          </a:prstGeom>
          <a:noFill/>
        </p:spPr>
        <p:txBody>
          <a:bodyPr wrap="square" lIns="91440" tIns="45720" rIns="91440" bIns="45720" rtlCol="0" anchor="t">
            <a:spAutoFit/>
          </a:bodyPr>
          <a:lstStyle/>
          <a:p>
            <a:r>
              <a:rPr lang="es-ES" sz="1000" b="1">
                <a:ea typeface="+mn-lt"/>
                <a:cs typeface="+mn-lt"/>
              </a:rPr>
              <a:t>Master en Business intelligence </a:t>
            </a:r>
            <a:endParaRPr lang="en-US" sz="1000">
              <a:ea typeface="+mn-lt"/>
              <a:cs typeface="+mn-lt"/>
            </a:endParaRPr>
          </a:p>
          <a:p>
            <a:r>
              <a:rPr lang="es-ES" sz="1000" b="1">
                <a:ea typeface="+mn-lt"/>
                <a:cs typeface="+mn-lt"/>
              </a:rPr>
              <a:t>y Big Data</a:t>
            </a:r>
            <a:endParaRPr lang="en-US" sz="1000">
              <a:ea typeface="+mn-lt"/>
              <a:cs typeface="+mn-lt"/>
            </a:endParaRPr>
          </a:p>
          <a:p>
            <a:r>
              <a:rPr lang="es-ES" sz="1000">
                <a:ea typeface="+mn-lt"/>
                <a:cs typeface="+mn-lt"/>
              </a:rPr>
              <a:t>UOC (Universitat Oberta de Catalunya)</a:t>
            </a:r>
            <a:endParaRPr lang="en-US" sz="1000">
              <a:latin typeface="Soho Gothic Pro" panose="020B0503030504020204" pitchFamily="34" charset="77"/>
            </a:endParaRPr>
          </a:p>
        </p:txBody>
      </p:sp>
      <p:sp>
        <p:nvSpPr>
          <p:cNvPr id="72" name="CuadroTexto 71">
            <a:extLst>
              <a:ext uri="{FF2B5EF4-FFF2-40B4-BE49-F238E27FC236}">
                <a16:creationId xmlns:a16="http://schemas.microsoft.com/office/drawing/2014/main" id="{561F596E-21F8-694B-836D-BD069D539A49}"/>
              </a:ext>
            </a:extLst>
          </p:cNvPr>
          <p:cNvSpPr txBox="1"/>
          <p:nvPr/>
        </p:nvSpPr>
        <p:spPr>
          <a:xfrm>
            <a:off x="9436876" y="1013478"/>
            <a:ext cx="551757" cy="507831"/>
          </a:xfrm>
          <a:prstGeom prst="rect">
            <a:avLst/>
          </a:prstGeom>
          <a:noFill/>
        </p:spPr>
        <p:txBody>
          <a:bodyPr wrap="square" lIns="91440" tIns="45720" rIns="91440" bIns="45720" rtlCol="0" anchor="t">
            <a:spAutoFit/>
          </a:bodyPr>
          <a:lstStyle/>
          <a:p>
            <a:r>
              <a:rPr lang="es-ES" sz="900">
                <a:latin typeface="Soho Gothic Pro Medium"/>
              </a:rPr>
              <a:t>2014</a:t>
            </a:r>
            <a:endParaRPr lang="es-ES" sz="900">
              <a:latin typeface="Soho Gothic Pro Medium" panose="020B0503030504020204" pitchFamily="34" charset="77"/>
            </a:endParaRPr>
          </a:p>
          <a:p>
            <a:r>
              <a:rPr lang="es-ES" sz="900">
                <a:latin typeface="Soho Gothic Pro Medium" panose="020B0503030504020204" pitchFamily="34" charset="77"/>
              </a:rPr>
              <a:t>—</a:t>
            </a:r>
          </a:p>
          <a:p>
            <a:r>
              <a:rPr lang="es-ES" sz="900">
                <a:latin typeface="Soho Gothic Pro Medium"/>
              </a:rPr>
              <a:t>2008</a:t>
            </a:r>
            <a:endParaRPr lang="es-ES" sz="900">
              <a:latin typeface="Soho Gothic Pro Medium" panose="020B0503030504020204" pitchFamily="34" charset="77"/>
            </a:endParaRPr>
          </a:p>
        </p:txBody>
      </p:sp>
      <p:sp>
        <p:nvSpPr>
          <p:cNvPr id="73" name="CuadroTexto 72">
            <a:extLst>
              <a:ext uri="{FF2B5EF4-FFF2-40B4-BE49-F238E27FC236}">
                <a16:creationId xmlns:a16="http://schemas.microsoft.com/office/drawing/2014/main" id="{592FED21-684F-1C48-9233-F269DFEF0F10}"/>
              </a:ext>
            </a:extLst>
          </p:cNvPr>
          <p:cNvSpPr txBox="1"/>
          <p:nvPr/>
        </p:nvSpPr>
        <p:spPr>
          <a:xfrm>
            <a:off x="9824404" y="1135558"/>
            <a:ext cx="3715301" cy="400110"/>
          </a:xfrm>
          <a:prstGeom prst="rect">
            <a:avLst/>
          </a:prstGeom>
          <a:noFill/>
        </p:spPr>
        <p:txBody>
          <a:bodyPr wrap="square" lIns="91440" tIns="45720" rIns="91440" bIns="45720" rtlCol="0" anchor="t">
            <a:spAutoFit/>
          </a:bodyPr>
          <a:lstStyle/>
          <a:p>
            <a:r>
              <a:rPr lang="es-ES" sz="1000" b="1">
                <a:ea typeface="+mn-lt"/>
                <a:cs typeface="+mn-lt"/>
              </a:rPr>
              <a:t>Ingeniero informático</a:t>
            </a:r>
            <a:endParaRPr lang="en-US" sz="1000">
              <a:ea typeface="+mn-lt"/>
              <a:cs typeface="+mn-lt"/>
            </a:endParaRPr>
          </a:p>
          <a:p>
            <a:r>
              <a:rPr lang="es-ES" sz="1000">
                <a:ea typeface="+mn-lt"/>
                <a:cs typeface="+mn-lt"/>
              </a:rPr>
              <a:t>Universidad de Alicante</a:t>
            </a:r>
            <a:endParaRPr lang="es-ES"/>
          </a:p>
        </p:txBody>
      </p:sp>
      <p:sp>
        <p:nvSpPr>
          <p:cNvPr id="74" name="CuadroTexto 73">
            <a:extLst>
              <a:ext uri="{FF2B5EF4-FFF2-40B4-BE49-F238E27FC236}">
                <a16:creationId xmlns:a16="http://schemas.microsoft.com/office/drawing/2014/main" id="{7B82553E-CC55-FE4B-A11B-DE0E22DC5EE6}"/>
              </a:ext>
            </a:extLst>
          </p:cNvPr>
          <p:cNvSpPr txBox="1"/>
          <p:nvPr/>
        </p:nvSpPr>
        <p:spPr>
          <a:xfrm>
            <a:off x="9430295" y="456647"/>
            <a:ext cx="551757" cy="507831"/>
          </a:xfrm>
          <a:prstGeom prst="rect">
            <a:avLst/>
          </a:prstGeom>
          <a:noFill/>
        </p:spPr>
        <p:txBody>
          <a:bodyPr wrap="square" lIns="91440" tIns="45720" rIns="91440" bIns="45720" rtlCol="0" anchor="t">
            <a:spAutoFit/>
          </a:bodyPr>
          <a:lstStyle/>
          <a:p>
            <a:r>
              <a:rPr lang="es-ES" sz="900">
                <a:latin typeface="Soho Gothic Pro Medium"/>
              </a:rPr>
              <a:t>2019</a:t>
            </a:r>
            <a:endParaRPr lang="es-ES" sz="900">
              <a:latin typeface="Soho Gothic Pro Medium" panose="020B0503030504020204" pitchFamily="34" charset="77"/>
            </a:endParaRPr>
          </a:p>
          <a:p>
            <a:r>
              <a:rPr lang="es-ES" sz="900">
                <a:latin typeface="Soho Gothic Pro Medium" panose="020B0503030504020204" pitchFamily="34" charset="77"/>
              </a:rPr>
              <a:t>—</a:t>
            </a:r>
          </a:p>
          <a:p>
            <a:r>
              <a:rPr lang="es-ES" sz="900">
                <a:latin typeface="Soho Gothic Pro Medium"/>
              </a:rPr>
              <a:t>2017</a:t>
            </a:r>
            <a:endParaRPr lang="es-ES" sz="900">
              <a:latin typeface="Soho Gothic Pro Medium" panose="020B0503030504020204" pitchFamily="34" charset="77"/>
            </a:endParaRPr>
          </a:p>
        </p:txBody>
      </p:sp>
      <p:sp>
        <p:nvSpPr>
          <p:cNvPr id="25" name="CuadroTexto 30_0"/>
          <p:cNvSpPr/>
          <p:nvPr/>
        </p:nvSpPr>
        <p:spPr>
          <a:xfrm>
            <a:off x="5635480" y="152640"/>
            <a:ext cx="3766681"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Moreno Valero, Juan Andrés</a:t>
            </a:r>
            <a:endParaRPr lang="es-ES" sz="2000" b="0" strike="noStrike" spc="-1">
              <a:solidFill>
                <a:schemeClr val="bg1"/>
              </a:solidFill>
              <a:latin typeface="Arial"/>
            </a:endParaRPr>
          </a:p>
        </p:txBody>
      </p:sp>
    </p:spTree>
    <p:extLst>
      <p:ext uri="{BB962C8B-B14F-4D97-AF65-F5344CB8AC3E}">
        <p14:creationId xmlns:p14="http://schemas.microsoft.com/office/powerpoint/2010/main" val="36933491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ángulo 38">
            <a:extLst>
              <a:ext uri="{FF2B5EF4-FFF2-40B4-BE49-F238E27FC236}">
                <a16:creationId xmlns:a16="http://schemas.microsoft.com/office/drawing/2014/main" id="{187520E2-A78B-FB4C-BB66-37962870F3B0}"/>
              </a:ext>
            </a:extLst>
          </p:cNvPr>
          <p:cNvSpPr/>
          <p:nvPr/>
        </p:nvSpPr>
        <p:spPr>
          <a:xfrm>
            <a:off x="9377883" y="0"/>
            <a:ext cx="2814117"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1351"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37" name="CuadroTexto 36">
            <a:extLst>
              <a:ext uri="{FF2B5EF4-FFF2-40B4-BE49-F238E27FC236}">
                <a16:creationId xmlns:a16="http://schemas.microsoft.com/office/drawing/2014/main" id="{E4530058-C2FA-384F-825E-F61EC4296641}"/>
              </a:ext>
            </a:extLst>
          </p:cNvPr>
          <p:cNvSpPr txBox="1"/>
          <p:nvPr/>
        </p:nvSpPr>
        <p:spPr>
          <a:xfrm>
            <a:off x="171732" y="731068"/>
            <a:ext cx="9216460" cy="749179"/>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Arquitecto</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bigdata, con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casi</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20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año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de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experiencia</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en</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el sector de IT.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Especializado</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en</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arquitectura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BigData</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y Java,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realizando</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tarea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de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definición</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y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validacion</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de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arquitectura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1A3B47"/>
                </a:solidFill>
                <a:effectLst/>
                <a:uLnTx/>
                <a:uFillTx/>
                <a:latin typeface="Soho Gothic Pro Light"/>
                <a:ea typeface="+mn-ea"/>
                <a:cs typeface="+mn-cs"/>
              </a:rPr>
              <a:t>Los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ultimo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3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año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he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estado</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trabajando</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mayormente</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con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proyecto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utilizando</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Azure HDInsight(Hortonworks), Cloudera, Spark,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Hbase</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Kudu, MongoDB, Impala, Kafka, etc.</a:t>
            </a:r>
          </a:p>
        </p:txBody>
      </p:sp>
      <p:sp>
        <p:nvSpPr>
          <p:cNvPr id="40" name="CuadroTexto 39">
            <a:extLst>
              <a:ext uri="{FF2B5EF4-FFF2-40B4-BE49-F238E27FC236}">
                <a16:creationId xmlns:a16="http://schemas.microsoft.com/office/drawing/2014/main" id="{2671AB7D-9A8C-BF47-AEB3-28A9D0EE694D}"/>
              </a:ext>
            </a:extLst>
          </p:cNvPr>
          <p:cNvSpPr txBox="1"/>
          <p:nvPr/>
        </p:nvSpPr>
        <p:spPr>
          <a:xfrm>
            <a:off x="218240" y="1619929"/>
            <a:ext cx="551757" cy="507831"/>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AC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20</a:t>
            </a:r>
          </a:p>
        </p:txBody>
      </p:sp>
      <p:sp>
        <p:nvSpPr>
          <p:cNvPr id="45" name="CuadroTexto 44">
            <a:extLst>
              <a:ext uri="{FF2B5EF4-FFF2-40B4-BE49-F238E27FC236}">
                <a16:creationId xmlns:a16="http://schemas.microsoft.com/office/drawing/2014/main" id="{1813E8C3-18D9-0B4B-8FCA-406B39785552}"/>
              </a:ext>
            </a:extLst>
          </p:cNvPr>
          <p:cNvSpPr txBox="1"/>
          <p:nvPr/>
        </p:nvSpPr>
        <p:spPr>
          <a:xfrm>
            <a:off x="653864" y="1565545"/>
            <a:ext cx="2369472" cy="5539978"/>
          </a:xfrm>
          <a:prstGeom prst="rect">
            <a:avLst/>
          </a:prstGeom>
          <a:noFill/>
        </p:spPr>
        <p:txBody>
          <a:bodyPr wrap="square" rtlCol="0">
            <a:spAutoFit/>
          </a:bodyPr>
          <a:lstStyle/>
          <a:p>
            <a:pPr marL="0" marR="0" lvl="0" indent="0" defTabSz="913790" rtl="0" eaLnBrk="1" fontAlgn="auto" latinLnBrk="0" hangingPunct="1">
              <a:lnSpc>
                <a:spcPct val="100000"/>
              </a:lnSpc>
              <a:spcBef>
                <a:spcPts val="0"/>
              </a:spcBef>
              <a:spcAft>
                <a:spcPts val="0"/>
              </a:spcAft>
              <a:buClrTx/>
              <a:buSzTx/>
              <a:buFontTx/>
              <a:buNone/>
              <a:tabLst/>
              <a:defRPr/>
            </a:pPr>
            <a:r>
              <a:rPr lang="es-ES" sz="1100" b="1"/>
              <a:t>Minsait by Indra (Lleida, España)</a:t>
            </a:r>
          </a:p>
          <a:p>
            <a:pPr marL="0" marR="0" lvl="0" indent="0" defTabSz="913790" rtl="0" eaLnBrk="1" fontAlgn="auto" latinLnBrk="0" hangingPunct="1">
              <a:lnSpc>
                <a:spcPct val="100000"/>
              </a:lnSpc>
              <a:spcBef>
                <a:spcPts val="0"/>
              </a:spcBef>
              <a:spcAft>
                <a:spcPts val="0"/>
              </a:spcAft>
              <a:buClrTx/>
              <a:buSzTx/>
              <a:buFontTx/>
              <a:buNone/>
              <a:tabLst/>
              <a:defRPr/>
            </a:pPr>
            <a:r>
              <a:rPr lang="es-ES" sz="1100"/>
              <a:t>Arquitecto Big Data</a:t>
            </a:r>
          </a:p>
          <a:p>
            <a:pPr marL="92072" indent="-92072" defTabSz="914377">
              <a:spcBef>
                <a:spcPts val="600"/>
              </a:spcBef>
              <a:buFontTx/>
              <a:buChar char="•"/>
              <a:defRPr b="0" i="0"/>
            </a:pPr>
            <a:r>
              <a:rPr lang="es-ES" sz="1100">
                <a:ea typeface="+mn-lt"/>
                <a:cs typeface="+mn-lt"/>
              </a:rPr>
              <a:t>Análisis y propuesta de mejoras de rendimiento de aplicaciones implementadas con </a:t>
            </a:r>
            <a:r>
              <a:rPr lang="es-ES" sz="1100" err="1">
                <a:ea typeface="+mn-lt"/>
                <a:cs typeface="+mn-lt"/>
              </a:rPr>
              <a:t>Scala</a:t>
            </a:r>
            <a:r>
              <a:rPr lang="es-ES" sz="1100">
                <a:ea typeface="+mn-lt"/>
                <a:cs typeface="+mn-lt"/>
              </a:rPr>
              <a:t>/Java, </a:t>
            </a:r>
            <a:r>
              <a:rPr lang="es-ES" sz="1100" err="1">
                <a:ea typeface="+mn-lt"/>
                <a:cs typeface="+mn-lt"/>
              </a:rPr>
              <a:t>Spark</a:t>
            </a:r>
            <a:r>
              <a:rPr lang="es-ES" sz="1100">
                <a:ea typeface="+mn-lt"/>
                <a:cs typeface="+mn-lt"/>
              </a:rPr>
              <a:t>, </a:t>
            </a:r>
            <a:r>
              <a:rPr lang="es-ES" sz="1100" err="1">
                <a:ea typeface="+mn-lt"/>
                <a:cs typeface="+mn-lt"/>
              </a:rPr>
              <a:t>Kudu</a:t>
            </a:r>
            <a:r>
              <a:rPr lang="es-ES" sz="1100">
                <a:ea typeface="+mn-lt"/>
                <a:cs typeface="+mn-lt"/>
              </a:rPr>
              <a:t>, </a:t>
            </a:r>
            <a:r>
              <a:rPr lang="es-ES" sz="1100" err="1">
                <a:ea typeface="+mn-lt"/>
                <a:cs typeface="+mn-lt"/>
              </a:rPr>
              <a:t>Hdfs</a:t>
            </a:r>
            <a:r>
              <a:rPr lang="es-ES" sz="1100">
                <a:ea typeface="+mn-lt"/>
                <a:cs typeface="+mn-lt"/>
              </a:rPr>
              <a:t> y </a:t>
            </a:r>
            <a:r>
              <a:rPr lang="es-ES" sz="1100" err="1">
                <a:ea typeface="+mn-lt"/>
                <a:cs typeface="+mn-lt"/>
              </a:rPr>
              <a:t>Akka</a:t>
            </a:r>
            <a:r>
              <a:rPr lang="es-ES" sz="1100">
                <a:ea typeface="+mn-lt"/>
                <a:cs typeface="+mn-lt"/>
              </a:rPr>
              <a:t> </a:t>
            </a:r>
            <a:r>
              <a:rPr lang="es-ES" sz="1100" err="1">
                <a:ea typeface="+mn-lt"/>
                <a:cs typeface="+mn-lt"/>
              </a:rPr>
              <a:t>actors</a:t>
            </a:r>
            <a:r>
              <a:rPr lang="es-ES" sz="1100">
                <a:ea typeface="+mn-lt"/>
                <a:cs typeface="+mn-lt"/>
              </a:rPr>
              <a:t>. Plataforma </a:t>
            </a:r>
            <a:r>
              <a:rPr lang="es-ES" sz="1100" err="1">
                <a:ea typeface="+mn-lt"/>
                <a:cs typeface="+mn-lt"/>
              </a:rPr>
              <a:t>Cloudera</a:t>
            </a:r>
            <a:r>
              <a:rPr lang="es-ES" sz="1100">
                <a:ea typeface="+mn-lt"/>
                <a:cs typeface="+mn-lt"/>
              </a:rPr>
              <a:t>. (ATC)</a:t>
            </a:r>
          </a:p>
          <a:p>
            <a:pPr marL="92072" indent="-92072" defTabSz="914377">
              <a:spcBef>
                <a:spcPts val="600"/>
              </a:spcBef>
              <a:buFontTx/>
              <a:buChar char="•"/>
              <a:defRPr b="0" i="0"/>
            </a:pPr>
            <a:r>
              <a:rPr lang="es-ES" sz="1100">
                <a:ea typeface="+mn-lt"/>
                <a:cs typeface="+mn-lt"/>
              </a:rPr>
              <a:t>Definición y desarrollo de nuevas funcionalidades en arquitectura </a:t>
            </a:r>
            <a:r>
              <a:rPr lang="es-ES" sz="1100" err="1">
                <a:ea typeface="+mn-lt"/>
                <a:cs typeface="+mn-lt"/>
              </a:rPr>
              <a:t>near</a:t>
            </a:r>
            <a:r>
              <a:rPr lang="es-ES" sz="1100">
                <a:ea typeface="+mn-lt"/>
                <a:cs typeface="+mn-lt"/>
              </a:rPr>
              <a:t> real time con Kafka y </a:t>
            </a:r>
            <a:r>
              <a:rPr lang="es-ES" sz="1100" err="1">
                <a:ea typeface="+mn-lt"/>
                <a:cs typeface="+mn-lt"/>
              </a:rPr>
              <a:t>Spark</a:t>
            </a:r>
            <a:r>
              <a:rPr lang="es-ES" sz="1100">
                <a:ea typeface="+mn-lt"/>
                <a:cs typeface="+mn-lt"/>
              </a:rPr>
              <a:t> </a:t>
            </a:r>
            <a:r>
              <a:rPr lang="es-ES" sz="1100" err="1">
                <a:ea typeface="+mn-lt"/>
                <a:cs typeface="+mn-lt"/>
              </a:rPr>
              <a:t>Streaming</a:t>
            </a:r>
            <a:r>
              <a:rPr lang="es-ES" sz="1100">
                <a:ea typeface="+mn-lt"/>
                <a:cs typeface="+mn-lt"/>
              </a:rPr>
              <a:t> (</a:t>
            </a:r>
            <a:r>
              <a:rPr lang="es-ES" sz="1100" err="1">
                <a:ea typeface="+mn-lt"/>
                <a:cs typeface="+mn-lt"/>
              </a:rPr>
              <a:t>Deutche</a:t>
            </a:r>
            <a:r>
              <a:rPr lang="es-ES" sz="1100">
                <a:ea typeface="+mn-lt"/>
                <a:cs typeface="+mn-lt"/>
              </a:rPr>
              <a:t> Bank)</a:t>
            </a:r>
            <a:endParaRPr lang="en-US" sz="1100">
              <a:ea typeface="+mn-lt"/>
              <a:cs typeface="+mn-lt"/>
            </a:endParaRPr>
          </a:p>
          <a:p>
            <a:pPr marL="92072" marR="0" lvl="0" indent="-92072" defTabSz="914377" rtl="0" eaLnBrk="1" fontAlgn="auto" latinLnBrk="0" hangingPunct="1">
              <a:lnSpc>
                <a:spcPct val="100000"/>
              </a:lnSpc>
              <a:spcBef>
                <a:spcPts val="600"/>
              </a:spcBef>
              <a:spcAft>
                <a:spcPts val="0"/>
              </a:spcAft>
              <a:buClrTx/>
              <a:buSzTx/>
              <a:buFontTx/>
              <a:buChar char="•"/>
              <a:tabLst/>
              <a:defRPr b="0" i="0"/>
            </a:pPr>
            <a:r>
              <a:rPr lang="es-ES" sz="1100">
                <a:ea typeface="+mn-lt"/>
                <a:cs typeface="+mn-lt"/>
              </a:rPr>
              <a:t>Definición de arquitectura para el producto Onesait </a:t>
            </a:r>
            <a:r>
              <a:rPr lang="es-ES" sz="1100" err="1">
                <a:ea typeface="+mn-lt"/>
                <a:cs typeface="+mn-lt"/>
              </a:rPr>
              <a:t>Metering</a:t>
            </a:r>
            <a:r>
              <a:rPr lang="es-ES" sz="1100">
                <a:ea typeface="+mn-lt"/>
                <a:cs typeface="+mn-lt"/>
              </a:rPr>
              <a:t> </a:t>
            </a:r>
            <a:r>
              <a:rPr lang="es-ES" sz="1100" err="1">
                <a:ea typeface="+mn-lt"/>
                <a:cs typeface="+mn-lt"/>
              </a:rPr>
              <a:t>Utilities</a:t>
            </a:r>
            <a:r>
              <a:rPr lang="es-ES" sz="1100">
                <a:ea typeface="+mn-lt"/>
                <a:cs typeface="+mn-lt"/>
              </a:rPr>
              <a:t>. Aplicación de tratamiento de medidas de energía basada en tecnologías </a:t>
            </a:r>
            <a:r>
              <a:rPr lang="es-ES" sz="1100" err="1">
                <a:ea typeface="+mn-lt"/>
                <a:cs typeface="+mn-lt"/>
              </a:rPr>
              <a:t>NodeRed</a:t>
            </a:r>
            <a:r>
              <a:rPr lang="es-ES" sz="1100">
                <a:ea typeface="+mn-lt"/>
                <a:cs typeface="+mn-lt"/>
              </a:rPr>
              <a:t>, </a:t>
            </a:r>
            <a:r>
              <a:rPr lang="es-ES" sz="1100" err="1">
                <a:ea typeface="+mn-lt"/>
                <a:cs typeface="+mn-lt"/>
              </a:rPr>
              <a:t>Streamsets</a:t>
            </a:r>
            <a:r>
              <a:rPr lang="es-ES" sz="1100">
                <a:ea typeface="+mn-lt"/>
                <a:cs typeface="+mn-lt"/>
              </a:rPr>
              <a:t>, Kafka, MongoDB, Java.</a:t>
            </a:r>
          </a:p>
          <a:p>
            <a:pPr marL="92072" marR="0" lvl="0" indent="-92072" defTabSz="914377" rtl="0" eaLnBrk="1" fontAlgn="auto" latinLnBrk="0" hangingPunct="1">
              <a:lnSpc>
                <a:spcPct val="100000"/>
              </a:lnSpc>
              <a:spcBef>
                <a:spcPts val="600"/>
              </a:spcBef>
              <a:spcAft>
                <a:spcPts val="0"/>
              </a:spcAft>
              <a:buClrTx/>
              <a:buSzTx/>
              <a:buFontTx/>
              <a:buChar char="•"/>
              <a:tabLst/>
              <a:defRPr b="0" i="0"/>
            </a:pPr>
            <a:r>
              <a:rPr lang="es-ES" sz="1100"/>
              <a:t>Soporte técnico a equipos de desarrollo.</a:t>
            </a:r>
          </a:p>
          <a:p>
            <a:pPr marL="92072" marR="0" lvl="0" indent="-92072" defTabSz="914377" rtl="0" eaLnBrk="1" fontAlgn="auto" latinLnBrk="0" hangingPunct="1">
              <a:lnSpc>
                <a:spcPct val="100000"/>
              </a:lnSpc>
              <a:spcBef>
                <a:spcPts val="600"/>
              </a:spcBef>
              <a:spcAft>
                <a:spcPts val="0"/>
              </a:spcAft>
              <a:buClrTx/>
              <a:buSzTx/>
              <a:buFontTx/>
              <a:buChar char="•"/>
              <a:tabLst/>
              <a:defRPr b="0" i="0"/>
            </a:pPr>
            <a:r>
              <a:rPr lang="es-ES" sz="1100"/>
              <a:t>Elaboración de documentación técnica y funcional.</a:t>
            </a:r>
          </a:p>
          <a:p>
            <a:pPr marL="92072" marR="0" lvl="0" indent="-92072" defTabSz="914377" rtl="0" eaLnBrk="1" fontAlgn="auto" latinLnBrk="0" hangingPunct="1">
              <a:lnSpc>
                <a:spcPct val="100000"/>
              </a:lnSpc>
              <a:spcBef>
                <a:spcPts val="600"/>
              </a:spcBef>
              <a:spcAft>
                <a:spcPts val="0"/>
              </a:spcAft>
              <a:buClrTx/>
              <a:buSzTx/>
              <a:buFontTx/>
              <a:buChar char="•"/>
              <a:tabLst/>
              <a:defRPr b="0" i="0"/>
            </a:pPr>
            <a:r>
              <a:rPr lang="es-ES" sz="1100"/>
              <a:t>Gestión de equipos de desarrollo</a:t>
            </a:r>
          </a:p>
          <a:p>
            <a:pPr marL="92072" marR="0" lvl="0" indent="-92072" defTabSz="914377" rtl="0" eaLnBrk="1" fontAlgn="auto" latinLnBrk="0" hangingPunct="1">
              <a:lnSpc>
                <a:spcPct val="100000"/>
              </a:lnSpc>
              <a:spcBef>
                <a:spcPts val="600"/>
              </a:spcBef>
              <a:spcAft>
                <a:spcPts val="0"/>
              </a:spcAft>
              <a:buClrTx/>
              <a:buSzTx/>
              <a:buFontTx/>
              <a:buChar char="•"/>
              <a:tabLst/>
              <a:defRPr b="0" i="0"/>
            </a:pPr>
            <a:r>
              <a:rPr lang="es-ES" sz="1100"/>
              <a:t>DevOps, integración continua, entrega continua.</a:t>
            </a:r>
          </a:p>
          <a:p>
            <a:pPr marL="92072" marR="0" lvl="0" indent="-92072" defTabSz="914377" rtl="0" eaLnBrk="1" fontAlgn="auto" latinLnBrk="0" hangingPunct="1">
              <a:lnSpc>
                <a:spcPct val="100000"/>
              </a:lnSpc>
              <a:spcBef>
                <a:spcPts val="0"/>
              </a:spcBef>
              <a:spcAft>
                <a:spcPts val="0"/>
              </a:spcAft>
              <a:buClrTx/>
              <a:buSzTx/>
              <a:buFontTx/>
              <a:buChar char="•"/>
              <a:tabLst/>
              <a:defRPr b="0" i="0"/>
            </a:pPr>
            <a:r>
              <a:rPr lang="es-ES" sz="1100"/>
              <a:t>Definición de estándares de calidad y buenas prácticas para los equipos de desarrollo.</a:t>
            </a:r>
          </a:p>
          <a:p>
            <a:pPr marL="92072" marR="0" lvl="0" indent="-92072" defTabSz="914377" rtl="0" eaLnBrk="1" fontAlgn="auto" latinLnBrk="0" hangingPunct="1">
              <a:lnSpc>
                <a:spcPct val="100000"/>
              </a:lnSpc>
              <a:spcBef>
                <a:spcPts val="0"/>
              </a:spcBef>
              <a:spcAft>
                <a:spcPts val="0"/>
              </a:spcAft>
              <a:buClrTx/>
              <a:buSzTx/>
              <a:buFontTx/>
              <a:buChar char="•"/>
              <a:tabLst/>
              <a:defRPr b="0" i="0"/>
            </a:pPr>
            <a:endParaRPr lang="es-ES" sz="1100"/>
          </a:p>
        </p:txBody>
      </p:sp>
      <p:sp>
        <p:nvSpPr>
          <p:cNvPr id="46" name="CuadroTexto 45">
            <a:extLst>
              <a:ext uri="{FF2B5EF4-FFF2-40B4-BE49-F238E27FC236}">
                <a16:creationId xmlns:a16="http://schemas.microsoft.com/office/drawing/2014/main" id="{89221374-508B-FF4A-9DFB-601E8041A74B}"/>
              </a:ext>
            </a:extLst>
          </p:cNvPr>
          <p:cNvSpPr txBox="1"/>
          <p:nvPr/>
        </p:nvSpPr>
        <p:spPr>
          <a:xfrm>
            <a:off x="3614667" y="1668700"/>
            <a:ext cx="2527412" cy="2431435"/>
          </a:xfrm>
          <a:prstGeom prst="rect">
            <a:avLst/>
          </a:prstGeom>
          <a:noFill/>
        </p:spPr>
        <p:txBody>
          <a:bodyPr wrap="square" rtlCol="0">
            <a:spAutoFit/>
          </a:bodyPr>
          <a:lstStyle/>
          <a:p>
            <a:pPr marL="0" marR="0" lvl="0" indent="0" algn="just" defTabSz="913790" rtl="0" eaLnBrk="1" fontAlgn="auto" latinLnBrk="0" hangingPunct="1">
              <a:lnSpc>
                <a:spcPct val="100000"/>
              </a:lnSpc>
              <a:spcBef>
                <a:spcPts val="0"/>
              </a:spcBef>
              <a:spcAft>
                <a:spcPts val="0"/>
              </a:spcAft>
              <a:buClrTx/>
              <a:buSzTx/>
              <a:buFontTx/>
              <a:buNone/>
              <a:tabLst/>
              <a:defRPr/>
            </a:pPr>
            <a:r>
              <a:rPr lang="es-ES" sz="1100" b="1" err="1"/>
              <a:t>Minsait</a:t>
            </a:r>
            <a:r>
              <a:rPr lang="es-ES" sz="1100" b="1"/>
              <a:t> </a:t>
            </a:r>
            <a:r>
              <a:rPr lang="es-ES" sz="1100" b="1" err="1"/>
              <a:t>by</a:t>
            </a:r>
            <a:r>
              <a:rPr lang="es-ES" sz="1100" b="1"/>
              <a:t> Indra (Lleida, España)</a:t>
            </a:r>
          </a:p>
          <a:p>
            <a:pPr marL="0" marR="0" lvl="0" indent="0" algn="just" defTabSz="913790" rtl="0" eaLnBrk="1" fontAlgn="auto" latinLnBrk="0" hangingPunct="1">
              <a:lnSpc>
                <a:spcPct val="100000"/>
              </a:lnSpc>
              <a:spcBef>
                <a:spcPts val="0"/>
              </a:spcBef>
              <a:spcAft>
                <a:spcPts val="0"/>
              </a:spcAft>
              <a:buClrTx/>
              <a:buSzTx/>
              <a:buFontTx/>
              <a:buNone/>
              <a:tabLst/>
              <a:defRPr/>
            </a:pPr>
            <a:r>
              <a:rPr lang="en-US" sz="1100" err="1"/>
              <a:t>Arquitecto</a:t>
            </a:r>
            <a:r>
              <a:rPr lang="en-US" sz="1100"/>
              <a:t> Big Data</a:t>
            </a:r>
          </a:p>
          <a:p>
            <a:pPr marL="92072" marR="0" lvl="1" indent="-92072" algn="l" defTabSz="914377" rtl="0" eaLnBrk="1" fontAlgn="auto" latinLnBrk="0" hangingPunct="1">
              <a:lnSpc>
                <a:spcPct val="100000"/>
              </a:lnSpc>
              <a:spcBef>
                <a:spcPts val="600"/>
              </a:spcBef>
              <a:spcAft>
                <a:spcPts val="0"/>
              </a:spcAft>
              <a:buClr>
                <a:srgbClr val="1A3B47"/>
              </a:buClr>
              <a:buSzPct val="45000"/>
              <a:buFontTx/>
              <a:buChar char="•"/>
              <a:tabLst/>
              <a:defRPr b="0" i="0"/>
            </a:pPr>
            <a:r>
              <a:rPr lang="es-ES" sz="1100"/>
              <a:t>Análisis, diseño e implementación de procesos en Java/Scala </a:t>
            </a:r>
            <a:r>
              <a:rPr lang="es-ES" sz="1100" err="1"/>
              <a:t>Spark</a:t>
            </a:r>
            <a:r>
              <a:rPr lang="es-ES" sz="1100"/>
              <a:t> para aplicación de tratamiento de medidas  de energía. Ingesta de datos con Kafka y </a:t>
            </a:r>
            <a:r>
              <a:rPr lang="es-ES" sz="1100" err="1"/>
              <a:t>Spark</a:t>
            </a:r>
            <a:r>
              <a:rPr lang="es-ES" sz="1100"/>
              <a:t> </a:t>
            </a:r>
            <a:r>
              <a:rPr lang="es-ES" sz="1100" err="1"/>
              <a:t>Streaming</a:t>
            </a:r>
            <a:r>
              <a:rPr lang="es-ES" sz="1100"/>
              <a:t> y almacenamiento en Hbase. Plataforma Azure HDInsight</a:t>
            </a:r>
          </a:p>
          <a:p>
            <a:pPr marL="92072" marR="0" lvl="1" indent="-92072" algn="l" defTabSz="914377" rtl="0" eaLnBrk="1" fontAlgn="auto" latinLnBrk="0" hangingPunct="1">
              <a:lnSpc>
                <a:spcPct val="100000"/>
              </a:lnSpc>
              <a:spcBef>
                <a:spcPts val="600"/>
              </a:spcBef>
              <a:spcAft>
                <a:spcPts val="0"/>
              </a:spcAft>
              <a:buClr>
                <a:srgbClr val="1A3B47"/>
              </a:buClr>
              <a:buSzPct val="45000"/>
              <a:buFontTx/>
              <a:buChar char="•"/>
              <a:tabLst/>
              <a:defRPr b="0" i="0"/>
            </a:pPr>
            <a:r>
              <a:rPr lang="es-ES" sz="1100"/>
              <a:t>Gestión equipo de desarrollo</a:t>
            </a:r>
          </a:p>
          <a:p>
            <a:pPr marL="92072" lvl="1" indent="-92072" defTabSz="914377">
              <a:spcBef>
                <a:spcPts val="600"/>
              </a:spcBef>
              <a:buClr>
                <a:srgbClr val="1A3B47"/>
              </a:buClr>
              <a:buSzPct val="45000"/>
              <a:buFontTx/>
              <a:buChar char="•"/>
              <a:defRPr b="0" i="0"/>
            </a:pPr>
            <a:r>
              <a:rPr lang="es-ES" sz="1100"/>
              <a:t>Definición de estándares de calidad y buenas prácticas</a:t>
            </a:r>
          </a:p>
          <a:p>
            <a:pPr marL="92072" marR="0" lvl="1" indent="-92072" algn="l" defTabSz="914377" rtl="0" eaLnBrk="1" fontAlgn="auto" latinLnBrk="0" hangingPunct="1">
              <a:lnSpc>
                <a:spcPct val="100000"/>
              </a:lnSpc>
              <a:spcBef>
                <a:spcPts val="600"/>
              </a:spcBef>
              <a:spcAft>
                <a:spcPts val="0"/>
              </a:spcAft>
              <a:buClr>
                <a:srgbClr val="1A3B47"/>
              </a:buClr>
              <a:buSzPct val="45000"/>
              <a:buFontTx/>
              <a:buChar char="•"/>
              <a:tabLst/>
              <a:defRPr b="0" i="0"/>
            </a:pPr>
            <a:endParaRPr lang="es-ES" sz="1100"/>
          </a:p>
        </p:txBody>
      </p:sp>
      <p:sp>
        <p:nvSpPr>
          <p:cNvPr id="49" name="CuadroTexto 48">
            <a:extLst>
              <a:ext uri="{FF2B5EF4-FFF2-40B4-BE49-F238E27FC236}">
                <a16:creationId xmlns:a16="http://schemas.microsoft.com/office/drawing/2014/main" id="{A669BC4B-6A50-864F-85AF-01EA17581A38}"/>
              </a:ext>
            </a:extLst>
          </p:cNvPr>
          <p:cNvSpPr txBox="1"/>
          <p:nvPr/>
        </p:nvSpPr>
        <p:spPr>
          <a:xfrm>
            <a:off x="3232845" y="1658244"/>
            <a:ext cx="551757" cy="507831"/>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20</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18</a:t>
            </a:r>
          </a:p>
        </p:txBody>
      </p:sp>
      <p:sp>
        <p:nvSpPr>
          <p:cNvPr id="55" name="CuadroTexto 54">
            <a:extLst>
              <a:ext uri="{FF2B5EF4-FFF2-40B4-BE49-F238E27FC236}">
                <a16:creationId xmlns:a16="http://schemas.microsoft.com/office/drawing/2014/main" id="{BF1684E3-CE8A-1E4E-B964-0132E29D63C2}"/>
              </a:ext>
            </a:extLst>
          </p:cNvPr>
          <p:cNvSpPr txBox="1"/>
          <p:nvPr/>
        </p:nvSpPr>
        <p:spPr>
          <a:xfrm>
            <a:off x="9363592" y="5094486"/>
            <a:ext cx="1609032" cy="276999"/>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lang="es-ES" sz="1200" b="1">
                <a:solidFill>
                  <a:schemeClr val="tx1">
                    <a:lumMod val="95000"/>
                    <a:lumOff val="5000"/>
                  </a:schemeClr>
                </a:solidFill>
              </a:rPr>
              <a:t>Idiomas</a:t>
            </a:r>
          </a:p>
        </p:txBody>
      </p:sp>
      <p:sp>
        <p:nvSpPr>
          <p:cNvPr id="56" name="CuadroTexto 55">
            <a:extLst>
              <a:ext uri="{FF2B5EF4-FFF2-40B4-BE49-F238E27FC236}">
                <a16:creationId xmlns:a16="http://schemas.microsoft.com/office/drawing/2014/main" id="{BE67F8B7-F4EB-B543-BD33-1314BDD2C39B}"/>
              </a:ext>
            </a:extLst>
          </p:cNvPr>
          <p:cNvSpPr txBox="1"/>
          <p:nvPr/>
        </p:nvSpPr>
        <p:spPr>
          <a:xfrm>
            <a:off x="9509744" y="5336782"/>
            <a:ext cx="2154917" cy="1169551"/>
          </a:xfrm>
          <a:prstGeom prst="rect">
            <a:avLst/>
          </a:prstGeom>
          <a:noFill/>
        </p:spPr>
        <p:txBody>
          <a:bodyPr wrap="square" rtlCol="0">
            <a:spAutoFit/>
          </a:bodyPr>
          <a:lstStyle>
            <a:defPPr>
              <a:defRPr lang="es-ES"/>
            </a:defPPr>
            <a:lvl1pPr>
              <a:defRPr sz="1000" b="1"/>
            </a:lvl1pPr>
          </a:lstStyle>
          <a:p>
            <a:r>
              <a:rPr lang="es-ES"/>
              <a:t>Español , Catalán</a:t>
            </a:r>
          </a:p>
          <a:p>
            <a:r>
              <a:rPr lang="es-ES" b="0"/>
              <a:t>Nativo</a:t>
            </a:r>
          </a:p>
          <a:p>
            <a:r>
              <a:rPr lang="es-ES"/>
              <a:t/>
            </a:r>
            <a:br>
              <a:rPr lang="es-ES"/>
            </a:br>
            <a:r>
              <a:rPr lang="es-ES"/>
              <a:t>Inglés</a:t>
            </a:r>
          </a:p>
          <a:p>
            <a:r>
              <a:rPr lang="es-ES" b="0"/>
              <a:t>Nivel intermedio</a:t>
            </a:r>
          </a:p>
          <a:p>
            <a:endParaRPr lang="es-ES"/>
          </a:p>
          <a:p>
            <a:endParaRPr lang="es-ES"/>
          </a:p>
        </p:txBody>
      </p:sp>
      <p:pic>
        <p:nvPicPr>
          <p:cNvPr id="32" name="Imagen 31">
            <a:extLst>
              <a:ext uri="{FF2B5EF4-FFF2-40B4-BE49-F238E27FC236}">
                <a16:creationId xmlns:a16="http://schemas.microsoft.com/office/drawing/2014/main" id="{D21E93EA-4E31-374E-A672-1EA84C7FF7A8}"/>
              </a:ext>
            </a:extLst>
          </p:cNvPr>
          <p:cNvPicPr>
            <a:picLocks noChangeAspect="1"/>
          </p:cNvPicPr>
          <p:nvPr/>
        </p:nvPicPr>
        <p:blipFill>
          <a:blip r:embed="rId3"/>
          <a:stretch>
            <a:fillRect/>
          </a:stretch>
        </p:blipFill>
        <p:spPr>
          <a:xfrm>
            <a:off x="182808" y="6539329"/>
            <a:ext cx="623531" cy="209800"/>
          </a:xfrm>
          <a:prstGeom prst="rect">
            <a:avLst/>
          </a:prstGeom>
        </p:spPr>
      </p:pic>
      <p:sp>
        <p:nvSpPr>
          <p:cNvPr id="64" name="CuadroTexto 63">
            <a:extLst>
              <a:ext uri="{FF2B5EF4-FFF2-40B4-BE49-F238E27FC236}">
                <a16:creationId xmlns:a16="http://schemas.microsoft.com/office/drawing/2014/main" id="{EC5938A8-E57B-1E46-AF63-2CE0CACC9782}"/>
              </a:ext>
            </a:extLst>
          </p:cNvPr>
          <p:cNvSpPr txBox="1"/>
          <p:nvPr/>
        </p:nvSpPr>
        <p:spPr>
          <a:xfrm>
            <a:off x="9388192" y="117753"/>
            <a:ext cx="1732857" cy="276999"/>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lang="es-ES" sz="1200" b="1">
                <a:solidFill>
                  <a:schemeClr val="tx1">
                    <a:lumMod val="95000"/>
                    <a:lumOff val="5000"/>
                  </a:schemeClr>
                </a:solidFill>
              </a:rPr>
              <a:t>Educación</a:t>
            </a:r>
          </a:p>
        </p:txBody>
      </p:sp>
      <p:sp>
        <p:nvSpPr>
          <p:cNvPr id="66" name="CuadroTexto 65">
            <a:extLst>
              <a:ext uri="{FF2B5EF4-FFF2-40B4-BE49-F238E27FC236}">
                <a16:creationId xmlns:a16="http://schemas.microsoft.com/office/drawing/2014/main" id="{2A66A929-B846-D44F-959A-6C9F46C29E0F}"/>
              </a:ext>
            </a:extLst>
          </p:cNvPr>
          <p:cNvSpPr txBox="1"/>
          <p:nvPr/>
        </p:nvSpPr>
        <p:spPr>
          <a:xfrm>
            <a:off x="9827648" y="512505"/>
            <a:ext cx="2670432" cy="400110"/>
          </a:xfrm>
          <a:prstGeom prst="rect">
            <a:avLst/>
          </a:prstGeom>
          <a:noFill/>
        </p:spPr>
        <p:txBody>
          <a:bodyPr wrap="square" rtlCol="0">
            <a:spAutoFit/>
          </a:bodyPr>
          <a:lstStyle/>
          <a:p>
            <a:pPr>
              <a:defRPr/>
            </a:pPr>
            <a:r>
              <a:rPr lang="es-ES" sz="1000" b="1"/>
              <a:t>Ingeniero informático</a:t>
            </a:r>
          </a:p>
          <a:p>
            <a:pPr marL="0" marR="0" lvl="0" indent="0" algn="l" defTabSz="913790" rtl="0" eaLnBrk="1" fontAlgn="auto" latinLnBrk="0" hangingPunct="1">
              <a:lnSpc>
                <a:spcPct val="100000"/>
              </a:lnSpc>
              <a:spcBef>
                <a:spcPts val="0"/>
              </a:spcBef>
              <a:spcAft>
                <a:spcPts val="0"/>
              </a:spcAft>
              <a:buClrTx/>
              <a:buSzTx/>
              <a:buFontTx/>
              <a:buNone/>
              <a:tabLst/>
              <a:defRPr/>
            </a:pPr>
            <a:r>
              <a:rPr lang="en-US" sz="1000" err="1"/>
              <a:t>Universitat</a:t>
            </a:r>
            <a:r>
              <a:rPr lang="en-US" sz="1000"/>
              <a:t> </a:t>
            </a:r>
            <a:r>
              <a:rPr lang="en-US" sz="1000" err="1"/>
              <a:t>Politécnica</a:t>
            </a:r>
            <a:r>
              <a:rPr lang="en-US" sz="1000"/>
              <a:t> de </a:t>
            </a:r>
            <a:r>
              <a:rPr lang="en-US" sz="1000" err="1"/>
              <a:t>Catalunya</a:t>
            </a:r>
            <a:endParaRPr lang="en-US" sz="1000"/>
          </a:p>
        </p:txBody>
      </p:sp>
      <p:sp>
        <p:nvSpPr>
          <p:cNvPr id="67" name="CuadroTexto 66">
            <a:extLst>
              <a:ext uri="{FF2B5EF4-FFF2-40B4-BE49-F238E27FC236}">
                <a16:creationId xmlns:a16="http://schemas.microsoft.com/office/drawing/2014/main" id="{561F596E-21F8-694B-836D-BD069D539A49}"/>
              </a:ext>
            </a:extLst>
          </p:cNvPr>
          <p:cNvSpPr txBox="1"/>
          <p:nvPr/>
        </p:nvSpPr>
        <p:spPr>
          <a:xfrm>
            <a:off x="9489287" y="1016578"/>
            <a:ext cx="551757" cy="507831"/>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00</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1995</a:t>
            </a:r>
          </a:p>
        </p:txBody>
      </p:sp>
      <p:sp>
        <p:nvSpPr>
          <p:cNvPr id="68" name="CuadroTexto 67">
            <a:extLst>
              <a:ext uri="{FF2B5EF4-FFF2-40B4-BE49-F238E27FC236}">
                <a16:creationId xmlns:a16="http://schemas.microsoft.com/office/drawing/2014/main" id="{592FED21-684F-1C48-9233-F269DFEF0F10}"/>
              </a:ext>
            </a:extLst>
          </p:cNvPr>
          <p:cNvSpPr txBox="1"/>
          <p:nvPr/>
        </p:nvSpPr>
        <p:spPr>
          <a:xfrm>
            <a:off x="9861936" y="979144"/>
            <a:ext cx="2670432" cy="400110"/>
          </a:xfrm>
          <a:prstGeom prst="rect">
            <a:avLst/>
          </a:prstGeom>
          <a:noFill/>
        </p:spPr>
        <p:txBody>
          <a:bodyPr wrap="square" rtlCol="0">
            <a:spAutoFit/>
          </a:bodyPr>
          <a:lstStyle>
            <a:defPPr>
              <a:defRPr lang="es-ES"/>
            </a:defPPr>
            <a:lvl1pPr>
              <a:defRPr sz="1000" b="1"/>
            </a:lvl1pPr>
          </a:lstStyle>
          <a:p>
            <a:r>
              <a:rPr lang="en-US" err="1"/>
              <a:t>Ingeniero</a:t>
            </a:r>
            <a:r>
              <a:rPr lang="en-US"/>
              <a:t> Técnico </a:t>
            </a:r>
            <a:r>
              <a:rPr lang="en-US" err="1"/>
              <a:t>Informático</a:t>
            </a:r>
            <a:r>
              <a:rPr lang="en-US"/>
              <a:t> de </a:t>
            </a:r>
            <a:r>
              <a:rPr lang="en-US" err="1"/>
              <a:t>Sistemas</a:t>
            </a:r>
            <a:endParaRPr lang="en-US"/>
          </a:p>
          <a:p>
            <a:r>
              <a:rPr lang="es-ES" b="0" err="1"/>
              <a:t>Universitat</a:t>
            </a:r>
            <a:r>
              <a:rPr lang="es-ES" b="0"/>
              <a:t> de Lleida.</a:t>
            </a:r>
          </a:p>
        </p:txBody>
      </p:sp>
      <p:sp>
        <p:nvSpPr>
          <p:cNvPr id="69" name="CuadroTexto 68">
            <a:extLst>
              <a:ext uri="{FF2B5EF4-FFF2-40B4-BE49-F238E27FC236}">
                <a16:creationId xmlns:a16="http://schemas.microsoft.com/office/drawing/2014/main" id="{7B82553E-CC55-FE4B-A11B-DE0E22DC5EE6}"/>
              </a:ext>
            </a:extLst>
          </p:cNvPr>
          <p:cNvSpPr txBox="1"/>
          <p:nvPr/>
        </p:nvSpPr>
        <p:spPr>
          <a:xfrm>
            <a:off x="9497304" y="486513"/>
            <a:ext cx="551757" cy="507831"/>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04</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00</a:t>
            </a:r>
          </a:p>
        </p:txBody>
      </p:sp>
      <p:sp>
        <p:nvSpPr>
          <p:cNvPr id="34" name="CuadroTexto 33">
            <a:extLst>
              <a:ext uri="{FF2B5EF4-FFF2-40B4-BE49-F238E27FC236}">
                <a16:creationId xmlns:a16="http://schemas.microsoft.com/office/drawing/2014/main" id="{920CDAA3-74D2-6940-8900-4AABDD5BE40B}"/>
              </a:ext>
            </a:extLst>
          </p:cNvPr>
          <p:cNvSpPr txBox="1"/>
          <p:nvPr/>
        </p:nvSpPr>
        <p:spPr>
          <a:xfrm>
            <a:off x="9388192" y="1715642"/>
            <a:ext cx="1965960" cy="276999"/>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lang="es-ES" sz="1200" b="1">
                <a:solidFill>
                  <a:schemeClr val="tx1">
                    <a:lumMod val="95000"/>
                    <a:lumOff val="5000"/>
                  </a:schemeClr>
                </a:solidFill>
              </a:rPr>
              <a:t>Certificaciones</a:t>
            </a:r>
          </a:p>
        </p:txBody>
      </p:sp>
      <p:sp>
        <p:nvSpPr>
          <p:cNvPr id="43" name="CuadroTexto 42">
            <a:extLst>
              <a:ext uri="{FF2B5EF4-FFF2-40B4-BE49-F238E27FC236}">
                <a16:creationId xmlns:a16="http://schemas.microsoft.com/office/drawing/2014/main" id="{AB2E014F-704F-3649-A8CA-79AC24262337}"/>
              </a:ext>
            </a:extLst>
          </p:cNvPr>
          <p:cNvSpPr txBox="1"/>
          <p:nvPr/>
        </p:nvSpPr>
        <p:spPr>
          <a:xfrm>
            <a:off x="9509744" y="1952384"/>
            <a:ext cx="2613089" cy="861774"/>
          </a:xfrm>
          <a:prstGeom prst="rect">
            <a:avLst/>
          </a:prstGeom>
          <a:noFill/>
        </p:spPr>
        <p:txBody>
          <a:bodyPr wrap="square" rtlCol="0">
            <a:spAutoFit/>
          </a:bodyPr>
          <a:lstStyle>
            <a:defPPr>
              <a:defRPr lang="es-ES"/>
            </a:defPPr>
            <a:lvl1pPr>
              <a:defRPr sz="1000" b="1"/>
            </a:lvl1pPr>
          </a:lstStyle>
          <a:p>
            <a:r>
              <a:rPr lang="es-ES" b="0"/>
              <a:t>2018 | Machine </a:t>
            </a:r>
            <a:r>
              <a:rPr lang="es-ES" b="0" err="1"/>
              <a:t>Learning</a:t>
            </a:r>
            <a:r>
              <a:rPr lang="es-ES" b="0"/>
              <a:t> (Stanford Online-Coursera) CEJBPLFXBLXHAWS </a:t>
            </a:r>
          </a:p>
          <a:p>
            <a:endParaRPr lang="es-ES" b="0"/>
          </a:p>
          <a:p>
            <a:r>
              <a:rPr lang="es-ES" b="0"/>
              <a:t>2009 | Enterprise Java </a:t>
            </a:r>
            <a:r>
              <a:rPr lang="es-ES" b="0" err="1"/>
              <a:t>Team</a:t>
            </a:r>
            <a:r>
              <a:rPr lang="es-ES" b="0"/>
              <a:t> (</a:t>
            </a:r>
            <a:r>
              <a:rPr lang="es-ES" b="0" err="1"/>
              <a:t>Sun</a:t>
            </a:r>
            <a:r>
              <a:rPr lang="es-ES" b="0"/>
              <a:t>)</a:t>
            </a:r>
          </a:p>
          <a:p>
            <a:endParaRPr lang="es-ES" b="0"/>
          </a:p>
        </p:txBody>
      </p:sp>
      <p:sp>
        <p:nvSpPr>
          <p:cNvPr id="38" name="CuadroTexto 37">
            <a:extLst>
              <a:ext uri="{FF2B5EF4-FFF2-40B4-BE49-F238E27FC236}">
                <a16:creationId xmlns:a16="http://schemas.microsoft.com/office/drawing/2014/main" id="{920CDAA3-74D2-6940-8900-4AABDD5BE40B}"/>
              </a:ext>
            </a:extLst>
          </p:cNvPr>
          <p:cNvSpPr txBox="1"/>
          <p:nvPr/>
        </p:nvSpPr>
        <p:spPr>
          <a:xfrm>
            <a:off x="9360924" y="2552024"/>
            <a:ext cx="1965960" cy="276999"/>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lang="es-ES" sz="1200" b="1">
                <a:solidFill>
                  <a:schemeClr val="tx1">
                    <a:lumMod val="95000"/>
                    <a:lumOff val="5000"/>
                  </a:schemeClr>
                </a:solidFill>
              </a:rPr>
              <a:t>IT</a:t>
            </a:r>
          </a:p>
        </p:txBody>
      </p:sp>
      <p:sp>
        <p:nvSpPr>
          <p:cNvPr id="53" name="CuadroTexto 52">
            <a:extLst>
              <a:ext uri="{FF2B5EF4-FFF2-40B4-BE49-F238E27FC236}">
                <a16:creationId xmlns:a16="http://schemas.microsoft.com/office/drawing/2014/main" id="{AB2E014F-704F-3649-A8CA-79AC24262337}"/>
              </a:ext>
            </a:extLst>
          </p:cNvPr>
          <p:cNvSpPr txBox="1"/>
          <p:nvPr/>
        </p:nvSpPr>
        <p:spPr>
          <a:xfrm>
            <a:off x="9406173" y="2825290"/>
            <a:ext cx="2680550" cy="2246769"/>
          </a:xfrm>
          <a:prstGeom prst="rect">
            <a:avLst/>
          </a:prstGeom>
          <a:noFill/>
        </p:spPr>
        <p:txBody>
          <a:bodyPr wrap="square" lIns="91440" tIns="45720" rIns="91440" bIns="45720" rtlCol="0" anchor="t">
            <a:spAutoFit/>
          </a:bodyPr>
          <a:lstStyle>
            <a:defPPr>
              <a:defRPr lang="es-ES"/>
            </a:defPPr>
            <a:lvl1pPr>
              <a:defRPr sz="1000" b="1">
                <a:ea typeface="+mn-lt"/>
                <a:cs typeface="+mn-lt"/>
              </a:defRPr>
            </a:lvl1pPr>
          </a:lstStyle>
          <a:p>
            <a:r>
              <a:rPr lang="en-US"/>
              <a:t>Programming languages: </a:t>
            </a:r>
            <a:r>
              <a:rPr lang="en-US" b="0"/>
              <a:t>Java, Scala, Python, JavaScript, C, C++</a:t>
            </a:r>
          </a:p>
          <a:p>
            <a:r>
              <a:rPr lang="en-US"/>
              <a:t>Scripting language: </a:t>
            </a:r>
            <a:r>
              <a:rPr lang="en-US" b="0"/>
              <a:t>Linux Scripting</a:t>
            </a:r>
          </a:p>
          <a:p>
            <a:r>
              <a:rPr lang="en-US"/>
              <a:t>SQL: </a:t>
            </a:r>
            <a:r>
              <a:rPr lang="en-US" b="0"/>
              <a:t>Transact-SQL, Pl-SQL, H-SQL, Apache Phoenix</a:t>
            </a:r>
          </a:p>
          <a:p>
            <a:r>
              <a:rPr lang="en-US"/>
              <a:t>Databases: </a:t>
            </a:r>
            <a:r>
              <a:rPr lang="en-US" b="0"/>
              <a:t>MongoDB, Hive/Impala, Kudu, </a:t>
            </a:r>
            <a:r>
              <a:rPr lang="en-US" b="0" err="1"/>
              <a:t>Hbase</a:t>
            </a:r>
            <a:r>
              <a:rPr lang="en-US" b="0"/>
              <a:t>, Oracle, </a:t>
            </a:r>
            <a:r>
              <a:rPr lang="en-US" b="0" err="1"/>
              <a:t>SQLServer</a:t>
            </a:r>
            <a:r>
              <a:rPr lang="en-US" b="0"/>
              <a:t>, MySQL, PostgreSQL</a:t>
            </a:r>
          </a:p>
          <a:p>
            <a:r>
              <a:rPr lang="en-US"/>
              <a:t>Platforms: </a:t>
            </a:r>
            <a:r>
              <a:rPr lang="en-US" b="0"/>
              <a:t>Cloudera, Hortonworks</a:t>
            </a:r>
          </a:p>
          <a:p>
            <a:r>
              <a:rPr lang="en-US"/>
              <a:t>Integration Tools:</a:t>
            </a:r>
            <a:r>
              <a:rPr lang="en-US" b="0"/>
              <a:t> Kafka, WS-SOAP, WS-REST, XML, Json, Oracle OSB, Oracle SOA</a:t>
            </a:r>
          </a:p>
          <a:p>
            <a:r>
              <a:rPr lang="en-US" err="1"/>
              <a:t>BigData</a:t>
            </a:r>
            <a:r>
              <a:rPr lang="en-US"/>
              <a:t> Tools:</a:t>
            </a:r>
            <a:r>
              <a:rPr lang="en-US" b="0"/>
              <a:t> </a:t>
            </a:r>
            <a:r>
              <a:rPr lang="en-US" b="0" err="1"/>
              <a:t>Streamsets</a:t>
            </a:r>
            <a:r>
              <a:rPr lang="en-US" b="0"/>
              <a:t>, </a:t>
            </a:r>
            <a:r>
              <a:rPr lang="en-US" b="0" err="1"/>
              <a:t>NodeRed</a:t>
            </a:r>
            <a:r>
              <a:rPr lang="en-US" b="0"/>
              <a:t> </a:t>
            </a:r>
          </a:p>
          <a:p>
            <a:r>
              <a:rPr lang="en-US"/>
              <a:t>DevOps: </a:t>
            </a:r>
            <a:r>
              <a:rPr lang="en-US" b="0"/>
              <a:t>SVN, GIT, Jenkins, Maven, Ant</a:t>
            </a:r>
          </a:p>
          <a:p>
            <a:r>
              <a:rPr lang="en-US"/>
              <a:t>Atlassian Tools:  </a:t>
            </a:r>
            <a:r>
              <a:rPr lang="en-US" b="0"/>
              <a:t>Jira, Confluence, Bitbucket and Nexus.</a:t>
            </a:r>
          </a:p>
        </p:txBody>
      </p:sp>
      <p:grpSp>
        <p:nvGrpSpPr>
          <p:cNvPr id="2" name="Grupo 1"/>
          <p:cNvGrpSpPr/>
          <p:nvPr/>
        </p:nvGrpSpPr>
        <p:grpSpPr>
          <a:xfrm>
            <a:off x="3516" y="0"/>
            <a:ext cx="9388192" cy="598607"/>
            <a:chOff x="0" y="0"/>
            <a:chExt cx="9388192" cy="598607"/>
          </a:xfrm>
        </p:grpSpPr>
        <p:sp>
          <p:nvSpPr>
            <p:cNvPr id="36" name="CustomShape 2"/>
            <p:cNvSpPr/>
            <p:nvPr/>
          </p:nvSpPr>
          <p:spPr>
            <a:xfrm>
              <a:off x="0" y="0"/>
              <a:ext cx="9388192" cy="598607"/>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44" name="CuadroTexto 43">
              <a:extLst>
                <a:ext uri="{FF2B5EF4-FFF2-40B4-BE49-F238E27FC236}">
                  <a16:creationId xmlns:a16="http://schemas.microsoft.com/office/drawing/2014/main" id="{0F4E0202-A252-624B-BDF1-C6AE5E8A25DE}"/>
                </a:ext>
              </a:extLst>
            </p:cNvPr>
            <p:cNvSpPr txBox="1"/>
            <p:nvPr/>
          </p:nvSpPr>
          <p:spPr>
            <a:xfrm>
              <a:off x="3451752" y="110493"/>
              <a:ext cx="3762001" cy="461665"/>
            </a:xfrm>
            <a:prstGeom prst="rect">
              <a:avLst/>
            </a:prstGeom>
            <a:noFill/>
          </p:spPr>
          <p:txBody>
            <a:bodyPr wrap="square" rtlCol="0">
              <a:spAutoFit/>
            </a:bodyPr>
            <a:lstStyle/>
            <a:p>
              <a:r>
                <a:rPr lang="es-ES" sz="2400" err="1">
                  <a:solidFill>
                    <a:schemeClr val="bg1"/>
                  </a:solidFill>
                  <a:latin typeface="Soho Gothic Pro Medium" panose="020B0503030504020204" pitchFamily="34" charset="77"/>
                </a:rPr>
                <a:t>BigData</a:t>
              </a:r>
              <a:r>
                <a:rPr lang="es-ES" sz="2400">
                  <a:solidFill>
                    <a:schemeClr val="bg1"/>
                  </a:solidFill>
                  <a:latin typeface="Soho Gothic Pro Medium" panose="020B0503030504020204" pitchFamily="34" charset="77"/>
                </a:rPr>
                <a:t> </a:t>
              </a:r>
              <a:r>
                <a:rPr lang="es-ES" sz="2400" err="1">
                  <a:solidFill>
                    <a:schemeClr val="bg1"/>
                  </a:solidFill>
                  <a:latin typeface="Soho Gothic Pro Medium" panose="020B0503030504020204" pitchFamily="34" charset="77"/>
                </a:rPr>
                <a:t>Architect</a:t>
              </a:r>
              <a:endParaRPr lang="es-ES" sz="2400">
                <a:solidFill>
                  <a:schemeClr val="bg1"/>
                </a:solidFill>
                <a:latin typeface="Soho Gothic Pro Medium" panose="020B0503030504020204" pitchFamily="34" charset="77"/>
              </a:endParaRPr>
            </a:p>
          </p:txBody>
        </p:sp>
        <p:sp>
          <p:nvSpPr>
            <p:cNvPr id="47" name="CuadroTexto 46">
              <a:extLst>
                <a:ext uri="{FF2B5EF4-FFF2-40B4-BE49-F238E27FC236}">
                  <a16:creationId xmlns:a16="http://schemas.microsoft.com/office/drawing/2014/main" id="{0F4E0202-A252-624B-BDF1-C6AE5E8A25DE}"/>
                </a:ext>
              </a:extLst>
            </p:cNvPr>
            <p:cNvSpPr txBox="1"/>
            <p:nvPr/>
          </p:nvSpPr>
          <p:spPr>
            <a:xfrm>
              <a:off x="87086" y="152551"/>
              <a:ext cx="2731759" cy="400110"/>
            </a:xfrm>
            <a:prstGeom prst="rect">
              <a:avLst/>
            </a:prstGeom>
            <a:noFill/>
          </p:spPr>
          <p:txBody>
            <a:bodyPr wrap="square" rtlCol="0">
              <a:spAutoFit/>
            </a:bodyPr>
            <a:lstStyle/>
            <a:p>
              <a:r>
                <a:rPr lang="es-ES" sz="2000">
                  <a:solidFill>
                    <a:schemeClr val="bg1"/>
                  </a:solidFill>
                  <a:latin typeface="Soho Gothic Pro Medium" panose="020B0503030504020204" pitchFamily="34" charset="77"/>
                </a:rPr>
                <a:t>I.H.D.</a:t>
              </a:r>
            </a:p>
          </p:txBody>
        </p:sp>
      </p:grpSp>
      <p:sp>
        <p:nvSpPr>
          <p:cNvPr id="25" name="CuadroTexto 24">
            <a:extLst>
              <a:ext uri="{FF2B5EF4-FFF2-40B4-BE49-F238E27FC236}">
                <a16:creationId xmlns:a16="http://schemas.microsoft.com/office/drawing/2014/main" id="{BFA182DB-B953-496E-9752-A5D1B550A691}"/>
              </a:ext>
            </a:extLst>
          </p:cNvPr>
          <p:cNvSpPr txBox="1"/>
          <p:nvPr/>
        </p:nvSpPr>
        <p:spPr>
          <a:xfrm>
            <a:off x="3658907" y="3949919"/>
            <a:ext cx="2527412" cy="2431435"/>
          </a:xfrm>
          <a:prstGeom prst="rect">
            <a:avLst/>
          </a:prstGeom>
          <a:noFill/>
        </p:spPr>
        <p:txBody>
          <a:bodyPr wrap="square" rtlCol="0">
            <a:spAutoFit/>
          </a:bodyPr>
          <a:lstStyle/>
          <a:p>
            <a:pPr marL="0" marR="0" lvl="0" indent="0" algn="just" defTabSz="913790" rtl="0" eaLnBrk="1" fontAlgn="auto" latinLnBrk="0" hangingPunct="1">
              <a:lnSpc>
                <a:spcPct val="100000"/>
              </a:lnSpc>
              <a:spcBef>
                <a:spcPts val="0"/>
              </a:spcBef>
              <a:spcAft>
                <a:spcPts val="0"/>
              </a:spcAft>
              <a:buClrTx/>
              <a:buSzTx/>
              <a:buFontTx/>
              <a:buNone/>
              <a:tabLst/>
              <a:defRPr/>
            </a:pPr>
            <a:r>
              <a:rPr lang="es-ES" sz="1100" b="1"/>
              <a:t>Indra Software </a:t>
            </a:r>
            <a:r>
              <a:rPr lang="es-ES" sz="1100" b="1" err="1"/>
              <a:t>Labs</a:t>
            </a:r>
            <a:r>
              <a:rPr lang="es-ES" sz="1100" b="1"/>
              <a:t> (Lleida, España)</a:t>
            </a:r>
          </a:p>
          <a:p>
            <a:pPr marL="0" marR="0" lvl="0" indent="0" algn="just" defTabSz="913790" rtl="0" eaLnBrk="1" fontAlgn="auto" latinLnBrk="0" hangingPunct="1">
              <a:lnSpc>
                <a:spcPct val="100000"/>
              </a:lnSpc>
              <a:spcBef>
                <a:spcPts val="0"/>
              </a:spcBef>
              <a:spcAft>
                <a:spcPts val="0"/>
              </a:spcAft>
              <a:buClrTx/>
              <a:buSzTx/>
              <a:buFontTx/>
              <a:buNone/>
              <a:tabLst/>
              <a:defRPr/>
            </a:pPr>
            <a:r>
              <a:rPr lang="en-US" sz="1100" err="1"/>
              <a:t>Arquitecto</a:t>
            </a:r>
            <a:r>
              <a:rPr lang="en-US" sz="1100"/>
              <a:t>/software engineer Java</a:t>
            </a:r>
          </a:p>
          <a:p>
            <a:pPr marL="92072" marR="0" lvl="1" indent="-92072" algn="l" defTabSz="914377" rtl="0" eaLnBrk="1" fontAlgn="auto" latinLnBrk="0" hangingPunct="1">
              <a:lnSpc>
                <a:spcPct val="100000"/>
              </a:lnSpc>
              <a:spcBef>
                <a:spcPts val="600"/>
              </a:spcBef>
              <a:spcAft>
                <a:spcPts val="0"/>
              </a:spcAft>
              <a:buClr>
                <a:srgbClr val="1A3B47"/>
              </a:buClr>
              <a:buSzPct val="45000"/>
              <a:buFontTx/>
              <a:buChar char="•"/>
              <a:tabLst/>
              <a:defRPr b="0" i="0"/>
            </a:pPr>
            <a:r>
              <a:rPr lang="es-ES" sz="1100"/>
              <a:t>Análisis, diseño e implementación de aplicaciones de gestión para administraciones públicas, entidades financieras, universidades, basadas en tecnología J2EE (EJB, JPA, Spring, </a:t>
            </a:r>
            <a:r>
              <a:rPr lang="es-ES" sz="1100" err="1"/>
              <a:t>Hibernate</a:t>
            </a:r>
            <a:r>
              <a:rPr lang="es-ES" sz="1100"/>
              <a:t>, Oracle, </a:t>
            </a:r>
            <a:r>
              <a:rPr lang="es-ES" sz="1100" err="1"/>
              <a:t>SQLServer</a:t>
            </a:r>
            <a:r>
              <a:rPr lang="es-ES" sz="1100"/>
              <a:t>, </a:t>
            </a:r>
            <a:r>
              <a:rPr lang="es-ES" sz="1100" err="1"/>
              <a:t>etc</a:t>
            </a:r>
            <a:r>
              <a:rPr lang="es-ES" sz="1100"/>
              <a:t>).</a:t>
            </a:r>
          </a:p>
          <a:p>
            <a:pPr marL="92072" marR="0" lvl="1" indent="-92072" algn="l" defTabSz="914377" rtl="0" eaLnBrk="1" fontAlgn="auto" latinLnBrk="0" hangingPunct="1">
              <a:lnSpc>
                <a:spcPct val="100000"/>
              </a:lnSpc>
              <a:spcBef>
                <a:spcPts val="600"/>
              </a:spcBef>
              <a:spcAft>
                <a:spcPts val="0"/>
              </a:spcAft>
              <a:buClr>
                <a:srgbClr val="1A3B47"/>
              </a:buClr>
              <a:buSzPct val="45000"/>
              <a:buFontTx/>
              <a:buChar char="•"/>
              <a:tabLst/>
              <a:defRPr b="0" i="0"/>
            </a:pPr>
            <a:r>
              <a:rPr lang="es-ES" sz="1100"/>
              <a:t>Gestión de equipos de desarrollo</a:t>
            </a:r>
          </a:p>
          <a:p>
            <a:pPr marL="92072" marR="0" lvl="1" indent="-92072" algn="l" defTabSz="914377" rtl="0" eaLnBrk="1" fontAlgn="auto" latinLnBrk="0" hangingPunct="1">
              <a:lnSpc>
                <a:spcPct val="100000"/>
              </a:lnSpc>
              <a:spcBef>
                <a:spcPts val="600"/>
              </a:spcBef>
              <a:spcAft>
                <a:spcPts val="0"/>
              </a:spcAft>
              <a:buClr>
                <a:srgbClr val="1A3B47"/>
              </a:buClr>
              <a:buSzPct val="45000"/>
              <a:buFontTx/>
              <a:buChar char="•"/>
              <a:tabLst/>
              <a:defRPr b="0" i="0"/>
            </a:pPr>
            <a:r>
              <a:rPr lang="es-ES" sz="1100"/>
              <a:t>Soporte técnico a equipos de desarrollo</a:t>
            </a:r>
          </a:p>
          <a:p>
            <a:pPr marL="92072" marR="0" lvl="1" indent="-92072" algn="l" defTabSz="914377" rtl="0" eaLnBrk="1" fontAlgn="auto" latinLnBrk="0" hangingPunct="1">
              <a:lnSpc>
                <a:spcPct val="100000"/>
              </a:lnSpc>
              <a:spcBef>
                <a:spcPts val="600"/>
              </a:spcBef>
              <a:spcAft>
                <a:spcPts val="0"/>
              </a:spcAft>
              <a:buClr>
                <a:srgbClr val="1A3B47"/>
              </a:buClr>
              <a:buSzPct val="45000"/>
              <a:buFontTx/>
              <a:buChar char="•"/>
              <a:tabLst/>
              <a:defRPr b="0" i="0"/>
            </a:pPr>
            <a:r>
              <a:rPr lang="es-ES" sz="1100"/>
              <a:t>Definición de estándares de calidad y buenas prácticas</a:t>
            </a:r>
          </a:p>
        </p:txBody>
      </p:sp>
      <p:sp>
        <p:nvSpPr>
          <p:cNvPr id="26" name="CuadroTexto 25">
            <a:extLst>
              <a:ext uri="{FF2B5EF4-FFF2-40B4-BE49-F238E27FC236}">
                <a16:creationId xmlns:a16="http://schemas.microsoft.com/office/drawing/2014/main" id="{0F9EF887-DB7F-45FE-A8F1-136D538AE760}"/>
              </a:ext>
            </a:extLst>
          </p:cNvPr>
          <p:cNvSpPr txBox="1"/>
          <p:nvPr/>
        </p:nvSpPr>
        <p:spPr>
          <a:xfrm>
            <a:off x="3203136" y="3948674"/>
            <a:ext cx="551757" cy="507831"/>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18</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08</a:t>
            </a:r>
          </a:p>
        </p:txBody>
      </p:sp>
      <p:sp>
        <p:nvSpPr>
          <p:cNvPr id="27" name="CuadroTexto 26">
            <a:extLst>
              <a:ext uri="{FF2B5EF4-FFF2-40B4-BE49-F238E27FC236}">
                <a16:creationId xmlns:a16="http://schemas.microsoft.com/office/drawing/2014/main" id="{3FFFE986-DD78-4F09-81BF-ECC3F8D94187}"/>
              </a:ext>
            </a:extLst>
          </p:cNvPr>
          <p:cNvSpPr txBox="1"/>
          <p:nvPr/>
        </p:nvSpPr>
        <p:spPr>
          <a:xfrm>
            <a:off x="6477822" y="1679908"/>
            <a:ext cx="2527412" cy="1600438"/>
          </a:xfrm>
          <a:prstGeom prst="rect">
            <a:avLst/>
          </a:prstGeom>
          <a:noFill/>
        </p:spPr>
        <p:txBody>
          <a:bodyPr wrap="square" rtlCol="0">
            <a:spAutoFit/>
          </a:bodyPr>
          <a:lstStyle/>
          <a:p>
            <a:pPr marL="0" marR="0" lvl="0" indent="0" algn="just" defTabSz="913790" rtl="0" eaLnBrk="1" fontAlgn="auto" latinLnBrk="0" hangingPunct="1">
              <a:lnSpc>
                <a:spcPct val="100000"/>
              </a:lnSpc>
              <a:spcBef>
                <a:spcPts val="0"/>
              </a:spcBef>
              <a:spcAft>
                <a:spcPts val="0"/>
              </a:spcAft>
              <a:buClrTx/>
              <a:buSzTx/>
              <a:buFontTx/>
              <a:buNone/>
              <a:tabLst/>
              <a:defRPr/>
            </a:pPr>
            <a:r>
              <a:rPr lang="es-ES" sz="1100" b="1" err="1"/>
              <a:t>Universitas</a:t>
            </a:r>
            <a:r>
              <a:rPr lang="es-ES" sz="1100" b="1"/>
              <a:t> XXI Soluciones y Tecnología para la Universidad (Lleida, España)</a:t>
            </a:r>
          </a:p>
          <a:p>
            <a:pPr marL="0" marR="0" lvl="0" indent="0" algn="just" defTabSz="913790" rtl="0" eaLnBrk="1" fontAlgn="auto" latinLnBrk="0" hangingPunct="1">
              <a:lnSpc>
                <a:spcPct val="100000"/>
              </a:lnSpc>
              <a:spcBef>
                <a:spcPts val="0"/>
              </a:spcBef>
              <a:spcAft>
                <a:spcPts val="0"/>
              </a:spcAft>
              <a:buClrTx/>
              <a:buSzTx/>
              <a:buFontTx/>
              <a:buNone/>
              <a:tabLst/>
              <a:defRPr/>
            </a:pPr>
            <a:r>
              <a:rPr lang="en-US" sz="1100" err="1"/>
              <a:t>Analista</a:t>
            </a:r>
            <a:r>
              <a:rPr lang="en-US" sz="1100"/>
              <a:t> </a:t>
            </a:r>
            <a:r>
              <a:rPr lang="en-US" sz="1100" err="1"/>
              <a:t>Programador</a:t>
            </a:r>
            <a:r>
              <a:rPr lang="en-US" sz="1100"/>
              <a:t> Java</a:t>
            </a:r>
          </a:p>
          <a:p>
            <a:pPr marL="92072" marR="0" lvl="1" indent="-92072" algn="l" defTabSz="914377" rtl="0" eaLnBrk="1" fontAlgn="auto" latinLnBrk="0" hangingPunct="1">
              <a:lnSpc>
                <a:spcPct val="100000"/>
              </a:lnSpc>
              <a:spcBef>
                <a:spcPts val="600"/>
              </a:spcBef>
              <a:spcAft>
                <a:spcPts val="0"/>
              </a:spcAft>
              <a:buClr>
                <a:srgbClr val="1A3B47"/>
              </a:buClr>
              <a:buSzPct val="45000"/>
              <a:buFontTx/>
              <a:buChar char="•"/>
              <a:tabLst/>
              <a:defRPr b="0" i="0"/>
            </a:pPr>
            <a:r>
              <a:rPr lang="es-ES" sz="1100"/>
              <a:t>Análisis, diseño e implementación de aplicaciones de gestión para universidades con el </a:t>
            </a:r>
            <a:r>
              <a:rPr lang="es-ES" sz="1100" err="1"/>
              <a:t>framework</a:t>
            </a:r>
            <a:r>
              <a:rPr lang="es-ES" sz="1100"/>
              <a:t> Oracle ADF (JSP, Struts, </a:t>
            </a:r>
            <a:r>
              <a:rPr lang="es-ES" sz="1100" err="1"/>
              <a:t>Hibernate</a:t>
            </a:r>
            <a:r>
              <a:rPr lang="es-ES" sz="1100"/>
              <a:t>).</a:t>
            </a:r>
          </a:p>
          <a:p>
            <a:pPr marL="92072" marR="0" lvl="1" indent="-92072" algn="l" defTabSz="914377" rtl="0" eaLnBrk="1" fontAlgn="auto" latinLnBrk="0" hangingPunct="1">
              <a:lnSpc>
                <a:spcPct val="100000"/>
              </a:lnSpc>
              <a:spcBef>
                <a:spcPts val="600"/>
              </a:spcBef>
              <a:spcAft>
                <a:spcPts val="0"/>
              </a:spcAft>
              <a:buClr>
                <a:srgbClr val="1A3B47"/>
              </a:buClr>
              <a:buSzPct val="45000"/>
              <a:buFontTx/>
              <a:buChar char="•"/>
              <a:tabLst/>
              <a:defRPr b="0" i="0"/>
            </a:pPr>
            <a:endParaRPr lang="es-ES" sz="1100"/>
          </a:p>
        </p:txBody>
      </p:sp>
      <p:sp>
        <p:nvSpPr>
          <p:cNvPr id="28" name="CuadroTexto 27">
            <a:extLst>
              <a:ext uri="{FF2B5EF4-FFF2-40B4-BE49-F238E27FC236}">
                <a16:creationId xmlns:a16="http://schemas.microsoft.com/office/drawing/2014/main" id="{0CDB0282-23CA-435C-A01A-9D4E90128C68}"/>
              </a:ext>
            </a:extLst>
          </p:cNvPr>
          <p:cNvSpPr txBox="1"/>
          <p:nvPr/>
        </p:nvSpPr>
        <p:spPr>
          <a:xfrm>
            <a:off x="6096000" y="1668185"/>
            <a:ext cx="551757" cy="507831"/>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08</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04</a:t>
            </a:r>
          </a:p>
        </p:txBody>
      </p:sp>
      <p:sp>
        <p:nvSpPr>
          <p:cNvPr id="29" name="CuadroTexto 28">
            <a:extLst>
              <a:ext uri="{FF2B5EF4-FFF2-40B4-BE49-F238E27FC236}">
                <a16:creationId xmlns:a16="http://schemas.microsoft.com/office/drawing/2014/main" id="{785F793F-60ED-4931-A17D-76DA7CA476D7}"/>
              </a:ext>
            </a:extLst>
          </p:cNvPr>
          <p:cNvSpPr txBox="1"/>
          <p:nvPr/>
        </p:nvSpPr>
        <p:spPr>
          <a:xfrm>
            <a:off x="6477822" y="3203707"/>
            <a:ext cx="2527412" cy="1431161"/>
          </a:xfrm>
          <a:prstGeom prst="rect">
            <a:avLst/>
          </a:prstGeom>
          <a:noFill/>
        </p:spPr>
        <p:txBody>
          <a:bodyPr wrap="square" rtlCol="0">
            <a:spAutoFit/>
          </a:bodyPr>
          <a:lstStyle/>
          <a:p>
            <a:pPr marL="0" marR="0" lvl="0" indent="0" algn="just" defTabSz="913790" rtl="0" eaLnBrk="1" fontAlgn="auto" latinLnBrk="0" hangingPunct="1">
              <a:lnSpc>
                <a:spcPct val="100000"/>
              </a:lnSpc>
              <a:spcBef>
                <a:spcPts val="0"/>
              </a:spcBef>
              <a:spcAft>
                <a:spcPts val="0"/>
              </a:spcAft>
              <a:buClrTx/>
              <a:buSzTx/>
              <a:buFontTx/>
              <a:buNone/>
              <a:tabLst/>
              <a:defRPr/>
            </a:pPr>
            <a:r>
              <a:rPr lang="es-ES" sz="1100" b="1" err="1"/>
              <a:t>Verbio</a:t>
            </a:r>
            <a:r>
              <a:rPr lang="es-ES" sz="1100" b="1"/>
              <a:t> Technologies (Barcelona, España)</a:t>
            </a:r>
          </a:p>
          <a:p>
            <a:pPr marL="0" marR="0" lvl="0" indent="0" algn="just" defTabSz="913790" rtl="0" eaLnBrk="1" fontAlgn="auto" latinLnBrk="0" hangingPunct="1">
              <a:lnSpc>
                <a:spcPct val="100000"/>
              </a:lnSpc>
              <a:spcBef>
                <a:spcPts val="0"/>
              </a:spcBef>
              <a:spcAft>
                <a:spcPts val="0"/>
              </a:spcAft>
              <a:buClrTx/>
              <a:buSzTx/>
              <a:buFontTx/>
              <a:buNone/>
              <a:tabLst/>
              <a:defRPr/>
            </a:pPr>
            <a:r>
              <a:rPr lang="en-US" sz="1100" err="1"/>
              <a:t>Programador</a:t>
            </a:r>
            <a:endParaRPr lang="en-US" sz="1100"/>
          </a:p>
          <a:p>
            <a:pPr marL="92072" marR="0" lvl="1" indent="-92072" algn="l" defTabSz="914377" rtl="0" eaLnBrk="1" fontAlgn="auto" latinLnBrk="0" hangingPunct="1">
              <a:lnSpc>
                <a:spcPct val="100000"/>
              </a:lnSpc>
              <a:spcBef>
                <a:spcPts val="600"/>
              </a:spcBef>
              <a:spcAft>
                <a:spcPts val="0"/>
              </a:spcAft>
              <a:buClr>
                <a:srgbClr val="1A3B47"/>
              </a:buClr>
              <a:buSzPct val="45000"/>
              <a:buFontTx/>
              <a:buChar char="•"/>
              <a:tabLst/>
              <a:defRPr b="0" i="0"/>
            </a:pPr>
            <a:r>
              <a:rPr lang="es-ES" sz="1100"/>
              <a:t>Desarrollo de herramientas relacionadas con la síntesis y procesamiento del habla, en C, C++</a:t>
            </a:r>
          </a:p>
          <a:p>
            <a:pPr marL="92072" marR="0" lvl="1" indent="-92072" algn="l" defTabSz="914377" rtl="0" eaLnBrk="1" fontAlgn="auto" latinLnBrk="0" hangingPunct="1">
              <a:lnSpc>
                <a:spcPct val="100000"/>
              </a:lnSpc>
              <a:spcBef>
                <a:spcPts val="600"/>
              </a:spcBef>
              <a:spcAft>
                <a:spcPts val="0"/>
              </a:spcAft>
              <a:buClr>
                <a:srgbClr val="1A3B47"/>
              </a:buClr>
              <a:buSzPct val="45000"/>
              <a:buFontTx/>
              <a:buChar char="•"/>
              <a:tabLst/>
              <a:defRPr b="0" i="0"/>
            </a:pPr>
            <a:endParaRPr lang="es-ES" sz="1100"/>
          </a:p>
        </p:txBody>
      </p:sp>
      <p:sp>
        <p:nvSpPr>
          <p:cNvPr id="30" name="CuadroTexto 29">
            <a:extLst>
              <a:ext uri="{FF2B5EF4-FFF2-40B4-BE49-F238E27FC236}">
                <a16:creationId xmlns:a16="http://schemas.microsoft.com/office/drawing/2014/main" id="{93E0B039-7BE2-4036-8159-0A6CAF03A3B9}"/>
              </a:ext>
            </a:extLst>
          </p:cNvPr>
          <p:cNvSpPr txBox="1"/>
          <p:nvPr/>
        </p:nvSpPr>
        <p:spPr>
          <a:xfrm>
            <a:off x="6096000" y="3191984"/>
            <a:ext cx="551757" cy="507831"/>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04</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01</a:t>
            </a:r>
          </a:p>
        </p:txBody>
      </p:sp>
      <p:sp>
        <p:nvSpPr>
          <p:cNvPr id="31" name="CuadroTexto 30_0"/>
          <p:cNvSpPr/>
          <p:nvPr/>
        </p:nvSpPr>
        <p:spPr>
          <a:xfrm>
            <a:off x="6142079" y="152640"/>
            <a:ext cx="3216122"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Ivan Hernando Del Pino</a:t>
            </a:r>
            <a:endParaRPr lang="es-ES" sz="2000" b="0" strike="noStrike" spc="-1">
              <a:solidFill>
                <a:schemeClr val="bg1"/>
              </a:solidFill>
              <a:latin typeface="Arial"/>
            </a:endParaRPr>
          </a:p>
        </p:txBody>
      </p:sp>
    </p:spTree>
    <p:extLst>
      <p:ext uri="{BB962C8B-B14F-4D97-AF65-F5344CB8AC3E}">
        <p14:creationId xmlns:p14="http://schemas.microsoft.com/office/powerpoint/2010/main" val="30530250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8575"/>
            <a:ext cx="9266335" cy="64633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marL="0" lvl="1" algn="just" defTabSz="914377">
              <a:buClr>
                <a:srgbClr val="1A3B47"/>
              </a:buClr>
              <a:defRPr b="0" i="0"/>
            </a:pPr>
            <a:r>
              <a:rPr lang="es-ES" sz="1200" spc="-1"/>
              <a:t>Ingeniero informático con más de 15 años de experiencia TIC en total, trabajando con roles que van desde jefe de equipo hasta desarrollador, pasando por arquitecto, funcional y analista. En la actualidad, lidero el proyecto de RPA (Automatización </a:t>
            </a:r>
            <a:r>
              <a:rPr lang="es-ES" sz="1200" spc="-1" err="1"/>
              <a:t>Robotica</a:t>
            </a:r>
            <a:r>
              <a:rPr lang="es-ES" sz="1200" spc="-1"/>
              <a:t> de Procesos) para la Agencia Tributaria Catalana. Además, también formo parte del equipo de desarrollo Big Data del </a:t>
            </a:r>
            <a:r>
              <a:rPr lang="es-ES" sz="1200" spc="-1" err="1"/>
              <a:t>Datalake</a:t>
            </a:r>
            <a:r>
              <a:rPr lang="es-ES" sz="1200" spc="-1"/>
              <a:t> (</a:t>
            </a:r>
            <a:r>
              <a:rPr lang="es-ES" sz="1200" spc="-1" err="1"/>
              <a:t>Dali</a:t>
            </a:r>
            <a:r>
              <a:rPr lang="es-ES" sz="1200" spc="-1"/>
              <a:t>) del mismo cliente. </a:t>
            </a:r>
          </a:p>
        </p:txBody>
      </p:sp>
      <p:sp>
        <p:nvSpPr>
          <p:cNvPr id="102" name="CuadroTexto 54_0"/>
          <p:cNvSpPr/>
          <p:nvPr/>
        </p:nvSpPr>
        <p:spPr>
          <a:xfrm>
            <a:off x="9438480" y="5748343"/>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spc="-1">
                <a:latin typeface="Soho Gothic Pro"/>
              </a:rPr>
              <a:t>Idiomas</a:t>
            </a:r>
          </a:p>
        </p:txBody>
      </p:sp>
      <p:sp>
        <p:nvSpPr>
          <p:cNvPr id="103" name="CuadroTexto 55_0"/>
          <p:cNvSpPr/>
          <p:nvPr/>
        </p:nvSpPr>
        <p:spPr>
          <a:xfrm>
            <a:off x="9474840" y="6102583"/>
            <a:ext cx="2712240" cy="861774"/>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r>
              <a:rPr lang="es-ES" sz="1000" b="1" spc="-1"/>
              <a:t>Castellano </a:t>
            </a:r>
            <a:r>
              <a:rPr lang="es-ES" sz="1000" spc="-1"/>
              <a:t>- Nativo</a:t>
            </a:r>
          </a:p>
          <a:p>
            <a:r>
              <a:rPr lang="ca-ES" sz="1000" b="1" spc="-1" err="1"/>
              <a:t>Catalán</a:t>
            </a:r>
            <a:r>
              <a:rPr lang="ca-ES" sz="1000" b="1" spc="-1"/>
              <a:t> </a:t>
            </a:r>
            <a:r>
              <a:rPr lang="ca-ES" sz="1000" spc="-1"/>
              <a:t/>
            </a:r>
            <a:br>
              <a:rPr lang="ca-ES" sz="1000" spc="-1"/>
            </a:br>
            <a:r>
              <a:rPr lang="es-ES" sz="1000" b="1" spc="-1"/>
              <a:t>Ingles </a:t>
            </a:r>
            <a:r>
              <a:rPr lang="es-ES" sz="1000" spc="-1"/>
              <a:t>– B2 (</a:t>
            </a:r>
            <a:r>
              <a:rPr lang="es-ES" sz="1000" spc="-1" err="1"/>
              <a:t>First</a:t>
            </a:r>
            <a:r>
              <a:rPr lang="es-ES" sz="1000" spc="-1"/>
              <a:t> </a:t>
            </a:r>
            <a:r>
              <a:rPr lang="es-ES" sz="1000" spc="-1" err="1"/>
              <a:t>Certificate</a:t>
            </a:r>
            <a:r>
              <a:rPr lang="es-ES" sz="1000" spc="-1"/>
              <a:t> </a:t>
            </a:r>
            <a:r>
              <a:rPr lang="es-ES" sz="1000" spc="-1" err="1"/>
              <a:t>of</a:t>
            </a:r>
            <a:r>
              <a:rPr lang="es-ES" sz="1000" spc="-1"/>
              <a:t> English)</a:t>
            </a:r>
          </a:p>
          <a:p>
            <a:pPr>
              <a:lnSpc>
                <a:spcPct val="100000"/>
              </a:lnSpc>
            </a:pPr>
            <a:endParaRPr lang="es-ES" sz="1000" b="0" strike="noStrike" spc="-1">
              <a:solidFill>
                <a:srgbClr val="FF0000"/>
              </a:solidFill>
              <a:latin typeface="Arial"/>
            </a:endParaRPr>
          </a:p>
          <a:p>
            <a:pPr>
              <a:lnSpc>
                <a:spcPct val="100000"/>
              </a:lnSpc>
            </a:pPr>
            <a:endParaRPr lang="es-ES" sz="1000" b="0" strike="noStrike" spc="-1">
              <a:solidFill>
                <a:srgbClr val="FF0000"/>
              </a:solidFill>
              <a:latin typeface="Arial"/>
            </a:endParaRPr>
          </a:p>
        </p:txBody>
      </p:sp>
      <p:sp>
        <p:nvSpPr>
          <p:cNvPr id="105" name="CuadroTexto 40_0"/>
          <p:cNvSpPr/>
          <p:nvPr/>
        </p:nvSpPr>
        <p:spPr>
          <a:xfrm>
            <a:off x="3357412" y="126231"/>
            <a:ext cx="2787068" cy="46952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2400" b="0" strike="noStrike" spc="-1">
                <a:solidFill>
                  <a:schemeClr val="bg1"/>
                </a:solidFill>
                <a:latin typeface="Soho Gothic Pro Medium"/>
              </a:rPr>
              <a:t>Data </a:t>
            </a:r>
            <a:r>
              <a:rPr lang="es-ES" sz="2400" b="0" strike="noStrike" spc="-1" err="1">
                <a:solidFill>
                  <a:schemeClr val="bg1"/>
                </a:solidFill>
                <a:latin typeface="Soho Gothic Pro Medium"/>
              </a:rPr>
              <a:t>Engineer</a:t>
            </a:r>
            <a:r>
              <a:rPr lang="es-ES" sz="2400" spc="-1">
                <a:solidFill>
                  <a:schemeClr val="bg1"/>
                </a:solidFill>
                <a:latin typeface="Soho Gothic Pro Medium"/>
              </a:rPr>
              <a:t> </a:t>
            </a:r>
            <a:endParaRPr lang="es-ES" sz="2400" b="0" strike="noStrike" spc="-1">
              <a:solidFill>
                <a:schemeClr val="bg1"/>
              </a:solidFill>
              <a:latin typeface="Soho Gothic Pro Medium"/>
              <a:cs typeface="Aria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I.R.V.</a:t>
            </a:r>
            <a:endParaRPr lang="es-ES" sz="2000" b="0" strike="noStrike" spc="-1">
              <a:solidFill>
                <a:schemeClr val="bg1"/>
              </a:solidFill>
              <a:latin typeface="Arial"/>
            </a:endParaRPr>
          </a:p>
        </p:txBody>
      </p:sp>
      <p:sp>
        <p:nvSpPr>
          <p:cNvPr id="109" name="CuadroTexto 37_0"/>
          <p:cNvSpPr/>
          <p:nvPr/>
        </p:nvSpPr>
        <p:spPr>
          <a:xfrm>
            <a:off x="9447480" y="3681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spc="-1">
                <a:latin typeface="Soho Gothic Pro"/>
              </a:rPr>
              <a:t>IT</a:t>
            </a:r>
          </a:p>
        </p:txBody>
      </p:sp>
      <p:sp>
        <p:nvSpPr>
          <p:cNvPr id="110" name="CuadroTexto 52_0"/>
          <p:cNvSpPr/>
          <p:nvPr/>
        </p:nvSpPr>
        <p:spPr>
          <a:xfrm>
            <a:off x="9437040" y="4009680"/>
            <a:ext cx="2739600" cy="1631216"/>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n-US" sz="1000" b="1" spc="-1" err="1"/>
              <a:t>Lenguajes</a:t>
            </a:r>
            <a:r>
              <a:rPr lang="en-US" sz="1000" b="1" spc="-1"/>
              <a:t> de </a:t>
            </a:r>
            <a:r>
              <a:rPr lang="en-US" sz="1000" b="1" spc="-1" err="1"/>
              <a:t>programacion</a:t>
            </a:r>
            <a:r>
              <a:rPr lang="en-US" sz="1000" b="1" spc="-1"/>
              <a:t> y </a:t>
            </a:r>
            <a:r>
              <a:rPr lang="en-US" sz="1000" b="1" spc="-1" err="1"/>
              <a:t>tecnologias</a:t>
            </a:r>
            <a:r>
              <a:rPr lang="en-US" sz="1000" b="1" spc="-1"/>
              <a:t>:</a:t>
            </a:r>
            <a:r>
              <a:rPr lang="en-US" sz="1000" spc="-1"/>
              <a:t> Java, Scala, Spring, Spring Batch, Hibernate, PL/SQL, </a:t>
            </a:r>
            <a:r>
              <a:rPr lang="en-US" sz="1000" spc="-1" err="1"/>
              <a:t>BigData</a:t>
            </a:r>
            <a:r>
              <a:rPr lang="en-US" sz="1000" spc="-1"/>
              <a:t>, Hadoop, Spark, Maven, Tomcat, </a:t>
            </a:r>
            <a:r>
              <a:rPr lang="en-US" sz="1000" spc="-1" err="1"/>
              <a:t>Weblogic</a:t>
            </a:r>
            <a:r>
              <a:rPr lang="en-US" sz="1000" spc="-1"/>
              <a:t>, C, C++, VB.net, </a:t>
            </a:r>
            <a:r>
              <a:rPr lang="en-US" sz="1000" spc="-1" err="1"/>
              <a:t>Svn</a:t>
            </a:r>
            <a:r>
              <a:rPr lang="en-US" sz="1000" spc="-1"/>
              <a:t>, git, Hudson, Jenkins, Cloud </a:t>
            </a:r>
            <a:r>
              <a:rPr lang="en-US" sz="1000" spc="-1" err="1"/>
              <a:t>ennvironments</a:t>
            </a:r>
            <a:endParaRPr lang="es-ES" sz="1000" spc="-1" err="1"/>
          </a:p>
          <a:p>
            <a:r>
              <a:rPr lang="en-US" sz="1000" b="1" spc="-1"/>
              <a:t>Databases</a:t>
            </a:r>
            <a:r>
              <a:rPr lang="en-US" sz="1000" spc="-1"/>
              <a:t>: Oracle, MongoDB, Kudu, SQL Server, </a:t>
            </a:r>
            <a:r>
              <a:rPr lang="en-US" sz="1000" spc="-1" err="1"/>
              <a:t>MySql</a:t>
            </a:r>
            <a:endParaRPr lang="en-US" sz="1000" spc="-1"/>
          </a:p>
          <a:p>
            <a:r>
              <a:rPr lang="en-US" sz="1000" b="1" spc="-1" err="1"/>
              <a:t>Gestión</a:t>
            </a:r>
            <a:r>
              <a:rPr lang="en-US" sz="1000" spc="-1"/>
              <a:t>: Jira</a:t>
            </a:r>
          </a:p>
          <a:p>
            <a:pPr>
              <a:lnSpc>
                <a:spcPct val="100000"/>
              </a:lnSpc>
            </a:pPr>
            <a:r>
              <a:rPr lang="en-US" sz="1000" b="1" spc="-1"/>
              <a:t>Agile</a:t>
            </a:r>
            <a:r>
              <a:rPr lang="en-US" sz="1000" spc="-1"/>
              <a:t>: Scrum/Kanban</a:t>
            </a:r>
          </a:p>
          <a:p>
            <a:endParaRPr lang="en-US" sz="1000" i="1" spc="-1">
              <a:solidFill>
                <a:srgbClr val="FF0000"/>
              </a:solidFill>
              <a:ea typeface="Soho Gothic Pro Light"/>
            </a:endParaRPr>
          </a:p>
        </p:txBody>
      </p:sp>
      <p:sp>
        <p:nvSpPr>
          <p:cNvPr id="111" name="CuadroTexto 50_0"/>
          <p:cNvSpPr/>
          <p:nvPr/>
        </p:nvSpPr>
        <p:spPr>
          <a:xfrm>
            <a:off x="9536040" y="2031480"/>
            <a:ext cx="2651040" cy="116955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t>2020 | Curso Cloud </a:t>
            </a:r>
            <a:r>
              <a:rPr lang="es-ES" sz="1000" spc="-1" err="1"/>
              <a:t>Technology</a:t>
            </a:r>
            <a:r>
              <a:rPr lang="es-ES" sz="1000" spc="-1"/>
              <a:t> </a:t>
            </a:r>
            <a:r>
              <a:rPr lang="es-ES" sz="1000" spc="-1" err="1"/>
              <a:t>Associate</a:t>
            </a:r>
          </a:p>
          <a:p>
            <a:r>
              <a:rPr lang="es-ES" sz="1000" spc="-1"/>
              <a:t>2020 | Curso MongoDB – </a:t>
            </a:r>
            <a:r>
              <a:rPr lang="es-ES" sz="1000" spc="-1" err="1"/>
              <a:t>The</a:t>
            </a:r>
            <a:r>
              <a:rPr lang="es-ES" sz="1000" spc="-1"/>
              <a:t> complete </a:t>
            </a:r>
            <a:r>
              <a:rPr lang="es-ES" sz="1000" spc="-1" err="1"/>
              <a:t>developer's</a:t>
            </a:r>
            <a:r>
              <a:rPr lang="es-ES" sz="1000" spc="-1"/>
              <a:t> </a:t>
            </a:r>
            <a:r>
              <a:rPr lang="es-ES" sz="1000" spc="-1" err="1"/>
              <a:t>Guide</a:t>
            </a:r>
            <a:r>
              <a:rPr lang="es-ES" sz="1000" spc="-1"/>
              <a:t> 2020 (17,5h)</a:t>
            </a:r>
          </a:p>
          <a:p>
            <a:r>
              <a:rPr lang="es-ES" sz="1000" spc="-1"/>
              <a:t>2020 | Curso Scala and </a:t>
            </a:r>
            <a:r>
              <a:rPr lang="es-ES" sz="1000" spc="-1" err="1"/>
              <a:t>Spark</a:t>
            </a:r>
            <a:r>
              <a:rPr lang="es-ES" sz="1000" spc="-1"/>
              <a:t> </a:t>
            </a:r>
            <a:r>
              <a:rPr lang="es-ES" sz="1000" spc="-1" err="1"/>
              <a:t>for</a:t>
            </a:r>
            <a:r>
              <a:rPr lang="es-ES" sz="1000" spc="-1"/>
              <a:t> Big Data and Machine </a:t>
            </a:r>
            <a:r>
              <a:rPr lang="es-ES" sz="1000" spc="-1" err="1"/>
              <a:t>Learning</a:t>
            </a:r>
            <a:r>
              <a:rPr lang="es-ES" sz="1000" spc="-1"/>
              <a:t> (10 h)</a:t>
            </a:r>
          </a:p>
          <a:p>
            <a:r>
              <a:rPr lang="es-ES" sz="1000" spc="-1"/>
              <a:t>2007 | Certificado </a:t>
            </a:r>
            <a:r>
              <a:rPr lang="es-ES" sz="1000" spc="-1" err="1"/>
              <a:t>First</a:t>
            </a:r>
            <a:r>
              <a:rPr lang="es-ES" sz="1000" spc="-1"/>
              <a:t> </a:t>
            </a:r>
            <a:r>
              <a:rPr lang="es-ES" sz="1000" spc="-1" err="1"/>
              <a:t>Certificate</a:t>
            </a:r>
            <a:r>
              <a:rPr lang="es-ES" sz="1000" spc="-1"/>
              <a:t> </a:t>
            </a:r>
            <a:r>
              <a:rPr lang="es-ES" sz="1000" spc="-1" err="1"/>
              <a:t>of</a:t>
            </a:r>
            <a:r>
              <a:rPr lang="es-ES" sz="1000" spc="-1"/>
              <a:t> English (FCE)</a:t>
            </a:r>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spc="-1">
                <a:latin typeface="Soho Gothic Pro"/>
              </a:rPr>
              <a:t>Educación</a:t>
            </a:r>
          </a:p>
        </p:txBody>
      </p:sp>
      <p:sp>
        <p:nvSpPr>
          <p:cNvPr id="113" name="CuadroTexto 70_0"/>
          <p:cNvSpPr/>
          <p:nvPr/>
        </p:nvSpPr>
        <p:spPr>
          <a:xfrm>
            <a:off x="9827280" y="441123"/>
            <a:ext cx="2349360"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t>Ingeniero</a:t>
            </a:r>
            <a:r>
              <a:rPr lang="es-ES" sz="1000" spc="-1">
                <a:solidFill>
                  <a:srgbClr val="FF0000"/>
                </a:solidFill>
                <a:ea typeface="Soho Gothic Pro Light"/>
              </a:rPr>
              <a:t> </a:t>
            </a:r>
            <a:r>
              <a:rPr lang="es-ES" sz="1000" spc="-1"/>
              <a:t>superior en Informática por la </a:t>
            </a:r>
            <a:r>
              <a:rPr lang="es-ES" sz="1000" spc="-1" err="1"/>
              <a:t>Universitat</a:t>
            </a:r>
            <a:r>
              <a:rPr lang="es-ES" sz="1000" spc="-1"/>
              <a:t> Politécnica de Catalunya </a:t>
            </a:r>
          </a:p>
        </p:txBody>
      </p:sp>
      <p:sp>
        <p:nvSpPr>
          <p:cNvPr id="114" name="CuadroTexto 73_0"/>
          <p:cNvSpPr/>
          <p:nvPr/>
        </p:nvSpPr>
        <p:spPr>
          <a:xfrm>
            <a:off x="9430200" y="456480"/>
            <a:ext cx="551520" cy="538609"/>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1000" spc="-1"/>
              <a:t>2010</a:t>
            </a:r>
          </a:p>
          <a:p>
            <a:pPr>
              <a:lnSpc>
                <a:spcPct val="100000"/>
              </a:lnSpc>
            </a:pPr>
            <a:endParaRPr lang="es-ES" sz="1000" spc="-1"/>
          </a:p>
          <a:p>
            <a:pPr>
              <a:lnSpc>
                <a:spcPct val="100000"/>
              </a:lnSpc>
            </a:pPr>
            <a:endParaRPr lang="es-ES" sz="900" b="0" strike="noStrike" spc="-1">
              <a:solidFill>
                <a:srgbClr val="FF0000"/>
              </a:solidFill>
              <a:latin typeface="Soho Gothic Pro Medium"/>
            </a:endParaRPr>
          </a:p>
        </p:txBody>
      </p:sp>
      <p:sp>
        <p:nvSpPr>
          <p:cNvPr id="117" name="CuadroTexto 33_0"/>
          <p:cNvSpPr/>
          <p:nvPr/>
        </p:nvSpPr>
        <p:spPr>
          <a:xfrm>
            <a:off x="9540000" y="1620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spc="-1">
                <a:latin typeface="Soho Gothic Pro"/>
              </a:rPr>
              <a:t>Cursos Relevantes</a:t>
            </a:r>
          </a:p>
        </p:txBody>
      </p:sp>
      <p:sp>
        <p:nvSpPr>
          <p:cNvPr id="37" name="CuadroTexto 30_0"/>
          <p:cNvSpPr/>
          <p:nvPr/>
        </p:nvSpPr>
        <p:spPr>
          <a:xfrm>
            <a:off x="5463001" y="152640"/>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Iban Reina Valera</a:t>
            </a:r>
            <a:endParaRPr lang="es-ES" sz="2000" b="0" strike="noStrike" spc="-1">
              <a:solidFill>
                <a:schemeClr val="bg1"/>
              </a:solidFill>
              <a:latin typeface="Arial"/>
            </a:endParaRPr>
          </a:p>
        </p:txBody>
      </p:sp>
      <p:sp>
        <p:nvSpPr>
          <p:cNvPr id="27" name="CuadroTexto 44_0"/>
          <p:cNvSpPr/>
          <p:nvPr/>
        </p:nvSpPr>
        <p:spPr>
          <a:xfrm>
            <a:off x="685800" y="1503331"/>
            <a:ext cx="4215600" cy="195438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lnSpc>
                <a:spcPct val="100000"/>
              </a:lnSpc>
            </a:pPr>
            <a:r>
              <a:rPr lang="es-ES" sz="1100" b="1" spc="-1" err="1"/>
              <a:t>Minsait</a:t>
            </a:r>
            <a:r>
              <a:rPr lang="es-ES" sz="1100" b="1" spc="-1"/>
              <a:t> </a:t>
            </a:r>
            <a:r>
              <a:rPr lang="es-ES" sz="1100" b="1" spc="-1" err="1"/>
              <a:t>by</a:t>
            </a:r>
            <a:r>
              <a:rPr lang="es-ES" sz="1100" b="1" spc="-1"/>
              <a:t> Indra (Barcelona, España)</a:t>
            </a:r>
          </a:p>
          <a:p>
            <a:pPr algn="just"/>
            <a:r>
              <a:rPr lang="es-ES" sz="1100" spc="-1"/>
              <a:t>Ingeniero de Datos / Líder equipo</a:t>
            </a:r>
          </a:p>
          <a:p>
            <a:pPr algn="just">
              <a:lnSpc>
                <a:spcPct val="100000"/>
              </a:lnSpc>
            </a:pPr>
            <a:endParaRPr lang="es-ES" sz="1100" spc="-1">
              <a:solidFill>
                <a:srgbClr val="FF0000"/>
              </a:solidFill>
              <a:latin typeface="Arial"/>
              <a:cs typeface="Arial"/>
            </a:endParaRPr>
          </a:p>
          <a:p>
            <a:pPr marL="170815" indent="-170815" algn="just">
              <a:buClr>
                <a:srgbClr val="1A3B47"/>
              </a:buClr>
              <a:buFont typeface="Arial,Sans-Serif"/>
              <a:buChar char="•"/>
            </a:pPr>
            <a:r>
              <a:rPr lang="es-ES" sz="1100" spc="-1"/>
              <a:t>Realizando tareas de analista y desarrollador en el proyecto </a:t>
            </a:r>
            <a:r>
              <a:rPr lang="es-ES" sz="1100" spc="-1" err="1"/>
              <a:t>Dali</a:t>
            </a:r>
            <a:r>
              <a:rPr lang="es-ES" sz="1100" spc="-1"/>
              <a:t> (</a:t>
            </a:r>
            <a:r>
              <a:rPr lang="es-ES" sz="1100" spc="-1" err="1"/>
              <a:t>Datalake</a:t>
            </a:r>
            <a:r>
              <a:rPr lang="es-ES" sz="1100" spc="-1"/>
              <a:t>) en tecnologías </a:t>
            </a:r>
            <a:r>
              <a:rPr lang="es-ES" sz="1100" spc="-1" err="1"/>
              <a:t>BigData</a:t>
            </a:r>
            <a:r>
              <a:rPr lang="es-ES" sz="1100" spc="-1"/>
              <a:t> para la Agencia Tributaria Catalana. Desarrollos mediante MongoDB, </a:t>
            </a:r>
            <a:r>
              <a:rPr lang="es-ES" sz="1100" spc="-1" err="1"/>
              <a:t>Spark</a:t>
            </a:r>
            <a:r>
              <a:rPr lang="es-ES" sz="1100" spc="-1"/>
              <a:t>,  Impala, </a:t>
            </a:r>
            <a:r>
              <a:rPr lang="es-ES" sz="1100" spc="-1" err="1"/>
              <a:t>Kudu</a:t>
            </a:r>
            <a:r>
              <a:rPr lang="es-ES" sz="1100" spc="-1"/>
              <a:t>, HDFS, Cloudera.</a:t>
            </a:r>
          </a:p>
          <a:p>
            <a:pPr marL="170815" indent="-170815" algn="just">
              <a:buClr>
                <a:srgbClr val="1A3B47"/>
              </a:buClr>
              <a:buFont typeface="Arial,Sans-Serif"/>
              <a:buChar char="•"/>
            </a:pPr>
            <a:r>
              <a:rPr lang="es-ES" sz="1100" spc="-1"/>
              <a:t>Liderando el proyecto de RPA (Automatización Robótica de Procesos) para la Agencia Tributaria Catalana, realizando tareas de gestión y coordinación de un equipo de 6 personas.</a:t>
            </a:r>
          </a:p>
          <a:p>
            <a:pPr marL="170815" indent="-170815" algn="just">
              <a:lnSpc>
                <a:spcPct val="100000"/>
              </a:lnSpc>
              <a:buClr>
                <a:srgbClr val="1A3B47"/>
              </a:buClr>
              <a:buFont typeface="Arial,Sans-Serif"/>
              <a:buChar char="•"/>
            </a:pPr>
            <a:endParaRPr lang="es-ES" sz="1100" spc="-1">
              <a:solidFill>
                <a:srgbClr val="FF0000"/>
              </a:solidFill>
            </a:endParaRPr>
          </a:p>
        </p:txBody>
      </p:sp>
      <p:sp>
        <p:nvSpPr>
          <p:cNvPr id="28" name="CuadroTexto 45_2"/>
          <p:cNvSpPr/>
          <p:nvPr/>
        </p:nvSpPr>
        <p:spPr>
          <a:xfrm>
            <a:off x="5289312" y="3272668"/>
            <a:ext cx="4007341" cy="1783650"/>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algn="just">
              <a:lnSpc>
                <a:spcPct val="100000"/>
              </a:lnSpc>
            </a:pPr>
            <a:r>
              <a:rPr lang="es-ES" sz="1100" b="1" spc="-1" err="1"/>
              <a:t>Minsait</a:t>
            </a:r>
            <a:r>
              <a:rPr lang="es-ES" sz="1100" b="1" spc="-1"/>
              <a:t> </a:t>
            </a:r>
            <a:r>
              <a:rPr lang="es-ES" sz="1100" b="1" spc="-1" err="1"/>
              <a:t>by</a:t>
            </a:r>
            <a:r>
              <a:rPr lang="es-ES" sz="1100" b="1" spc="-1"/>
              <a:t> Indra (Barcelona, España)</a:t>
            </a:r>
          </a:p>
          <a:p>
            <a:pPr algn="just"/>
            <a:r>
              <a:rPr lang="es-ES" sz="1100" spc="-1"/>
              <a:t>Analista programador / Líder técnico</a:t>
            </a:r>
          </a:p>
          <a:p>
            <a:pPr marL="170815" indent="-170815" algn="just">
              <a:lnSpc>
                <a:spcPct val="100000"/>
              </a:lnSpc>
              <a:buClr>
                <a:srgbClr val="1A3B47"/>
              </a:buClr>
              <a:buFont typeface="Arial,Sans-Serif"/>
              <a:buChar char="•"/>
            </a:pPr>
            <a:endParaRPr lang="es-ES" sz="1100" spc="-1">
              <a:solidFill>
                <a:srgbClr val="FF0000"/>
              </a:solidFill>
              <a:latin typeface="Soho Gothic Pro Light"/>
            </a:endParaRPr>
          </a:p>
          <a:p>
            <a:pPr marL="170815" indent="-170815" algn="just">
              <a:buClr>
                <a:srgbClr val="1A3B47"/>
              </a:buClr>
              <a:buFont typeface="Arial,Sans-Serif"/>
              <a:buChar char="•"/>
            </a:pPr>
            <a:r>
              <a:rPr lang="es-ES" sz="1100" spc="-1"/>
              <a:t>Empecé como analista programador para el proyecto Zeus de Gas Natural Fenosa, para módulos de Facturación y Cobros.</a:t>
            </a:r>
          </a:p>
          <a:p>
            <a:pPr marL="170815" indent="-170815" algn="just">
              <a:buClr>
                <a:srgbClr val="1A3B47"/>
              </a:buClr>
              <a:buFont typeface="Arial,Sans-Serif"/>
              <a:buChar char="•"/>
            </a:pPr>
            <a:r>
              <a:rPr lang="es-ES" sz="1100" spc="-1"/>
              <a:t>Más tarde hice de líder técnico, llevando equipo desarrolladores para procesos </a:t>
            </a:r>
            <a:r>
              <a:rPr lang="es-ES" sz="1100" spc="-1" err="1"/>
              <a:t>Batch</a:t>
            </a:r>
            <a:r>
              <a:rPr lang="es-ES" sz="1100" spc="-1"/>
              <a:t>, de 6 personas.</a:t>
            </a:r>
          </a:p>
          <a:p>
            <a:pPr marL="170815" indent="-170815" algn="just">
              <a:buClr>
                <a:srgbClr val="1A3B47"/>
              </a:buClr>
              <a:buFont typeface="Arial,Sans-Serif"/>
              <a:buChar char="•"/>
            </a:pPr>
            <a:r>
              <a:rPr lang="es-ES" sz="1100" spc="-1"/>
              <a:t>Usando Java, Spring, Spring </a:t>
            </a:r>
            <a:r>
              <a:rPr lang="es-ES" sz="1100" spc="-1" err="1"/>
              <a:t>Batch</a:t>
            </a:r>
            <a:r>
              <a:rPr lang="es-ES" sz="1100" spc="-1"/>
              <a:t>, </a:t>
            </a:r>
            <a:r>
              <a:rPr lang="es-ES" sz="1100" spc="-1" err="1"/>
              <a:t>Hibernate</a:t>
            </a:r>
            <a:r>
              <a:rPr lang="es-ES" sz="1100" spc="-1"/>
              <a:t>, Flex, Oracle y PL/SQL.</a:t>
            </a:r>
          </a:p>
          <a:p>
            <a:pPr marL="170815" indent="-170815" algn="just">
              <a:buClr>
                <a:srgbClr val="1A3B47"/>
              </a:buClr>
              <a:buFont typeface="Arial,Sans-Serif"/>
              <a:buChar char="•"/>
            </a:pPr>
            <a:endParaRPr lang="es-ES" sz="1100" spc="-1">
              <a:solidFill>
                <a:srgbClr val="FF0000"/>
              </a:solidFill>
            </a:endParaRPr>
          </a:p>
        </p:txBody>
      </p:sp>
      <p:sp>
        <p:nvSpPr>
          <p:cNvPr id="29" name="CuadroTexto 48_2"/>
          <p:cNvSpPr/>
          <p:nvPr/>
        </p:nvSpPr>
        <p:spPr>
          <a:xfrm>
            <a:off x="4901400" y="3377074"/>
            <a:ext cx="839880" cy="5078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latin typeface="Soho Gothic Pro Light"/>
              </a:rPr>
              <a:t>2017</a:t>
            </a:r>
          </a:p>
          <a:p>
            <a:pPr>
              <a:lnSpc>
                <a:spcPct val="100000"/>
              </a:lnSpc>
            </a:pPr>
            <a:r>
              <a:rPr lang="es-ES" sz="900" b="1" spc="-1">
                <a:latin typeface="Soho Gothic Pro Light"/>
              </a:rPr>
              <a:t>—</a:t>
            </a:r>
          </a:p>
          <a:p>
            <a:pPr>
              <a:lnSpc>
                <a:spcPct val="100000"/>
              </a:lnSpc>
            </a:pPr>
            <a:r>
              <a:rPr lang="es-ES" sz="900" b="1" spc="-1">
                <a:latin typeface="Soho Gothic Pro Light"/>
              </a:rPr>
              <a:t>2010</a:t>
            </a:r>
          </a:p>
        </p:txBody>
      </p:sp>
      <p:sp>
        <p:nvSpPr>
          <p:cNvPr id="32" name="CuadroTexto 39_0"/>
          <p:cNvSpPr/>
          <p:nvPr/>
        </p:nvSpPr>
        <p:spPr>
          <a:xfrm>
            <a:off x="224409" y="1619110"/>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latin typeface="Soho Gothic Pro Light"/>
              </a:rPr>
              <a:t>ACT</a:t>
            </a:r>
          </a:p>
          <a:p>
            <a:pPr>
              <a:lnSpc>
                <a:spcPct val="100000"/>
              </a:lnSpc>
            </a:pPr>
            <a:r>
              <a:rPr lang="es-ES" sz="900" b="1" spc="-1">
                <a:latin typeface="Soho Gothic Pro Light"/>
              </a:rPr>
              <a:t>—</a:t>
            </a:r>
          </a:p>
          <a:p>
            <a:pPr>
              <a:lnSpc>
                <a:spcPct val="100000"/>
              </a:lnSpc>
            </a:pPr>
            <a:r>
              <a:rPr lang="es-ES" sz="900" b="1" spc="-1">
                <a:latin typeface="Soho Gothic Pro Light"/>
              </a:rPr>
              <a:t>2021</a:t>
            </a:r>
          </a:p>
          <a:p>
            <a:pPr>
              <a:lnSpc>
                <a:spcPct val="100000"/>
              </a:lnSpc>
            </a:pPr>
            <a:endParaRPr lang="es-ES" sz="900" b="0" strike="noStrike" spc="-1">
              <a:solidFill>
                <a:srgbClr val="FF0000"/>
              </a:solidFill>
              <a:latin typeface="Arial"/>
            </a:endParaRPr>
          </a:p>
        </p:txBody>
      </p:sp>
      <p:sp>
        <p:nvSpPr>
          <p:cNvPr id="38" name="CuadroTexto 44_0"/>
          <p:cNvSpPr/>
          <p:nvPr/>
        </p:nvSpPr>
        <p:spPr>
          <a:xfrm>
            <a:off x="622955" y="3814709"/>
            <a:ext cx="4215600" cy="1785104"/>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lnSpc>
                <a:spcPct val="100000"/>
              </a:lnSpc>
            </a:pPr>
            <a:r>
              <a:rPr lang="es-ES" sz="1100" b="1" spc="-1" err="1"/>
              <a:t>Minsait</a:t>
            </a:r>
            <a:r>
              <a:rPr lang="es-ES" sz="1100" b="1" spc="-1"/>
              <a:t> </a:t>
            </a:r>
            <a:r>
              <a:rPr lang="es-ES" sz="1100" b="1" spc="-1" err="1"/>
              <a:t>by</a:t>
            </a:r>
            <a:r>
              <a:rPr lang="es-ES" sz="1100" b="1" spc="-1"/>
              <a:t> Indra (Barcelona, España)</a:t>
            </a:r>
          </a:p>
          <a:p>
            <a:pPr algn="just"/>
            <a:r>
              <a:rPr lang="es-ES" sz="1100" spc="-1"/>
              <a:t>Líder técnico</a:t>
            </a:r>
          </a:p>
          <a:p>
            <a:pPr algn="just">
              <a:lnSpc>
                <a:spcPct val="100000"/>
              </a:lnSpc>
            </a:pPr>
            <a:endParaRPr lang="es-ES" sz="1100" spc="-1">
              <a:solidFill>
                <a:srgbClr val="FF0000"/>
              </a:solidFill>
            </a:endParaRPr>
          </a:p>
          <a:p>
            <a:pPr marL="170815" indent="-170815" algn="just">
              <a:buClr>
                <a:srgbClr val="1A3B47"/>
              </a:buClr>
              <a:buFont typeface="Arial,Sans-Serif"/>
              <a:buChar char="•"/>
            </a:pPr>
            <a:r>
              <a:rPr lang="es-ES" sz="1100" spc="-1"/>
              <a:t>Formando parte del equipo de mantenimiento del proyecto Zeus, para Gas Natural Fenosa.</a:t>
            </a:r>
          </a:p>
          <a:p>
            <a:pPr marL="170815" indent="-170815" algn="just">
              <a:buClr>
                <a:srgbClr val="1A3B47"/>
              </a:buClr>
              <a:buFont typeface="Arial,Sans-Serif"/>
              <a:buChar char="•"/>
            </a:pPr>
            <a:r>
              <a:rPr lang="es-ES" sz="1100" spc="-1"/>
              <a:t>Realizando tareas de gestión, análisis, diseño, optimización, soporte y construcción en necesidades concretas de alto conocimiento técnico, para los módulos de Lecturas, Facturación y Cobros.</a:t>
            </a:r>
          </a:p>
          <a:p>
            <a:pPr marL="170815" indent="-170815" algn="just">
              <a:buClr>
                <a:srgbClr val="1A3B47"/>
              </a:buClr>
              <a:buFont typeface="Arial,Sans-Serif"/>
              <a:buChar char="•"/>
            </a:pPr>
            <a:r>
              <a:rPr lang="es-ES" sz="1100" spc="-1"/>
              <a:t>Usando Java, Spring, Spring </a:t>
            </a:r>
            <a:r>
              <a:rPr lang="es-ES" sz="1100" spc="-1" err="1"/>
              <a:t>Batch</a:t>
            </a:r>
            <a:r>
              <a:rPr lang="es-ES" sz="1100" spc="-1"/>
              <a:t>, </a:t>
            </a:r>
            <a:r>
              <a:rPr lang="es-ES" sz="1100" spc="-1" err="1"/>
              <a:t>Hibernate</a:t>
            </a:r>
            <a:r>
              <a:rPr lang="es-ES" sz="1100" spc="-1"/>
              <a:t>, Flex, Oracle y PL/SQL.</a:t>
            </a:r>
          </a:p>
          <a:p>
            <a:pPr marL="170815" indent="-170815" algn="just">
              <a:buClr>
                <a:srgbClr val="1A3B47"/>
              </a:buClr>
              <a:buFont typeface="Arial,Sans-Serif"/>
              <a:buChar char="•"/>
            </a:pPr>
            <a:endParaRPr lang="es-ES" sz="1100" spc="-1">
              <a:solidFill>
                <a:srgbClr val="FF0000"/>
              </a:solidFill>
            </a:endParaRPr>
          </a:p>
        </p:txBody>
      </p:sp>
      <p:sp>
        <p:nvSpPr>
          <p:cNvPr id="39" name="CuadroTexto 39_0"/>
          <p:cNvSpPr/>
          <p:nvPr/>
        </p:nvSpPr>
        <p:spPr>
          <a:xfrm>
            <a:off x="224409" y="3895548"/>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latin typeface="Soho Gothic Pro Light"/>
              </a:rPr>
              <a:t>2021</a:t>
            </a:r>
          </a:p>
          <a:p>
            <a:pPr>
              <a:lnSpc>
                <a:spcPct val="100000"/>
              </a:lnSpc>
            </a:pPr>
            <a:r>
              <a:rPr lang="es-ES" sz="900" b="1" spc="-1">
                <a:latin typeface="Soho Gothic Pro Light"/>
              </a:rPr>
              <a:t>—</a:t>
            </a:r>
          </a:p>
          <a:p>
            <a:pPr>
              <a:lnSpc>
                <a:spcPct val="100000"/>
              </a:lnSpc>
            </a:pPr>
            <a:r>
              <a:rPr lang="es-ES" sz="900" b="1" spc="-1">
                <a:latin typeface="Soho Gothic Pro Light"/>
              </a:rPr>
              <a:t>2019</a:t>
            </a:r>
          </a:p>
          <a:p>
            <a:pPr>
              <a:lnSpc>
                <a:spcPct val="100000"/>
              </a:lnSpc>
            </a:pPr>
            <a:endParaRPr lang="es-ES" sz="900" b="0" strike="noStrike" spc="-1">
              <a:solidFill>
                <a:srgbClr val="FF0000"/>
              </a:solidFill>
              <a:latin typeface="Arial"/>
            </a:endParaRPr>
          </a:p>
        </p:txBody>
      </p:sp>
      <p:sp>
        <p:nvSpPr>
          <p:cNvPr id="42" name="CuadroTexto 44_0"/>
          <p:cNvSpPr/>
          <p:nvPr/>
        </p:nvSpPr>
        <p:spPr>
          <a:xfrm>
            <a:off x="5385189" y="1503331"/>
            <a:ext cx="3942887" cy="2123658"/>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r>
              <a:rPr lang="es-ES" sz="1100" b="1" spc="-1" err="1"/>
              <a:t>Minsait</a:t>
            </a:r>
            <a:r>
              <a:rPr lang="es-ES" sz="1100" b="1" spc="-1"/>
              <a:t> </a:t>
            </a:r>
            <a:r>
              <a:rPr lang="es-ES" sz="1100" b="1" spc="-1" err="1"/>
              <a:t>by</a:t>
            </a:r>
            <a:r>
              <a:rPr lang="es-ES" sz="1100" b="1" spc="-1"/>
              <a:t> Indra (Barcelona, España) </a:t>
            </a:r>
          </a:p>
          <a:p>
            <a:pPr algn="just"/>
            <a:r>
              <a:rPr lang="es-ES" sz="1100" spc="-1"/>
              <a:t>Líder técnico</a:t>
            </a:r>
          </a:p>
          <a:p>
            <a:pPr algn="just">
              <a:lnSpc>
                <a:spcPct val="100000"/>
              </a:lnSpc>
            </a:pPr>
            <a:endParaRPr lang="es-ES" sz="1100" b="0" strike="noStrike" spc="-1">
              <a:solidFill>
                <a:srgbClr val="FF0000"/>
              </a:solidFill>
              <a:latin typeface="Arial"/>
            </a:endParaRPr>
          </a:p>
          <a:p>
            <a:pPr marL="170815" indent="-170815" algn="just">
              <a:buClr>
                <a:srgbClr val="1A3B47"/>
              </a:buClr>
              <a:buFont typeface="Arial,Sans-Serif"/>
              <a:buChar char="•"/>
            </a:pPr>
            <a:r>
              <a:rPr lang="es-ES" sz="1100" spc="-1"/>
              <a:t>Responsable del equipo de Rendimiento de los módulos de Lecturas, Facturación y Cobros en el proyecto Zeus, para Gas Natural Fenosa.</a:t>
            </a:r>
          </a:p>
          <a:p>
            <a:pPr marL="170815" indent="-170815" algn="just">
              <a:buClr>
                <a:srgbClr val="1A3B47"/>
              </a:buClr>
              <a:buFont typeface="Arial,Sans-Serif"/>
              <a:buChar char="•"/>
            </a:pPr>
            <a:r>
              <a:rPr lang="es-ES" sz="1100" spc="-1"/>
              <a:t>Responsable técnico del equipo de Facturación y Cobros, con tareas de coordinación y gestión del equipo.</a:t>
            </a:r>
          </a:p>
          <a:p>
            <a:pPr marL="171450" indent="-171450" algn="just">
              <a:buClr>
                <a:srgbClr val="1A3B47"/>
              </a:buClr>
              <a:buFont typeface="Arial"/>
              <a:buChar char="•"/>
            </a:pPr>
            <a:r>
              <a:rPr lang="es-ES" sz="1100" spc="-1"/>
              <a:t>Usando Java, Spring, Spring </a:t>
            </a:r>
            <a:r>
              <a:rPr lang="es-ES" sz="1100" spc="-1" err="1"/>
              <a:t>Batch</a:t>
            </a:r>
            <a:r>
              <a:rPr lang="es-ES" sz="1100" spc="-1"/>
              <a:t>, </a:t>
            </a:r>
            <a:r>
              <a:rPr lang="es-ES" sz="1100" spc="-1" err="1"/>
              <a:t>Hibernate</a:t>
            </a:r>
            <a:r>
              <a:rPr lang="es-ES" sz="1100" spc="-1"/>
              <a:t>, Flex, Oracle y PL/SQL.</a:t>
            </a:r>
          </a:p>
          <a:p>
            <a:pPr marL="170815" indent="-170815" algn="just">
              <a:buClr>
                <a:srgbClr val="1A3B47"/>
              </a:buClr>
              <a:buFont typeface="Arial,Sans-Serif"/>
              <a:buChar char="•"/>
            </a:pPr>
            <a:endParaRPr lang="es-ES" sz="1100" spc="-1">
              <a:solidFill>
                <a:srgbClr val="FF0000"/>
              </a:solidFill>
            </a:endParaRPr>
          </a:p>
          <a:p>
            <a:pPr marL="170815" indent="-170815" algn="just">
              <a:buClr>
                <a:srgbClr val="1A3B47"/>
              </a:buClr>
              <a:buFont typeface="Arial,Sans-Serif"/>
              <a:buChar char="•"/>
            </a:pPr>
            <a:endParaRPr lang="es-ES" sz="1100" spc="-1">
              <a:solidFill>
                <a:srgbClr val="FF0000"/>
              </a:solidFill>
            </a:endParaRPr>
          </a:p>
        </p:txBody>
      </p:sp>
      <p:sp>
        <p:nvSpPr>
          <p:cNvPr id="43" name="CuadroTexto 39_0"/>
          <p:cNvSpPr/>
          <p:nvPr/>
        </p:nvSpPr>
        <p:spPr>
          <a:xfrm>
            <a:off x="4955220" y="1619109"/>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latin typeface="Soho Gothic Pro Light"/>
              </a:rPr>
              <a:t>2019</a:t>
            </a:r>
          </a:p>
          <a:p>
            <a:pPr>
              <a:lnSpc>
                <a:spcPct val="100000"/>
              </a:lnSpc>
            </a:pPr>
            <a:r>
              <a:rPr lang="es-ES" sz="900" b="1" spc="-1">
                <a:latin typeface="Soho Gothic Pro Light"/>
              </a:rPr>
              <a:t>—</a:t>
            </a:r>
          </a:p>
          <a:p>
            <a:pPr>
              <a:lnSpc>
                <a:spcPct val="100000"/>
              </a:lnSpc>
            </a:pPr>
            <a:r>
              <a:rPr lang="es-ES" sz="900" b="1" spc="-1">
                <a:latin typeface="Soho Gothic Pro Light"/>
              </a:rPr>
              <a:t>2017</a:t>
            </a:r>
          </a:p>
          <a:p>
            <a:pPr>
              <a:lnSpc>
                <a:spcPct val="100000"/>
              </a:lnSpc>
            </a:pPr>
            <a:endParaRPr lang="es-ES" sz="900" b="0" strike="noStrike" spc="-1">
              <a:solidFill>
                <a:srgbClr val="FF0000"/>
              </a:solidFill>
              <a:latin typeface="Arial"/>
            </a:endParaRPr>
          </a:p>
        </p:txBody>
      </p:sp>
      <p:sp>
        <p:nvSpPr>
          <p:cNvPr id="25" name="CuadroTexto 45_2">
            <a:extLst>
              <a:ext uri="{FF2B5EF4-FFF2-40B4-BE49-F238E27FC236}">
                <a16:creationId xmlns:a16="http://schemas.microsoft.com/office/drawing/2014/main" id="{08B76FEA-56C1-48DE-A1DB-496701909A5E}"/>
              </a:ext>
            </a:extLst>
          </p:cNvPr>
          <p:cNvSpPr/>
          <p:nvPr/>
        </p:nvSpPr>
        <p:spPr>
          <a:xfrm>
            <a:off x="5289312" y="4985203"/>
            <a:ext cx="4007341" cy="1783650"/>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algn="just"/>
            <a:r>
              <a:rPr lang="es-ES" sz="1100" b="1" spc="-1"/>
              <a:t>Otras empresas (Barcelona, España)</a:t>
            </a:r>
          </a:p>
          <a:p>
            <a:pPr algn="just"/>
            <a:r>
              <a:rPr lang="es-ES" sz="1100" spc="-1"/>
              <a:t>Arquitecto / Desarrollador</a:t>
            </a:r>
          </a:p>
          <a:p>
            <a:pPr algn="just">
              <a:lnSpc>
                <a:spcPct val="100000"/>
              </a:lnSpc>
            </a:pPr>
            <a:endParaRPr lang="es-ES" sz="1100" spc="-1">
              <a:solidFill>
                <a:srgbClr val="FF0000"/>
              </a:solidFill>
              <a:latin typeface="Arial"/>
            </a:endParaRPr>
          </a:p>
          <a:p>
            <a:pPr marL="170815" indent="-170815" algn="just">
              <a:buClr>
                <a:srgbClr val="1A3B47"/>
              </a:buClr>
              <a:buFont typeface="Arial,Sans-Serif"/>
              <a:buChar char="•"/>
            </a:pPr>
            <a:r>
              <a:rPr lang="es-ES" sz="1100" spc="-1"/>
              <a:t>En </a:t>
            </a:r>
            <a:r>
              <a:rPr lang="es-ES" sz="1100" spc="-1" err="1"/>
              <a:t>MibWeb</a:t>
            </a:r>
            <a:r>
              <a:rPr lang="es-ES" sz="1100" spc="-1"/>
              <a:t> SL realicé un proyecto que me sirvió de proyecto de Final de carrera. Diseñé todo el sistema y lo implementé. Consistía en una web que utilizaba una red de servidores, obtuve un 9. Usaba java, </a:t>
            </a:r>
            <a:r>
              <a:rPr lang="es-ES" sz="1100" spc="-1" err="1"/>
              <a:t>Webservices</a:t>
            </a:r>
            <a:r>
              <a:rPr lang="es-ES" sz="1100" spc="-1"/>
              <a:t>, Tomcat, </a:t>
            </a:r>
            <a:r>
              <a:rPr lang="es-ES" sz="1100" spc="-1" err="1"/>
              <a:t>MySql</a:t>
            </a:r>
            <a:r>
              <a:rPr lang="es-ES" sz="1100" spc="-1"/>
              <a:t>.</a:t>
            </a:r>
          </a:p>
          <a:p>
            <a:pPr marL="170815" indent="-170815" algn="just">
              <a:buClr>
                <a:srgbClr val="1A3B47"/>
              </a:buClr>
              <a:buFont typeface="Arial,Sans-Serif"/>
              <a:buChar char="•"/>
            </a:pPr>
            <a:r>
              <a:rPr lang="es-ES" sz="1100" spc="-1"/>
              <a:t>En </a:t>
            </a:r>
            <a:r>
              <a:rPr lang="es-ES" sz="1100" spc="-1" err="1"/>
              <a:t>Gidoc</a:t>
            </a:r>
            <a:r>
              <a:rPr lang="es-ES" sz="1100" spc="-1"/>
              <a:t> Integral trabajé como programador mientras estudiaba. Usaba lenguaje VB.net y </a:t>
            </a:r>
            <a:r>
              <a:rPr lang="es-ES" sz="1100" spc="-1" err="1"/>
              <a:t>sql</a:t>
            </a:r>
            <a:r>
              <a:rPr lang="es-ES" sz="1100" spc="-1"/>
              <a:t> server.</a:t>
            </a:r>
          </a:p>
          <a:p>
            <a:pPr marL="170815" indent="-170815" algn="just">
              <a:buClr>
                <a:srgbClr val="1A3B47"/>
              </a:buClr>
              <a:buFont typeface="Arial,Sans-Serif"/>
              <a:buChar char="•"/>
            </a:pPr>
            <a:endParaRPr lang="es-ES" sz="1100" spc="-1">
              <a:solidFill>
                <a:srgbClr val="FF0000"/>
              </a:solidFill>
            </a:endParaRPr>
          </a:p>
        </p:txBody>
      </p:sp>
      <p:sp>
        <p:nvSpPr>
          <p:cNvPr id="26" name="CuadroTexto 48_2">
            <a:extLst>
              <a:ext uri="{FF2B5EF4-FFF2-40B4-BE49-F238E27FC236}">
                <a16:creationId xmlns:a16="http://schemas.microsoft.com/office/drawing/2014/main" id="{397C4E5A-F4CD-486D-9182-6DE05D9D3FE6}"/>
              </a:ext>
            </a:extLst>
          </p:cNvPr>
          <p:cNvSpPr/>
          <p:nvPr/>
        </p:nvSpPr>
        <p:spPr>
          <a:xfrm>
            <a:off x="4838555" y="5113177"/>
            <a:ext cx="839880" cy="538609"/>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latin typeface="Soho Gothic Pro Light"/>
              </a:rPr>
              <a:t>2010</a:t>
            </a:r>
            <a:endParaRPr lang="es-ES" sz="1100" b="1" spc="-1"/>
          </a:p>
          <a:p>
            <a:pPr>
              <a:lnSpc>
                <a:spcPct val="100000"/>
              </a:lnSpc>
            </a:pPr>
            <a:r>
              <a:rPr lang="es-ES" sz="1100" b="1" spc="-1"/>
              <a:t>—</a:t>
            </a:r>
          </a:p>
          <a:p>
            <a:pPr>
              <a:lnSpc>
                <a:spcPct val="100000"/>
              </a:lnSpc>
            </a:pPr>
            <a:r>
              <a:rPr lang="es-ES" sz="900" b="1" spc="-1">
                <a:latin typeface="Soho Gothic Pro Light"/>
              </a:rPr>
              <a:t>2006</a:t>
            </a:r>
          </a:p>
        </p:txBody>
      </p:sp>
    </p:spTree>
    <p:extLst>
      <p:ext uri="{BB962C8B-B14F-4D97-AF65-F5344CB8AC3E}">
        <p14:creationId xmlns:p14="http://schemas.microsoft.com/office/powerpoint/2010/main" val="17227884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461665"/>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marL="0" lvl="1" algn="just" defTabSz="914377">
              <a:buClr>
                <a:srgbClr val="1A3B47"/>
              </a:buClr>
              <a:defRPr b="0" i="0"/>
            </a:pPr>
            <a:r>
              <a:rPr lang="es-ES" sz="1200"/>
              <a:t>Desarrollador de Software con 5 años de experiencia en el sector TIC, dos de ellos en desarrollos y entornos Big Data para la Agencia Tributaria de Cataluña</a:t>
            </a:r>
          </a:p>
        </p:txBody>
      </p:sp>
      <p:sp>
        <p:nvSpPr>
          <p:cNvPr id="102" name="CuadroTexto 54_0"/>
          <p:cNvSpPr/>
          <p:nvPr/>
        </p:nvSpPr>
        <p:spPr>
          <a:xfrm>
            <a:off x="9438480" y="5748343"/>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1" strike="noStrike" spc="-1">
                <a:latin typeface="Soho Gothic Pro"/>
              </a:rPr>
              <a:t>Idiomas</a:t>
            </a:r>
            <a:endParaRPr lang="es-ES" sz="1200" b="1" strike="noStrike" spc="-1">
              <a:latin typeface="Arial"/>
            </a:endParaRPr>
          </a:p>
        </p:txBody>
      </p:sp>
      <p:sp>
        <p:nvSpPr>
          <p:cNvPr id="103" name="CuadroTexto 55_0"/>
          <p:cNvSpPr/>
          <p:nvPr/>
        </p:nvSpPr>
        <p:spPr>
          <a:xfrm>
            <a:off x="9435153" y="6023208"/>
            <a:ext cx="2712240" cy="861774"/>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trike="noStrike" spc="-1">
                <a:latin typeface="Soho Gothic Pro Light"/>
                <a:ea typeface="Soho Gothic Pro Light"/>
              </a:rPr>
              <a:t>Castellano -</a:t>
            </a:r>
            <a:r>
              <a:rPr lang="es-ES" sz="1000" b="1" spc="-1">
                <a:latin typeface="Soho Gothic Pro Light"/>
                <a:ea typeface="Soho Gothic Pro Light"/>
              </a:rPr>
              <a:t> </a:t>
            </a:r>
            <a:r>
              <a:rPr lang="es-ES" sz="1000" spc="-1">
                <a:latin typeface="Soho Gothic Pro Light"/>
                <a:ea typeface="Soho Gothic Pro Light"/>
              </a:rPr>
              <a:t>Nativo</a:t>
            </a:r>
            <a:endParaRPr lang="es-ES" sz="1000" strike="noStrike" spc="-1">
              <a:latin typeface="Soho Gothic Pro Light"/>
              <a:ea typeface="Soho Gothic Pro Light"/>
            </a:endParaRPr>
          </a:p>
          <a:p>
            <a:r>
              <a:rPr lang="ca-ES" sz="1000" b="1" spc="-1" err="1">
                <a:latin typeface="Soho Gothic Pro Light"/>
                <a:ea typeface="Soho Gothic Pro Light"/>
              </a:rPr>
              <a:t>Catalán</a:t>
            </a:r>
            <a:r>
              <a:rPr lang="ca-ES" sz="1000" b="1" spc="-1">
                <a:latin typeface="Soho Gothic Pro Light"/>
                <a:ea typeface="Soho Gothic Pro Light"/>
              </a:rPr>
              <a:t> - </a:t>
            </a:r>
            <a:r>
              <a:rPr lang="ca-ES" sz="1000" spc="-1" err="1">
                <a:latin typeface="Soho Gothic Pro Light"/>
                <a:ea typeface="Soho Gothic Pro Light"/>
              </a:rPr>
              <a:t>Nativo</a:t>
            </a:r>
            <a:r>
              <a:rPr lang="ca-ES" sz="1750"/>
              <a:t/>
            </a:r>
            <a:br>
              <a:rPr lang="ca-ES" sz="1750"/>
            </a:br>
            <a:r>
              <a:rPr lang="es-ES" sz="1000" b="1" strike="noStrike" spc="-1">
                <a:latin typeface="Soho Gothic Pro Light"/>
                <a:ea typeface="Soho Gothic Pro Light"/>
              </a:rPr>
              <a:t>Ingles -</a:t>
            </a:r>
            <a:r>
              <a:rPr lang="es-ES" sz="1000" b="1" spc="-1">
                <a:latin typeface="Soho Gothic Pro Light"/>
                <a:ea typeface="Soho Gothic Pro Light"/>
              </a:rPr>
              <a:t> </a:t>
            </a:r>
            <a:r>
              <a:rPr lang="es-ES" sz="1000" spc="-1">
                <a:latin typeface="Soho Gothic Pro Light"/>
                <a:ea typeface="Soho Gothic Pro Light"/>
              </a:rPr>
              <a:t>PET</a:t>
            </a:r>
            <a:endParaRPr lang="es-ES" sz="1000" strike="noStrike" spc="-1">
              <a:latin typeface="Soho Gothic Pro Light"/>
            </a:endParaRPr>
          </a:p>
          <a:p>
            <a:pPr>
              <a:lnSpc>
                <a:spcPct val="100000"/>
              </a:lnSpc>
            </a:pPr>
            <a:endParaRPr lang="es-ES" sz="1000" b="0" strike="noStrike" spc="-1">
              <a:solidFill>
                <a:srgbClr val="FF0000"/>
              </a:solidFill>
              <a:latin typeface="Arial"/>
            </a:endParaRPr>
          </a:p>
          <a:p>
            <a:pPr>
              <a:lnSpc>
                <a:spcPct val="100000"/>
              </a:lnSpc>
            </a:pPr>
            <a:endParaRPr lang="es-ES" sz="1000" b="0" strike="noStrike" spc="-1">
              <a:solidFill>
                <a:srgbClr val="FF0000"/>
              </a:solidFill>
              <a:latin typeface="Arial"/>
            </a:endParaRPr>
          </a:p>
        </p:txBody>
      </p:sp>
      <p:sp>
        <p:nvSpPr>
          <p:cNvPr id="105" name="CuadroTexto 40_0"/>
          <p:cNvSpPr/>
          <p:nvPr/>
        </p:nvSpPr>
        <p:spPr>
          <a:xfrm>
            <a:off x="3150056" y="83897"/>
            <a:ext cx="4050112" cy="461665"/>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2400" spc="-1">
                <a:solidFill>
                  <a:schemeClr val="bg1"/>
                </a:solidFill>
                <a:latin typeface="Soho Gothic Pro Medium"/>
              </a:rPr>
              <a:t>Software </a:t>
            </a:r>
            <a:r>
              <a:rPr lang="es-ES" sz="2400" spc="-1" err="1">
                <a:solidFill>
                  <a:schemeClr val="bg1"/>
                </a:solidFill>
                <a:latin typeface="Soho Gothic Pro Medium"/>
              </a:rPr>
              <a:t>Developer</a:t>
            </a:r>
            <a:endParaRPr lang="es-ES" sz="2400" b="0" strike="noStrike" spc="-1">
              <a:solidFill>
                <a:schemeClr val="bg1"/>
              </a:solidFill>
              <a:latin typeface="Soho Gothic Pro Medium"/>
            </a:endParaRPr>
          </a:p>
        </p:txBody>
      </p:sp>
      <p:sp>
        <p:nvSpPr>
          <p:cNvPr id="106" name="CuadroTexto 30_0"/>
          <p:cNvSpPr/>
          <p:nvPr/>
        </p:nvSpPr>
        <p:spPr>
          <a:xfrm>
            <a:off x="87120" y="114674"/>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M.M.D.</a:t>
            </a:r>
            <a:endParaRPr lang="es-ES" sz="2000" b="0" strike="noStrike" spc="-1">
              <a:solidFill>
                <a:schemeClr val="bg1"/>
              </a:solidFill>
              <a:latin typeface="Arial"/>
            </a:endParaRPr>
          </a:p>
        </p:txBody>
      </p:sp>
      <p:sp>
        <p:nvSpPr>
          <p:cNvPr id="109" name="CuadroTexto 37_0"/>
          <p:cNvSpPr/>
          <p:nvPr/>
        </p:nvSpPr>
        <p:spPr>
          <a:xfrm>
            <a:off x="9431605" y="3768312"/>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1" strike="noStrike" spc="-1">
                <a:latin typeface="Soho Gothic Pro"/>
              </a:rPr>
              <a:t>IT</a:t>
            </a:r>
            <a:endParaRPr lang="es-ES" sz="1200" b="1" strike="noStrike" spc="-1">
              <a:latin typeface="Arial"/>
            </a:endParaRPr>
          </a:p>
        </p:txBody>
      </p:sp>
      <p:sp>
        <p:nvSpPr>
          <p:cNvPr id="110" name="CuadroTexto 52_0"/>
          <p:cNvSpPr/>
          <p:nvPr/>
        </p:nvSpPr>
        <p:spPr>
          <a:xfrm>
            <a:off x="9437040" y="4009680"/>
            <a:ext cx="2739600" cy="1631216"/>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n-US" sz="1000" b="1" strike="noStrike" spc="-1">
                <a:latin typeface="Soho Gothic Pro Light"/>
                <a:ea typeface="Soho Gothic Pro Light"/>
              </a:rPr>
              <a:t>Programming languages</a:t>
            </a:r>
            <a:r>
              <a:rPr lang="en-US" sz="1000" b="0" strike="noStrike" spc="-1">
                <a:latin typeface="Soho Gothic Pro Light"/>
                <a:ea typeface="Soho Gothic Pro Light"/>
              </a:rPr>
              <a:t>: </a:t>
            </a:r>
            <a:r>
              <a:rPr lang="en-US" sz="1000" i="1" spc="-1">
                <a:ea typeface="Soho Gothic Pro Light"/>
              </a:rPr>
              <a:t>Java, Scala, PL/SQL, JavaScript</a:t>
            </a:r>
            <a:endParaRPr lang="es-ES" sz="1000" i="1" spc="-1">
              <a:ea typeface="Soho Gothic Pro Light"/>
            </a:endParaRPr>
          </a:p>
          <a:p>
            <a:r>
              <a:rPr lang="en-US" sz="1000" b="1" strike="noStrike" spc="-1">
                <a:latin typeface="Soho Gothic Pro Light"/>
                <a:ea typeface="Soho Gothic Pro Light"/>
              </a:rPr>
              <a:t>Databases: </a:t>
            </a:r>
            <a:r>
              <a:rPr lang="en-US" sz="1000" spc="-1">
                <a:latin typeface="Soho Gothic Pro Light"/>
                <a:ea typeface="Soho Gothic Pro Light"/>
              </a:rPr>
              <a:t>Kudu, Impala, Oracle, </a:t>
            </a:r>
            <a:r>
              <a:rPr lang="en-US" sz="1000" spc="-1" err="1">
                <a:latin typeface="Soho Gothic Pro Light"/>
                <a:ea typeface="Soho Gothic Pro Light"/>
              </a:rPr>
              <a:t>MySql</a:t>
            </a:r>
            <a:r>
              <a:rPr lang="en-US" sz="1000" spc="-1">
                <a:latin typeface="Soho Gothic Pro Light"/>
                <a:ea typeface="Soho Gothic Pro Light"/>
              </a:rPr>
              <a:t>, MongoDB</a:t>
            </a:r>
            <a:endParaRPr lang="en-US" sz="1000" i="1" spc="-1">
              <a:ea typeface="Soho Gothic Pro Light"/>
            </a:endParaRPr>
          </a:p>
          <a:p>
            <a:r>
              <a:rPr lang="en-US" sz="1000" b="1" spc="-1">
                <a:ea typeface="Soho Gothic Pro Light"/>
              </a:rPr>
              <a:t>Big Data (</a:t>
            </a:r>
            <a:r>
              <a:rPr lang="en-US" sz="1000" b="1" spc="-1" err="1">
                <a:ea typeface="Soho Gothic Pro Light"/>
              </a:rPr>
              <a:t>tecnología</a:t>
            </a:r>
            <a:r>
              <a:rPr lang="en-US" sz="1000" b="1" spc="-1">
                <a:ea typeface="Soho Gothic Pro Light"/>
              </a:rPr>
              <a:t>): </a:t>
            </a:r>
            <a:r>
              <a:rPr lang="en-US" sz="1000" i="1" spc="-1">
                <a:ea typeface="Soho Gothic Pro Light"/>
              </a:rPr>
              <a:t>Hadoop, MongoDB, Kudu, Impala, Spark</a:t>
            </a:r>
          </a:p>
          <a:p>
            <a:r>
              <a:rPr lang="es-ES" sz="1000" b="1" spc="-1">
                <a:ea typeface="Soho Gothic Pro Light"/>
              </a:rPr>
              <a:t>Seguridad de la información: </a:t>
            </a:r>
            <a:r>
              <a:rPr lang="es-ES" sz="1000" i="1" spc="-1">
                <a:ea typeface="Soho Gothic Pro Light"/>
              </a:rPr>
              <a:t> Integración con Kerberos</a:t>
            </a:r>
            <a:endParaRPr lang="en-US" sz="1000" i="1" spc="-1">
              <a:ea typeface="Soho Gothic Pro Light"/>
            </a:endParaRPr>
          </a:p>
          <a:p>
            <a:pPr>
              <a:lnSpc>
                <a:spcPct val="100000"/>
              </a:lnSpc>
            </a:pPr>
            <a:r>
              <a:rPr lang="en-US" sz="1000" b="1" strike="noStrike" spc="-1" err="1">
                <a:latin typeface="Soho Gothic Pro Light"/>
                <a:ea typeface="Soho Gothic Pro Light"/>
              </a:rPr>
              <a:t>Gestión</a:t>
            </a:r>
            <a:r>
              <a:rPr lang="en-US" sz="1000" b="0" strike="noStrike" spc="-1">
                <a:latin typeface="Soho Gothic Pro Light"/>
                <a:ea typeface="Soho Gothic Pro Light"/>
              </a:rPr>
              <a:t>: </a:t>
            </a:r>
            <a:r>
              <a:rPr lang="en-US" sz="1000" i="1" spc="-1">
                <a:ea typeface="Soho Gothic Pro Light"/>
              </a:rPr>
              <a:t>Jira</a:t>
            </a:r>
          </a:p>
          <a:p>
            <a:r>
              <a:rPr lang="en-US" sz="1000" b="1" spc="-1">
                <a:ea typeface="Soho Gothic Pro Light"/>
              </a:rPr>
              <a:t>Agile</a:t>
            </a:r>
            <a:r>
              <a:rPr lang="en-US" sz="1000" spc="-1">
                <a:ea typeface="Soho Gothic Pro Light"/>
              </a:rPr>
              <a:t>: </a:t>
            </a:r>
            <a:r>
              <a:rPr lang="en-US" sz="1000" i="1" spc="-1">
                <a:ea typeface="Soho Gothic Pro Light"/>
              </a:rPr>
              <a:t>Scrum, Kanban</a:t>
            </a:r>
          </a:p>
        </p:txBody>
      </p:sp>
      <p:sp>
        <p:nvSpPr>
          <p:cNvPr id="111" name="CuadroTexto 50_0"/>
          <p:cNvSpPr/>
          <p:nvPr/>
        </p:nvSpPr>
        <p:spPr>
          <a:xfrm>
            <a:off x="9528103" y="1888605"/>
            <a:ext cx="2651040" cy="209288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ea typeface="Soho Gothic Pro Light"/>
              </a:rPr>
              <a:t>2020 | AWS Cloud </a:t>
            </a:r>
            <a:r>
              <a:rPr lang="es-ES" sz="1000" spc="-1" err="1">
                <a:ea typeface="Soho Gothic Pro Light"/>
              </a:rPr>
              <a:t>Practitioner</a:t>
            </a:r>
            <a:r>
              <a:rPr lang="es-ES" sz="1000" spc="-1">
                <a:ea typeface="Soho Gothic Pro Light"/>
              </a:rPr>
              <a:t> Essentials</a:t>
            </a:r>
          </a:p>
          <a:p>
            <a:r>
              <a:rPr lang="es-ES" sz="1000" spc="-1">
                <a:ea typeface="Soho Gothic Pro Light"/>
              </a:rPr>
              <a:t>2019 | Desarrollo en Big Data</a:t>
            </a:r>
            <a:endParaRPr lang="es-ES" sz="1750"/>
          </a:p>
          <a:p>
            <a:r>
              <a:rPr lang="es-ES" sz="1000" spc="-1">
                <a:ea typeface="Soho Gothic Pro Light"/>
              </a:rPr>
              <a:t>2017 | Java SE </a:t>
            </a:r>
            <a:r>
              <a:rPr lang="es-ES" sz="1000" spc="-1" err="1">
                <a:ea typeface="Soho Gothic Pro Light"/>
              </a:rPr>
              <a:t>Programming</a:t>
            </a:r>
            <a:r>
              <a:rPr lang="es-ES" sz="1000" spc="-1">
                <a:ea typeface="Soho Gothic Pro Light"/>
              </a:rPr>
              <a:t> </a:t>
            </a:r>
            <a:r>
              <a:rPr lang="es-ES" sz="1000" spc="-1" err="1">
                <a:ea typeface="Soho Gothic Pro Light"/>
              </a:rPr>
              <a:t>Language</a:t>
            </a:r>
            <a:endParaRPr lang="es-ES" sz="1000" spc="-1">
              <a:ea typeface="Soho Gothic Pro Light"/>
            </a:endParaRPr>
          </a:p>
          <a:p>
            <a:r>
              <a:rPr lang="es-ES" sz="1000" spc="-1">
                <a:ea typeface="Soho Gothic Pro Light"/>
              </a:rPr>
              <a:t>2017 | Programación Java para profesionales</a:t>
            </a:r>
          </a:p>
          <a:p>
            <a:r>
              <a:rPr lang="es-ES" sz="1000" spc="-1">
                <a:ea typeface="Soho Gothic Pro Light"/>
              </a:rPr>
              <a:t>2016 | Desarrollo de aplicaciones Windows con C# 2012 y .NET Framework 4.5</a:t>
            </a:r>
          </a:p>
          <a:p>
            <a:r>
              <a:rPr lang="es-ES" sz="1000" spc="-1">
                <a:ea typeface="Soho Gothic Pro Light"/>
              </a:rPr>
              <a:t>2016 | Desarrollo y programación de aplicaciones Android</a:t>
            </a:r>
          </a:p>
          <a:p>
            <a:r>
              <a:rPr lang="es-ES" sz="1000" spc="-1">
                <a:solidFill>
                  <a:srgbClr val="1A3B47"/>
                </a:solidFill>
                <a:ea typeface="Soho Gothic Pro Light"/>
              </a:rPr>
              <a:t>2011 | </a:t>
            </a:r>
            <a:r>
              <a:rPr lang="es-ES" sz="1000" spc="-1" err="1">
                <a:solidFill>
                  <a:srgbClr val="1A3B47"/>
                </a:solidFill>
                <a:ea typeface="Soho Gothic Pro Light"/>
              </a:rPr>
              <a:t>Preliminary</a:t>
            </a:r>
            <a:r>
              <a:rPr lang="es-ES" sz="1000" spc="-1">
                <a:solidFill>
                  <a:srgbClr val="1A3B47"/>
                </a:solidFill>
                <a:ea typeface="Soho Gothic Pro Light"/>
              </a:rPr>
              <a:t> English Test (PET)</a:t>
            </a:r>
          </a:p>
          <a:p>
            <a:r>
              <a:rPr lang="es-ES" sz="1000" spc="-1">
                <a:solidFill>
                  <a:srgbClr val="1A3B47"/>
                </a:solidFill>
                <a:ea typeface="Soho Gothic Pro Light"/>
              </a:rPr>
              <a:t>2010 | Key English Test (KET)</a:t>
            </a:r>
          </a:p>
          <a:p>
            <a:endParaRPr lang="es-ES" sz="1000" spc="-1">
              <a:solidFill>
                <a:srgbClr val="FF0000"/>
              </a:solidFill>
              <a:ea typeface="Soho Gothic Pro Light"/>
            </a:endParaRPr>
          </a:p>
          <a:p>
            <a:endParaRPr lang="es-ES" sz="1000" spc="-1">
              <a:solidFill>
                <a:srgbClr val="FF0000"/>
              </a:solidFill>
              <a:ea typeface="Soho Gothic Pro Light"/>
            </a:endParaRPr>
          </a:p>
          <a:p>
            <a:endParaRPr lang="es-ES" sz="1000" spc="-1">
              <a:solidFill>
                <a:srgbClr val="FF0000"/>
              </a:solidFill>
              <a:ea typeface="Soho Gothic Pro Light"/>
            </a:endParaRPr>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1" strike="noStrike" spc="-1">
                <a:latin typeface="Soho Gothic Pro"/>
              </a:rPr>
              <a:t>Educación</a:t>
            </a:r>
            <a:endParaRPr lang="es-ES" sz="1200" b="1" strike="noStrike" spc="-1">
              <a:latin typeface="Arial"/>
            </a:endParaRPr>
          </a:p>
        </p:txBody>
      </p:sp>
      <p:sp>
        <p:nvSpPr>
          <p:cNvPr id="113" name="CuadroTexto 70_0"/>
          <p:cNvSpPr/>
          <p:nvPr/>
        </p:nvSpPr>
        <p:spPr>
          <a:xfrm>
            <a:off x="9827280" y="441123"/>
            <a:ext cx="2349360"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ea typeface="Soho Gothic Pro Light"/>
              </a:rPr>
              <a:t>Bachillerato Científico-Tecnológico, Escola Joan Pelegrí, Barcelona</a:t>
            </a:r>
          </a:p>
        </p:txBody>
      </p:sp>
      <p:sp>
        <p:nvSpPr>
          <p:cNvPr id="114" name="CuadroTexto 73_0"/>
          <p:cNvSpPr/>
          <p:nvPr/>
        </p:nvSpPr>
        <p:spPr>
          <a:xfrm>
            <a:off x="9477825" y="400917"/>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latin typeface="Soho Gothic Pro Medium"/>
              </a:rPr>
              <a:t>2010</a:t>
            </a:r>
            <a:endParaRPr lang="es-ES" sz="900" b="0" strike="noStrike" spc="-1">
              <a:latin typeface="Arial"/>
              <a:cs typeface="Arial"/>
            </a:endParaRPr>
          </a:p>
          <a:p>
            <a:pPr>
              <a:lnSpc>
                <a:spcPct val="100000"/>
              </a:lnSpc>
            </a:pPr>
            <a:r>
              <a:rPr lang="es-ES" sz="900" b="0" strike="noStrike" spc="-1">
                <a:latin typeface="Soho Gothic Pro Medium"/>
              </a:rPr>
              <a:t>—</a:t>
            </a:r>
            <a:endParaRPr lang="es-ES" sz="900" b="0" strike="noStrike" spc="-1">
              <a:latin typeface="Arial"/>
              <a:cs typeface="Arial"/>
            </a:endParaRPr>
          </a:p>
          <a:p>
            <a:pPr>
              <a:lnSpc>
                <a:spcPct val="100000"/>
              </a:lnSpc>
            </a:pPr>
            <a:r>
              <a:rPr lang="es-ES" sz="900" spc="-1">
                <a:latin typeface="Soho Gothic Pro Medium"/>
              </a:rPr>
              <a:t>2012</a:t>
            </a:r>
            <a:endParaRPr lang="es-ES" sz="900" b="0" strike="noStrike" spc="-1">
              <a:latin typeface="Arial"/>
            </a:endParaRPr>
          </a:p>
        </p:txBody>
      </p:sp>
      <p:sp>
        <p:nvSpPr>
          <p:cNvPr id="117" name="CuadroTexto 33_0"/>
          <p:cNvSpPr/>
          <p:nvPr/>
        </p:nvSpPr>
        <p:spPr>
          <a:xfrm>
            <a:off x="9476500" y="1620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1" strike="noStrike" spc="-1">
                <a:latin typeface="Soho Gothic Pro Light"/>
              </a:rPr>
              <a:t>Cursos Relevantes</a:t>
            </a:r>
            <a:endParaRPr lang="es-ES" sz="1200" b="0" strike="noStrike" spc="-1">
              <a:latin typeface="Arial"/>
            </a:endParaRPr>
          </a:p>
        </p:txBody>
      </p:sp>
      <p:sp>
        <p:nvSpPr>
          <p:cNvPr id="37" name="CuadroTexto 30_0"/>
          <p:cNvSpPr/>
          <p:nvPr/>
        </p:nvSpPr>
        <p:spPr>
          <a:xfrm>
            <a:off x="6145626" y="114674"/>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ctr">
              <a:lnSpc>
                <a:spcPct val="100000"/>
              </a:lnSpc>
            </a:pPr>
            <a:r>
              <a:rPr lang="es-ES" sz="2000" spc="-1">
                <a:solidFill>
                  <a:schemeClr val="bg1"/>
                </a:solidFill>
                <a:ea typeface="Soho Gothic Pro Light"/>
              </a:rPr>
              <a:t>Marcos Marín Daniel</a:t>
            </a:r>
            <a:endParaRPr lang="es-ES" sz="2000" b="0" strike="noStrike" spc="-1">
              <a:solidFill>
                <a:schemeClr val="bg1"/>
              </a:solidFill>
              <a:latin typeface="Arial"/>
            </a:endParaRPr>
          </a:p>
        </p:txBody>
      </p:sp>
      <p:sp>
        <p:nvSpPr>
          <p:cNvPr id="27" name="CuadroTexto 44_0"/>
          <p:cNvSpPr/>
          <p:nvPr/>
        </p:nvSpPr>
        <p:spPr>
          <a:xfrm>
            <a:off x="685800" y="1346218"/>
            <a:ext cx="4215600" cy="1615827"/>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r>
              <a:rPr lang="es-ES" sz="1100" b="1" spc="-1">
                <a:latin typeface="Soho Gothic Pro Light"/>
                <a:ea typeface="Soho Gothic Pro Light"/>
              </a:rPr>
              <a:t>CAS-TRAINING </a:t>
            </a:r>
            <a:r>
              <a:rPr lang="es-ES" sz="1100" b="1" strike="noStrike" spc="-1">
                <a:latin typeface="Soho Gothic Pro Light"/>
                <a:ea typeface="Soho Gothic Pro Light"/>
              </a:rPr>
              <a:t>(Barcelona, España)</a:t>
            </a:r>
            <a:endParaRPr lang="es-ES" sz="1100" b="0" strike="noStrike" spc="-1">
              <a:latin typeface="Arial"/>
              <a:cs typeface="Arial"/>
            </a:endParaRPr>
          </a:p>
          <a:p>
            <a:pPr algn="just"/>
            <a:r>
              <a:rPr lang="es-ES" sz="1100" spc="-1">
                <a:latin typeface="Soho Gothic Pro Light"/>
              </a:rPr>
              <a:t>Programador Senior para </a:t>
            </a:r>
            <a:r>
              <a:rPr lang="es-ES" sz="1100" spc="-1" err="1">
                <a:latin typeface="Soho Gothic Pro Light"/>
              </a:rPr>
              <a:t>Minsait</a:t>
            </a:r>
            <a:endParaRPr lang="es-ES" sz="1100" b="0" strike="noStrike" spc="-1">
              <a:latin typeface="Arial"/>
              <a:cs typeface="Arial"/>
            </a:endParaRPr>
          </a:p>
          <a:p>
            <a:pPr algn="just">
              <a:lnSpc>
                <a:spcPct val="100000"/>
              </a:lnSpc>
            </a:pPr>
            <a:endParaRPr lang="es-ES" sz="1100" b="0" strike="noStrike" spc="-1">
              <a:latin typeface="Arial"/>
              <a:cs typeface="Arial"/>
            </a:endParaRPr>
          </a:p>
          <a:p>
            <a:pPr marL="170815" indent="-170815" algn="just">
              <a:buClr>
                <a:srgbClr val="1A3B47"/>
              </a:buClr>
              <a:buFont typeface="Arial,Sans-Serif"/>
              <a:buChar char="•"/>
            </a:pPr>
            <a:r>
              <a:rPr lang="es-ES" sz="1100" spc="-1"/>
              <a:t>Proyecto Big Data para la Agencia Tributaria de Cataluña</a:t>
            </a:r>
          </a:p>
          <a:p>
            <a:pPr marL="170815" indent="-170815" algn="just">
              <a:buClr>
                <a:srgbClr val="1A3B47"/>
              </a:buClr>
              <a:buFont typeface="Arial,Sans-Serif"/>
              <a:buChar char="•"/>
            </a:pPr>
            <a:r>
              <a:rPr lang="es-ES" sz="1100" spc="-1"/>
              <a:t>Desarrollo de correctivos</a:t>
            </a:r>
          </a:p>
          <a:p>
            <a:pPr marL="170815" indent="-170815" algn="just">
              <a:buClr>
                <a:srgbClr val="1A3B47"/>
              </a:buClr>
              <a:buFont typeface="Arial,Sans-Serif"/>
              <a:buChar char="•"/>
            </a:pPr>
            <a:r>
              <a:rPr lang="es-ES" sz="1100" spc="-1"/>
              <a:t>Desarrollo de evolutivos</a:t>
            </a:r>
            <a:endParaRPr lang="es-ES" sz="1750"/>
          </a:p>
          <a:p>
            <a:pPr marL="170815" indent="-170815" algn="just">
              <a:buClr>
                <a:srgbClr val="1A3B47"/>
              </a:buClr>
              <a:buFont typeface="Arial,Sans-Serif"/>
              <a:buChar char="•"/>
            </a:pPr>
            <a:r>
              <a:rPr lang="es-ES" sz="1100" spc="-1"/>
              <a:t>Propuestas técnicas para soluciones propuestas al equipo y a cliente</a:t>
            </a:r>
          </a:p>
          <a:p>
            <a:pPr marL="170815" indent="-170815" algn="just">
              <a:buClr>
                <a:srgbClr val="1A3B47"/>
              </a:buClr>
              <a:buFont typeface="Arial,Sans-Serif"/>
              <a:buChar char="•"/>
            </a:pPr>
            <a:r>
              <a:rPr lang="es-ES" sz="1100" spc="-1"/>
              <a:t>Documentación técnica</a:t>
            </a:r>
          </a:p>
          <a:p>
            <a:pPr marL="170815" indent="-170815" algn="just">
              <a:buClr>
                <a:srgbClr val="1A3B47"/>
              </a:buClr>
              <a:buFont typeface="Arial,Sans-Serif"/>
              <a:buChar char="•"/>
            </a:pPr>
            <a:endParaRPr lang="es-ES" sz="1100" spc="-1">
              <a:solidFill>
                <a:srgbClr val="FF0000"/>
              </a:solidFill>
            </a:endParaRPr>
          </a:p>
        </p:txBody>
      </p:sp>
      <p:sp>
        <p:nvSpPr>
          <p:cNvPr id="32" name="CuadroTexto 39_0"/>
          <p:cNvSpPr/>
          <p:nvPr/>
        </p:nvSpPr>
        <p:spPr>
          <a:xfrm>
            <a:off x="240120" y="1312738"/>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latin typeface="Soho Gothic Pro Light"/>
              </a:rPr>
              <a:t>2019</a:t>
            </a:r>
            <a:endParaRPr lang="es-ES" sz="900" b="1" strike="noStrike" spc="-1">
              <a:latin typeface="Soho Gothic Pro Light"/>
            </a:endParaRPr>
          </a:p>
          <a:p>
            <a:pPr>
              <a:lnSpc>
                <a:spcPct val="100000"/>
              </a:lnSpc>
            </a:pPr>
            <a:r>
              <a:rPr lang="es-ES" sz="900" b="1" strike="noStrike" spc="-1">
                <a:latin typeface="Soho Gothic Pro Light"/>
                <a:ea typeface="Soho Gothic Pro Light"/>
              </a:rPr>
              <a:t>—</a:t>
            </a:r>
            <a:endParaRPr lang="es-ES" sz="900" b="1" strike="noStrike" spc="-1">
              <a:latin typeface="Arial"/>
              <a:cs typeface="Arial"/>
            </a:endParaRPr>
          </a:p>
          <a:p>
            <a:pPr>
              <a:lnSpc>
                <a:spcPct val="100000"/>
              </a:lnSpc>
            </a:pPr>
            <a:r>
              <a:rPr lang="es-ES" sz="900" b="1" spc="-1">
                <a:latin typeface="Soho Gothic Pro Light"/>
              </a:rPr>
              <a:t>ACT</a:t>
            </a:r>
            <a:endParaRPr lang="es-ES" sz="900" b="1" strike="noStrike" spc="-1">
              <a:latin typeface="Soho Gothic Pro Light"/>
            </a:endParaRPr>
          </a:p>
          <a:p>
            <a:pPr>
              <a:lnSpc>
                <a:spcPct val="100000"/>
              </a:lnSpc>
            </a:pPr>
            <a:endParaRPr lang="es-ES" sz="900" b="0" strike="noStrike" spc="-1">
              <a:solidFill>
                <a:srgbClr val="FF0000"/>
              </a:solidFill>
              <a:latin typeface="Arial"/>
            </a:endParaRPr>
          </a:p>
        </p:txBody>
      </p:sp>
      <p:sp>
        <p:nvSpPr>
          <p:cNvPr id="38" name="CuadroTexto 44_0"/>
          <p:cNvSpPr/>
          <p:nvPr/>
        </p:nvSpPr>
        <p:spPr>
          <a:xfrm>
            <a:off x="685800" y="4309616"/>
            <a:ext cx="4215600" cy="938719"/>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lnSpc>
                <a:spcPct val="100000"/>
              </a:lnSpc>
            </a:pPr>
            <a:r>
              <a:rPr lang="es-ES" sz="1100" b="1" spc="-1" err="1">
                <a:latin typeface="Soho Gothic Pro Light"/>
                <a:ea typeface="Soho Gothic Pro Light"/>
              </a:rPr>
              <a:t>NexTReT</a:t>
            </a:r>
            <a:r>
              <a:rPr lang="es-ES" sz="1100" b="1" strike="noStrike" spc="-1">
                <a:latin typeface="Soho Gothic Pro Light"/>
                <a:ea typeface="Soho Gothic Pro Light"/>
              </a:rPr>
              <a:t> (Barcelona, España)</a:t>
            </a:r>
            <a:endParaRPr lang="es-ES" sz="1100" b="0" strike="noStrike" spc="-1">
              <a:latin typeface="Arial"/>
              <a:cs typeface="Arial"/>
            </a:endParaRPr>
          </a:p>
          <a:p>
            <a:pPr algn="just"/>
            <a:r>
              <a:rPr lang="es-ES" sz="1100" spc="-1">
                <a:latin typeface="Soho Gothic Pro Light"/>
              </a:rPr>
              <a:t>Programador prácticas</a:t>
            </a:r>
            <a:endParaRPr lang="es-ES" sz="1100" b="0" strike="noStrike" spc="-1">
              <a:latin typeface="Arial"/>
              <a:cs typeface="Arial"/>
            </a:endParaRPr>
          </a:p>
          <a:p>
            <a:pPr algn="just">
              <a:lnSpc>
                <a:spcPct val="100000"/>
              </a:lnSpc>
            </a:pPr>
            <a:endParaRPr lang="es-ES" sz="1100" spc="-1"/>
          </a:p>
          <a:p>
            <a:pPr marL="171450" indent="-171450" algn="just">
              <a:buFont typeface="Arial"/>
              <a:buChar char="•"/>
            </a:pPr>
            <a:r>
              <a:rPr lang="es-ES" sz="1100" spc="-1"/>
              <a:t>Desarrollo de sitios web basados en </a:t>
            </a:r>
            <a:r>
              <a:rPr lang="es-ES" sz="1100" spc="-1" err="1"/>
              <a:t>Sharepoint</a:t>
            </a:r>
            <a:r>
              <a:rPr lang="es-ES" sz="1100" spc="-1"/>
              <a:t>.</a:t>
            </a:r>
          </a:p>
          <a:p>
            <a:pPr marL="171450" indent="-171450" algn="just">
              <a:buFont typeface="Arial"/>
              <a:buChar char="•"/>
            </a:pPr>
            <a:r>
              <a:rPr lang="es-ES" sz="1100" spc="-1"/>
              <a:t>Proyecto: Lecta.es</a:t>
            </a:r>
          </a:p>
        </p:txBody>
      </p:sp>
      <p:sp>
        <p:nvSpPr>
          <p:cNvPr id="39" name="CuadroTexto 39_0"/>
          <p:cNvSpPr/>
          <p:nvPr/>
        </p:nvSpPr>
        <p:spPr>
          <a:xfrm>
            <a:off x="240120" y="4311899"/>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latin typeface="Soho Gothic Pro Light"/>
              </a:rPr>
              <a:t>2016</a:t>
            </a:r>
            <a:endParaRPr lang="es-ES" sz="900" b="1" strike="noStrike" spc="-1">
              <a:latin typeface="Soho Gothic Pro Light"/>
            </a:endParaRPr>
          </a:p>
          <a:p>
            <a:pPr>
              <a:lnSpc>
                <a:spcPct val="100000"/>
              </a:lnSpc>
            </a:pPr>
            <a:r>
              <a:rPr lang="es-ES" sz="900" b="1" strike="noStrike" spc="-1">
                <a:latin typeface="Soho Gothic Pro Light"/>
                <a:ea typeface="Soho Gothic Pro Light"/>
              </a:rPr>
              <a:t>—</a:t>
            </a:r>
            <a:endParaRPr lang="es-ES" sz="900" b="1" strike="noStrike" spc="-1">
              <a:latin typeface="Arial"/>
              <a:cs typeface="Arial"/>
            </a:endParaRPr>
          </a:p>
          <a:p>
            <a:pPr>
              <a:lnSpc>
                <a:spcPct val="100000"/>
              </a:lnSpc>
            </a:pPr>
            <a:r>
              <a:rPr lang="es-ES" sz="900" b="1" spc="-1">
                <a:latin typeface="Soho Gothic Pro Light"/>
              </a:rPr>
              <a:t>2016</a:t>
            </a:r>
            <a:endParaRPr lang="es-ES" sz="900" b="1" strike="noStrike" spc="-1">
              <a:latin typeface="Arial"/>
            </a:endParaRPr>
          </a:p>
          <a:p>
            <a:pPr>
              <a:lnSpc>
                <a:spcPct val="100000"/>
              </a:lnSpc>
            </a:pPr>
            <a:endParaRPr lang="es-ES" sz="900" b="0" strike="noStrike" spc="-1">
              <a:solidFill>
                <a:srgbClr val="FF0000"/>
              </a:solidFill>
              <a:latin typeface="Arial"/>
            </a:endParaRPr>
          </a:p>
        </p:txBody>
      </p:sp>
      <p:sp>
        <p:nvSpPr>
          <p:cNvPr id="42" name="CuadroTexto 44_0"/>
          <p:cNvSpPr/>
          <p:nvPr/>
        </p:nvSpPr>
        <p:spPr>
          <a:xfrm>
            <a:off x="5400900" y="1346218"/>
            <a:ext cx="3919320" cy="2462213"/>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r>
              <a:rPr lang="es-ES" sz="1100" b="1" spc="-1">
                <a:latin typeface="Soho Gothic Pro Light"/>
                <a:ea typeface="Soho Gothic Pro Light"/>
              </a:rPr>
              <a:t>T-</a:t>
            </a:r>
            <a:r>
              <a:rPr lang="es-ES" sz="1100" b="1" spc="-1" err="1">
                <a:latin typeface="Soho Gothic Pro Light"/>
                <a:ea typeface="Soho Gothic Pro Light"/>
              </a:rPr>
              <a:t>Systems</a:t>
            </a:r>
            <a:r>
              <a:rPr lang="es-ES" sz="1100" b="1" spc="-1">
                <a:latin typeface="Soho Gothic Pro Light"/>
                <a:ea typeface="Soho Gothic Pro Light"/>
              </a:rPr>
              <a:t> Iberia</a:t>
            </a:r>
            <a:r>
              <a:rPr lang="es-ES" sz="1100" b="1" strike="noStrike" spc="-1">
                <a:latin typeface="Soho Gothic Pro Light"/>
                <a:ea typeface="Soho Gothic Pro Light"/>
              </a:rPr>
              <a:t> (Barcelona, España)</a:t>
            </a:r>
            <a:endParaRPr lang="es-ES" sz="1100" b="0" strike="noStrike" spc="-1">
              <a:latin typeface="Arial"/>
              <a:cs typeface="Arial"/>
            </a:endParaRPr>
          </a:p>
          <a:p>
            <a:pPr algn="just"/>
            <a:r>
              <a:rPr lang="es-ES" sz="1100" spc="-1">
                <a:latin typeface="Soho Gothic Pro Light"/>
              </a:rPr>
              <a:t>Programador Junior y posteriormente Programador Nivel 01</a:t>
            </a:r>
            <a:endParaRPr lang="es-ES" sz="1100" b="0" strike="noStrike" spc="-1">
              <a:latin typeface="Soho Gothic Pro Light"/>
            </a:endParaRPr>
          </a:p>
          <a:p>
            <a:pPr algn="just">
              <a:lnSpc>
                <a:spcPct val="100000"/>
              </a:lnSpc>
            </a:pPr>
            <a:endParaRPr lang="es-ES" sz="1100" b="0" strike="noStrike" spc="-1">
              <a:latin typeface="Arial"/>
              <a:cs typeface="Arial"/>
            </a:endParaRPr>
          </a:p>
          <a:p>
            <a:pPr marL="170815" indent="-170815" algn="just">
              <a:buClr>
                <a:srgbClr val="1A3B47"/>
              </a:buClr>
              <a:buFont typeface="Arial,Sans-Serif"/>
              <a:buChar char="•"/>
            </a:pPr>
            <a:r>
              <a:rPr lang="es-ES" sz="1100" spc="-1"/>
              <a:t>Proyecto de modernización y digitalización de la Justicia en Cataluña, Ejusticia.CAT.</a:t>
            </a:r>
          </a:p>
          <a:p>
            <a:pPr marL="170815" indent="-170815" algn="just">
              <a:buClr>
                <a:srgbClr val="1A3B47"/>
              </a:buClr>
              <a:buFont typeface="Arial,Sans-Serif"/>
              <a:buChar char="•"/>
            </a:pPr>
            <a:r>
              <a:rPr lang="es-ES" sz="1100" spc="-1"/>
              <a:t>Resolución de incidencias</a:t>
            </a:r>
          </a:p>
          <a:p>
            <a:pPr marL="170815" indent="-170815" algn="just">
              <a:buClr>
                <a:srgbClr val="1A3B47"/>
              </a:buClr>
              <a:buFont typeface="Arial,Sans-Serif"/>
              <a:buChar char="•"/>
            </a:pPr>
            <a:r>
              <a:rPr lang="es-ES" sz="1100" spc="-1"/>
              <a:t>Desarrollo de correctivos</a:t>
            </a:r>
          </a:p>
          <a:p>
            <a:pPr marL="170815" indent="-170815" algn="just">
              <a:buClr>
                <a:srgbClr val="1A3B47"/>
              </a:buClr>
              <a:buFont typeface="Arial,Sans-Serif"/>
              <a:buChar char="•"/>
            </a:pPr>
            <a:r>
              <a:rPr lang="es-ES" sz="1100" spc="-1"/>
              <a:t>Desarrollo de evolutivos</a:t>
            </a:r>
          </a:p>
          <a:p>
            <a:pPr marL="170815" indent="-170815" algn="just">
              <a:buClr>
                <a:srgbClr val="1A3B47"/>
              </a:buClr>
              <a:buFont typeface="Arial,Sans-Serif"/>
              <a:buChar char="•"/>
            </a:pPr>
            <a:r>
              <a:rPr lang="es-ES" sz="1100" spc="-1"/>
              <a:t>Despliegue de nuevas versiones en entornos productivos</a:t>
            </a:r>
          </a:p>
          <a:p>
            <a:pPr marL="170815" indent="-170815" algn="just">
              <a:buClr>
                <a:srgbClr val="1A3B47"/>
              </a:buClr>
              <a:buFont typeface="Arial,Sans-Serif"/>
              <a:buChar char="•"/>
            </a:pPr>
            <a:r>
              <a:rPr lang="es-ES" sz="1100" spc="-1"/>
              <a:t>Redacción de documentación técnica y funcional para propuestas a cliente</a:t>
            </a:r>
          </a:p>
          <a:p>
            <a:pPr marL="170815" indent="-170815" algn="just">
              <a:buClr>
                <a:srgbClr val="1A3B47"/>
              </a:buClr>
              <a:buFont typeface="Arial,Sans-Serif"/>
              <a:buChar char="•"/>
            </a:pPr>
            <a:r>
              <a:rPr lang="es-ES" sz="1100" spc="-1"/>
              <a:t>Actualización de documentación técnica y funcional</a:t>
            </a:r>
          </a:p>
          <a:p>
            <a:pPr marL="170815" indent="-170815" algn="just">
              <a:buClr>
                <a:srgbClr val="1A3B47"/>
              </a:buClr>
              <a:buFont typeface="Arial,Sans-Serif"/>
              <a:buChar char="•"/>
            </a:pPr>
            <a:r>
              <a:rPr lang="es-ES" sz="1100" spc="-1"/>
              <a:t>Mantenimiento de Bases de Datos Oracle</a:t>
            </a:r>
          </a:p>
          <a:p>
            <a:pPr marL="170815" indent="-170815" algn="just">
              <a:buClr>
                <a:srgbClr val="1A3B47"/>
              </a:buClr>
              <a:buFont typeface="Arial,Sans-Serif"/>
              <a:buChar char="•"/>
            </a:pPr>
            <a:endParaRPr lang="es-ES" sz="1100" spc="-1">
              <a:solidFill>
                <a:srgbClr val="FF0000"/>
              </a:solidFill>
            </a:endParaRPr>
          </a:p>
        </p:txBody>
      </p:sp>
      <p:sp>
        <p:nvSpPr>
          <p:cNvPr id="43" name="CuadroTexto 39_0"/>
          <p:cNvSpPr/>
          <p:nvPr/>
        </p:nvSpPr>
        <p:spPr>
          <a:xfrm>
            <a:off x="4955220" y="1312738"/>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latin typeface="Soho Gothic Pro Light"/>
              </a:rPr>
              <a:t>2017</a:t>
            </a:r>
          </a:p>
          <a:p>
            <a:pPr>
              <a:lnSpc>
                <a:spcPct val="100000"/>
              </a:lnSpc>
            </a:pPr>
            <a:r>
              <a:rPr lang="es-ES" sz="900" b="1" spc="-1">
                <a:ea typeface="Soho Gothic Pro Light"/>
              </a:rPr>
              <a:t>—</a:t>
            </a:r>
            <a:endParaRPr lang="es-ES" sz="900" b="1" spc="-1">
              <a:latin typeface="Arial"/>
              <a:cs typeface="Arial"/>
            </a:endParaRPr>
          </a:p>
          <a:p>
            <a:pPr>
              <a:lnSpc>
                <a:spcPct val="100000"/>
              </a:lnSpc>
            </a:pPr>
            <a:r>
              <a:rPr lang="es-ES" sz="900" b="1" spc="-1"/>
              <a:t>2019</a:t>
            </a:r>
            <a:endParaRPr lang="es-ES" sz="900" spc="-1">
              <a:latin typeface="Arial"/>
            </a:endParaRPr>
          </a:p>
          <a:p>
            <a:pPr>
              <a:lnSpc>
                <a:spcPct val="100000"/>
              </a:lnSpc>
            </a:pPr>
            <a:endParaRPr lang="es-ES" sz="900" b="0" strike="noStrike" spc="-1">
              <a:solidFill>
                <a:srgbClr val="FF0000"/>
              </a:solidFill>
              <a:latin typeface="Arial"/>
            </a:endParaRPr>
          </a:p>
        </p:txBody>
      </p:sp>
      <p:sp>
        <p:nvSpPr>
          <p:cNvPr id="30" name="CuadroTexto 73_0">
            <a:extLst>
              <a:ext uri="{FF2B5EF4-FFF2-40B4-BE49-F238E27FC236}">
                <a16:creationId xmlns:a16="http://schemas.microsoft.com/office/drawing/2014/main" id="{CA80C200-5EE5-47BF-8523-516F58DA32F9}"/>
              </a:ext>
            </a:extLst>
          </p:cNvPr>
          <p:cNvSpPr/>
          <p:nvPr/>
        </p:nvSpPr>
        <p:spPr>
          <a:xfrm>
            <a:off x="9477824" y="964480"/>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latin typeface="Soho Gothic Pro Medium"/>
                <a:cs typeface="Arial"/>
              </a:rPr>
              <a:t>2014</a:t>
            </a:r>
            <a:endParaRPr lang="es-ES" sz="900" b="0" strike="noStrike" spc="-1">
              <a:latin typeface="Soho Gothic Pro Medium"/>
              <a:cs typeface="Arial"/>
            </a:endParaRPr>
          </a:p>
          <a:p>
            <a:pPr>
              <a:lnSpc>
                <a:spcPct val="100000"/>
              </a:lnSpc>
            </a:pPr>
            <a:r>
              <a:rPr lang="es-ES" sz="900" b="0" strike="noStrike" spc="-1">
                <a:latin typeface="Soho Gothic Pro Medium"/>
              </a:rPr>
              <a:t>—</a:t>
            </a:r>
            <a:endParaRPr lang="es-ES" sz="900" b="0" strike="noStrike" spc="-1">
              <a:latin typeface="Arial"/>
              <a:cs typeface="Arial"/>
            </a:endParaRPr>
          </a:p>
          <a:p>
            <a:pPr>
              <a:lnSpc>
                <a:spcPct val="100000"/>
              </a:lnSpc>
            </a:pPr>
            <a:r>
              <a:rPr lang="es-ES" sz="900" spc="-1">
                <a:latin typeface="Soho Gothic Pro Medium"/>
              </a:rPr>
              <a:t>2016</a:t>
            </a:r>
            <a:endParaRPr lang="es-ES" sz="900" b="0" strike="noStrike" spc="-1">
              <a:latin typeface="Arial"/>
            </a:endParaRPr>
          </a:p>
        </p:txBody>
      </p:sp>
      <p:sp>
        <p:nvSpPr>
          <p:cNvPr id="31" name="CuadroTexto 70_0">
            <a:extLst>
              <a:ext uri="{FF2B5EF4-FFF2-40B4-BE49-F238E27FC236}">
                <a16:creationId xmlns:a16="http://schemas.microsoft.com/office/drawing/2014/main" id="{59F757DD-B094-437A-A286-91D374C47E3C}"/>
              </a:ext>
            </a:extLst>
          </p:cNvPr>
          <p:cNvSpPr/>
          <p:nvPr/>
        </p:nvSpPr>
        <p:spPr>
          <a:xfrm>
            <a:off x="9827280" y="941185"/>
            <a:ext cx="2349360" cy="553998"/>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ea typeface="Soho Gothic Pro Light"/>
              </a:rPr>
              <a:t>Grado Superior en Desarrollo de Aplicaciones Multiplataforma, Escola Monlau, Barcelona</a:t>
            </a:r>
          </a:p>
        </p:txBody>
      </p:sp>
    </p:spTree>
    <p:extLst>
      <p:ext uri="{BB962C8B-B14F-4D97-AF65-F5344CB8AC3E}">
        <p14:creationId xmlns:p14="http://schemas.microsoft.com/office/powerpoint/2010/main" val="37464002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marL="0" lvl="1" algn="just" defTabSz="914377">
              <a:defRPr b="0" i="0"/>
            </a:pPr>
            <a:r>
              <a:rPr lang="es-ES" sz="1200">
                <a:ea typeface="+mn-lt"/>
                <a:cs typeface="+mn-lt"/>
              </a:rPr>
              <a:t>Consultor BigData con mas de 13 años de experiencia en el sector de IT. Enfocado a la arquitectura, </a:t>
            </a:r>
            <a:r>
              <a:rPr lang="es-ES" sz="1200" err="1">
                <a:ea typeface="+mn-lt"/>
                <a:cs typeface="+mn-lt"/>
              </a:rPr>
              <a:t>filosofia</a:t>
            </a:r>
            <a:r>
              <a:rPr lang="es-ES" sz="1200">
                <a:ea typeface="+mn-lt"/>
                <a:cs typeface="+mn-lt"/>
              </a:rPr>
              <a:t> </a:t>
            </a:r>
            <a:r>
              <a:rPr lang="es-ES" sz="1200" err="1">
                <a:ea typeface="+mn-lt"/>
                <a:cs typeface="+mn-lt"/>
              </a:rPr>
              <a:t>Devops,trabajo</a:t>
            </a:r>
            <a:r>
              <a:rPr lang="es-ES" sz="1200">
                <a:ea typeface="+mn-lt"/>
                <a:cs typeface="+mn-lt"/>
              </a:rPr>
              <a:t> en equipo y a la comprensión del negocio para materializar las soluciones de </a:t>
            </a:r>
            <a:r>
              <a:rPr lang="es-ES" sz="1200" err="1">
                <a:ea typeface="+mn-lt"/>
                <a:cs typeface="+mn-lt"/>
              </a:rPr>
              <a:t>tecnologia</a:t>
            </a:r>
            <a:r>
              <a:rPr lang="es-ES" sz="1200">
                <a:ea typeface="+mn-lt"/>
                <a:cs typeface="+mn-lt"/>
              </a:rPr>
              <a:t> de información. Los </a:t>
            </a:r>
            <a:r>
              <a:rPr lang="es-ES" sz="1200" err="1">
                <a:ea typeface="+mn-lt"/>
                <a:cs typeface="+mn-lt"/>
              </a:rPr>
              <a:t>sofkills</a:t>
            </a:r>
            <a:r>
              <a:rPr lang="es-ES" sz="1200">
                <a:ea typeface="+mn-lt"/>
                <a:cs typeface="+mn-lt"/>
              </a:rPr>
              <a:t> impacta positivamente en el equipo y construye un buen ambiente de trabajo.</a:t>
            </a:r>
            <a:endParaRPr lang="es-ES"/>
          </a:p>
        </p:txBody>
      </p:sp>
      <p:sp>
        <p:nvSpPr>
          <p:cNvPr id="102" name="CuadroTexto 54_0"/>
          <p:cNvSpPr/>
          <p:nvPr/>
        </p:nvSpPr>
        <p:spPr>
          <a:xfrm>
            <a:off x="9537540" y="5926811"/>
            <a:ext cx="1608840" cy="276999"/>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p>
            <a:r>
              <a:rPr lang="es-ES" sz="1200">
                <a:solidFill>
                  <a:schemeClr val="tx1">
                    <a:lumMod val="95000"/>
                    <a:lumOff val="5000"/>
                  </a:schemeClr>
                </a:solidFill>
                <a:latin typeface="Soho Gothic Pro" panose="020B0503030504020204" pitchFamily="34" charset="77"/>
              </a:rPr>
              <a:t>Idiomas</a:t>
            </a:r>
          </a:p>
        </p:txBody>
      </p:sp>
      <p:sp>
        <p:nvSpPr>
          <p:cNvPr id="103" name="CuadroTexto 55_0"/>
          <p:cNvSpPr/>
          <p:nvPr/>
        </p:nvSpPr>
        <p:spPr>
          <a:xfrm>
            <a:off x="9474840" y="6174773"/>
            <a:ext cx="2712240" cy="553998"/>
          </a:xfrm>
          <a:prstGeom prst="rect">
            <a:avLst/>
          </a:prstGeom>
          <a:noFill/>
        </p:spPr>
        <p:style>
          <a:lnRef idx="0">
            <a:scrgbClr r="0" g="0" b="0"/>
          </a:lnRef>
          <a:fillRef idx="0">
            <a:scrgbClr r="0" g="0" b="0"/>
          </a:fillRef>
          <a:effectRef idx="0">
            <a:scrgbClr r="0" g="0" b="0"/>
          </a:effectRef>
          <a:fontRef idx="major"/>
        </p:style>
        <p:txBody>
          <a:bodyPr wrap="square" lIns="91440" tIns="45720" rIns="91440" bIns="45720" rtlCol="0" anchor="t">
            <a:spAutoFit/>
          </a:bodyPr>
          <a:lstStyle/>
          <a:p>
            <a:r>
              <a:rPr lang="es-ES" sz="1000" b="1">
                <a:ea typeface="+mn-lt"/>
                <a:cs typeface="+mn-lt"/>
              </a:rPr>
              <a:t>Castellano - </a:t>
            </a:r>
            <a:r>
              <a:rPr lang="es-ES" sz="1000">
                <a:ea typeface="+mn-lt"/>
                <a:cs typeface="+mn-lt"/>
              </a:rPr>
              <a:t>Nativo</a:t>
            </a:r>
          </a:p>
          <a:p>
            <a:r>
              <a:rPr lang="ca-ES" sz="1000" b="1">
                <a:ea typeface="+mn-lt"/>
                <a:cs typeface="+mn-lt"/>
              </a:rPr>
              <a:t>Catalán      - </a:t>
            </a:r>
            <a:r>
              <a:rPr lang="ca-ES" sz="1000">
                <a:ea typeface="+mn-lt"/>
                <a:cs typeface="+mn-lt"/>
              </a:rPr>
              <a:t>Nivel Intermedio</a:t>
            </a:r>
            <a:r>
              <a:rPr lang="ca-ES" sz="1000" b="1">
                <a:ea typeface="+mn-lt"/>
                <a:cs typeface="+mn-lt"/>
              </a:rPr>
              <a:t> </a:t>
            </a:r>
            <a:br>
              <a:rPr lang="ca-ES" sz="1000" b="1">
                <a:ea typeface="+mn-lt"/>
                <a:cs typeface="+mn-lt"/>
              </a:rPr>
            </a:br>
            <a:r>
              <a:rPr lang="es-ES" sz="1000" b="1">
                <a:ea typeface="+mn-lt"/>
                <a:cs typeface="+mn-lt"/>
              </a:rPr>
              <a:t>Ingles         - </a:t>
            </a:r>
            <a:r>
              <a:rPr lang="es-ES" sz="1000">
                <a:ea typeface="+mn-lt"/>
                <a:cs typeface="+mn-lt"/>
              </a:rPr>
              <a:t>Nivel Intermedio</a:t>
            </a:r>
            <a:endParaRPr lang="es-ES" sz="1000"/>
          </a:p>
        </p:txBody>
      </p:sp>
      <p:sp>
        <p:nvSpPr>
          <p:cNvPr id="105" name="CuadroTexto 40_0"/>
          <p:cNvSpPr/>
          <p:nvPr/>
        </p:nvSpPr>
        <p:spPr>
          <a:xfrm>
            <a:off x="3098754" y="110520"/>
            <a:ext cx="2692800" cy="45756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2400" spc="-1">
                <a:solidFill>
                  <a:schemeClr val="bg1"/>
                </a:solidFill>
                <a:latin typeface="Soho Gothic Pro Medium"/>
              </a:rPr>
              <a:t>Data </a:t>
            </a:r>
            <a:r>
              <a:rPr lang="es-ES" sz="2400" spc="-1" err="1">
                <a:solidFill>
                  <a:schemeClr val="bg1"/>
                </a:solidFill>
                <a:latin typeface="Soho Gothic Pro Medium"/>
              </a:rPr>
              <a:t>Engineer</a:t>
            </a:r>
            <a:endParaRPr lang="es-ES" sz="2400" spc="-1">
              <a:solidFill>
                <a:schemeClr val="bg1"/>
              </a:solidFill>
              <a:latin typeface="Soho Gothic Pro Medium"/>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J.S.R.</a:t>
            </a:r>
            <a:endParaRPr lang="es-ES" sz="2000" b="0" strike="noStrike" spc="-1">
              <a:solidFill>
                <a:schemeClr val="bg1"/>
              </a:solidFill>
              <a:latin typeface="Arial"/>
            </a:endParaRPr>
          </a:p>
        </p:txBody>
      </p:sp>
      <p:sp>
        <p:nvSpPr>
          <p:cNvPr id="112" name="CuadroTexto 56_0"/>
          <p:cNvSpPr/>
          <p:nvPr/>
        </p:nvSpPr>
        <p:spPr>
          <a:xfrm>
            <a:off x="9475200" y="127800"/>
            <a:ext cx="1965600" cy="276999"/>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p>
            <a:r>
              <a:rPr lang="es-ES" sz="1200">
                <a:solidFill>
                  <a:schemeClr val="tx1">
                    <a:lumMod val="95000"/>
                    <a:lumOff val="5000"/>
                  </a:schemeClr>
                </a:solidFill>
                <a:latin typeface="Soho Gothic Pro" panose="020B0503030504020204" pitchFamily="34" charset="77"/>
              </a:rPr>
              <a:t>Educación</a:t>
            </a:r>
          </a:p>
        </p:txBody>
      </p:sp>
      <p:sp>
        <p:nvSpPr>
          <p:cNvPr id="113" name="CuadroTexto 70_0"/>
          <p:cNvSpPr/>
          <p:nvPr/>
        </p:nvSpPr>
        <p:spPr>
          <a:xfrm>
            <a:off x="9827280" y="342063"/>
            <a:ext cx="2356980" cy="507831"/>
          </a:xfrm>
          <a:prstGeom prst="rect">
            <a:avLst/>
          </a:prstGeom>
          <a:noFill/>
        </p:spPr>
        <p:style>
          <a:lnRef idx="0">
            <a:scrgbClr r="0" g="0" b="0"/>
          </a:lnRef>
          <a:fillRef idx="0">
            <a:scrgbClr r="0" g="0" b="0"/>
          </a:fillRef>
          <a:effectRef idx="0">
            <a:scrgbClr r="0" g="0" b="0"/>
          </a:effectRef>
          <a:fontRef idx="major"/>
        </p:style>
        <p:txBody>
          <a:bodyPr wrap="square" lIns="91440" tIns="45720" rIns="91440" bIns="45720" rtlCol="0" anchor="t">
            <a:spAutoFit/>
          </a:bodyPr>
          <a:lstStyle/>
          <a:p>
            <a:r>
              <a:rPr lang="es-ES" sz="900" b="1">
                <a:solidFill>
                  <a:srgbClr val="1A3B47"/>
                </a:solidFill>
                <a:latin typeface="Soho Gothic Pro"/>
              </a:rPr>
              <a:t>Ingeniero de Computación y Sistemas </a:t>
            </a:r>
            <a:r>
              <a:rPr lang="es-ES" sz="900">
                <a:solidFill>
                  <a:srgbClr val="1A3B47"/>
                </a:solidFill>
                <a:latin typeface="Soho Gothic Pro"/>
              </a:rPr>
              <a:t>Universidad de San Martin de Porres, Lima-</a:t>
            </a:r>
            <a:r>
              <a:rPr lang="es-ES" sz="900" err="1">
                <a:solidFill>
                  <a:srgbClr val="1A3B47"/>
                </a:solidFill>
                <a:latin typeface="Soho Gothic Pro"/>
              </a:rPr>
              <a:t>Peru</a:t>
            </a:r>
            <a:endParaRPr lang="es-ES" sz="900">
              <a:solidFill>
                <a:srgbClr val="1A3B47"/>
              </a:solidFill>
              <a:latin typeface="Soho Gothic Pro"/>
            </a:endParaRPr>
          </a:p>
        </p:txBody>
      </p:sp>
      <p:sp>
        <p:nvSpPr>
          <p:cNvPr id="117" name="CuadroTexto 33_0"/>
          <p:cNvSpPr/>
          <p:nvPr/>
        </p:nvSpPr>
        <p:spPr>
          <a:xfrm>
            <a:off x="9501900" y="1368540"/>
            <a:ext cx="1965600" cy="276999"/>
          </a:xfrm>
          <a:prstGeom prst="rect">
            <a:avLst/>
          </a:prstGeom>
          <a:noFill/>
        </p:spPr>
        <p:style>
          <a:lnRef idx="0">
            <a:scrgbClr r="0" g="0" b="0"/>
          </a:lnRef>
          <a:fillRef idx="0">
            <a:scrgbClr r="0" g="0" b="0"/>
          </a:fillRef>
          <a:effectRef idx="0">
            <a:scrgbClr r="0" g="0" b="0"/>
          </a:effectRef>
          <a:fontRef idx="major"/>
        </p:style>
        <p:txBody>
          <a:bodyPr wrap="square" lIns="91440" tIns="45720" rIns="91440" bIns="45720" rtlCol="0" anchor="t">
            <a:spAutoFit/>
          </a:bodyPr>
          <a:lstStyle/>
          <a:p>
            <a:r>
              <a:rPr lang="es-ES" sz="1200">
                <a:solidFill>
                  <a:schemeClr val="tx1">
                    <a:lumMod val="95000"/>
                    <a:lumOff val="5000"/>
                  </a:schemeClr>
                </a:solidFill>
                <a:latin typeface="Soho Gothic Pro"/>
              </a:rPr>
              <a:t>Certificaciones</a:t>
            </a:r>
            <a:endParaRPr lang="es-ES" sz="1200">
              <a:solidFill>
                <a:schemeClr val="tx1">
                  <a:lumMod val="95000"/>
                  <a:lumOff val="5000"/>
                </a:schemeClr>
              </a:solidFill>
              <a:latin typeface="Soho Gothic Pro" panose="020B0503030504020204" pitchFamily="34" charset="77"/>
            </a:endParaRPr>
          </a:p>
        </p:txBody>
      </p:sp>
      <p:sp>
        <p:nvSpPr>
          <p:cNvPr id="37" name="CuadroTexto 30_0"/>
          <p:cNvSpPr/>
          <p:nvPr/>
        </p:nvSpPr>
        <p:spPr>
          <a:xfrm>
            <a:off x="5463001" y="152640"/>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Juan Carlos Sipan Robles</a:t>
            </a:r>
            <a:endParaRPr lang="es-ES" sz="2000" b="0" strike="noStrike" spc="-1">
              <a:solidFill>
                <a:schemeClr val="bg1"/>
              </a:solidFill>
              <a:latin typeface="Arial"/>
            </a:endParaRPr>
          </a:p>
        </p:txBody>
      </p:sp>
      <p:sp>
        <p:nvSpPr>
          <p:cNvPr id="27" name="CuadroTexto 44_0"/>
          <p:cNvSpPr/>
          <p:nvPr/>
        </p:nvSpPr>
        <p:spPr>
          <a:xfrm>
            <a:off x="685800" y="1346218"/>
            <a:ext cx="4215600" cy="1954381"/>
          </a:xfrm>
          <a:prstGeom prst="rect">
            <a:avLst/>
          </a:prstGeom>
          <a:noFill/>
        </p:spPr>
        <p:style>
          <a:lnRef idx="0">
            <a:scrgbClr r="0" g="0" b="0"/>
          </a:lnRef>
          <a:fillRef idx="0">
            <a:scrgbClr r="0" g="0" b="0"/>
          </a:fillRef>
          <a:effectRef idx="0">
            <a:scrgbClr r="0" g="0" b="0"/>
          </a:effectRef>
          <a:fontRef idx="major"/>
        </p:style>
        <p:txBody>
          <a:bodyPr wrap="square" lIns="91440" tIns="45720" rIns="91440" bIns="45720" rtlCol="0" anchor="t">
            <a:spAutoFit/>
          </a:bodyPr>
          <a:lstStyle/>
          <a:p>
            <a:pPr algn="just"/>
            <a:r>
              <a:rPr lang="es-ES" sz="1100" b="1">
                <a:ea typeface="+mn-lt"/>
                <a:cs typeface="+mn-lt"/>
              </a:rPr>
              <a:t>Minsait </a:t>
            </a:r>
            <a:r>
              <a:rPr lang="es-ES" sz="1100" b="1" err="1">
                <a:ea typeface="+mn-lt"/>
                <a:cs typeface="+mn-lt"/>
              </a:rPr>
              <a:t>by</a:t>
            </a:r>
            <a:r>
              <a:rPr lang="es-ES" sz="1100" b="1">
                <a:ea typeface="+mn-lt"/>
                <a:cs typeface="+mn-lt"/>
              </a:rPr>
              <a:t> Indra (Barcelona, España)</a:t>
            </a:r>
          </a:p>
          <a:p>
            <a:pPr algn="just"/>
            <a:r>
              <a:rPr lang="es-ES" sz="1100">
                <a:ea typeface="+mn-lt"/>
                <a:cs typeface="+mn-lt"/>
              </a:rPr>
              <a:t>Arquitecto BigData – </a:t>
            </a:r>
            <a:r>
              <a:rPr lang="es-ES" sz="1100" err="1">
                <a:ea typeface="+mn-lt"/>
                <a:cs typeface="+mn-lt"/>
              </a:rPr>
              <a:t>Team</a:t>
            </a:r>
            <a:r>
              <a:rPr lang="es-ES" sz="1100">
                <a:ea typeface="+mn-lt"/>
                <a:cs typeface="+mn-lt"/>
              </a:rPr>
              <a:t> Leader</a:t>
            </a:r>
          </a:p>
          <a:p>
            <a:pPr algn="just"/>
            <a:endParaRPr lang="es-ES" sz="1100" b="1">
              <a:ea typeface="+mn-lt"/>
              <a:cs typeface="+mn-lt"/>
            </a:endParaRPr>
          </a:p>
          <a:p>
            <a:pPr marL="170815" indent="-170815" algn="just">
              <a:buClr>
                <a:srgbClr val="1A3B47"/>
              </a:buClr>
              <a:buFont typeface="Arial,Sans-Serif"/>
              <a:buChar char="•"/>
            </a:pPr>
            <a:r>
              <a:rPr lang="es-ES" sz="1100">
                <a:ea typeface="+mn-lt"/>
                <a:cs typeface="+mn-lt"/>
              </a:rPr>
              <a:t>Arquitecto BigData de Minsait con participación </a:t>
            </a:r>
            <a:r>
              <a:rPr lang="es-ES" sz="1100" err="1">
                <a:ea typeface="+mn-lt"/>
                <a:cs typeface="+mn-lt"/>
              </a:rPr>
              <a:t>cross</a:t>
            </a:r>
            <a:r>
              <a:rPr lang="es-ES" sz="1100">
                <a:ea typeface="+mn-lt"/>
                <a:cs typeface="+mn-lt"/>
              </a:rPr>
              <a:t> en los proyectos, aplicando la filosofía </a:t>
            </a:r>
            <a:r>
              <a:rPr lang="es-ES" sz="1100" err="1">
                <a:ea typeface="+mn-lt"/>
                <a:cs typeface="+mn-lt"/>
              </a:rPr>
              <a:t>Devops</a:t>
            </a:r>
            <a:r>
              <a:rPr lang="es-ES" sz="1100">
                <a:ea typeface="+mn-lt"/>
                <a:cs typeface="+mn-lt"/>
              </a:rPr>
              <a:t> + </a:t>
            </a:r>
            <a:r>
              <a:rPr lang="es-ES" sz="1100" err="1">
                <a:ea typeface="+mn-lt"/>
                <a:cs typeface="+mn-lt"/>
              </a:rPr>
              <a:t>Agil</a:t>
            </a:r>
            <a:r>
              <a:rPr lang="es-ES" sz="1100">
                <a:ea typeface="+mn-lt"/>
                <a:cs typeface="+mn-lt"/>
              </a:rPr>
              <a:t> para reducir el time-to-</a:t>
            </a:r>
            <a:r>
              <a:rPr lang="es-ES" sz="1100" err="1">
                <a:ea typeface="+mn-lt"/>
                <a:cs typeface="+mn-lt"/>
              </a:rPr>
              <a:t>market</a:t>
            </a:r>
            <a:r>
              <a:rPr lang="es-ES" sz="1100">
                <a:ea typeface="+mn-lt"/>
                <a:cs typeface="+mn-lt"/>
              </a:rPr>
              <a:t>. </a:t>
            </a:r>
            <a:r>
              <a:rPr lang="es-ES" sz="1100" err="1">
                <a:ea typeface="+mn-lt"/>
                <a:cs typeface="+mn-lt"/>
              </a:rPr>
              <a:t>Gestion</a:t>
            </a:r>
            <a:r>
              <a:rPr lang="es-ES" sz="1100">
                <a:ea typeface="+mn-lt"/>
                <a:cs typeface="+mn-lt"/>
              </a:rPr>
              <a:t> de equipo.</a:t>
            </a:r>
            <a:br>
              <a:rPr lang="es-ES" sz="1100">
                <a:ea typeface="+mn-lt"/>
                <a:cs typeface="+mn-lt"/>
              </a:rPr>
            </a:br>
            <a:r>
              <a:rPr lang="es-ES" sz="1100">
                <a:ea typeface="+mn-lt"/>
                <a:cs typeface="+mn-lt"/>
              </a:rPr>
              <a:t/>
            </a:r>
            <a:br>
              <a:rPr lang="es-ES" sz="1100">
                <a:ea typeface="+mn-lt"/>
                <a:cs typeface="+mn-lt"/>
              </a:rPr>
            </a:br>
            <a:r>
              <a:rPr lang="es-ES" sz="1100">
                <a:ea typeface="+mn-lt"/>
                <a:cs typeface="+mn-lt"/>
              </a:rPr>
              <a:t>Proyectos:</a:t>
            </a:r>
            <a:br>
              <a:rPr lang="es-ES" sz="1100">
                <a:ea typeface="+mn-lt"/>
                <a:cs typeface="+mn-lt"/>
              </a:rPr>
            </a:br>
            <a:r>
              <a:rPr lang="es-ES" sz="1100">
                <a:ea typeface="+mn-lt"/>
                <a:cs typeface="+mn-lt"/>
              </a:rPr>
              <a:t>BigData como Gestor Documental ( Migración, </a:t>
            </a:r>
            <a:r>
              <a:rPr lang="es-ES" sz="1100" err="1">
                <a:ea typeface="+mn-lt"/>
                <a:cs typeface="+mn-lt"/>
              </a:rPr>
              <a:t>Analisis</a:t>
            </a:r>
            <a:r>
              <a:rPr lang="es-ES" sz="1100">
                <a:ea typeface="+mn-lt"/>
                <a:cs typeface="+mn-lt"/>
              </a:rPr>
              <a:t>, Diseño, y Puesta en Marcha)</a:t>
            </a:r>
            <a:br>
              <a:rPr lang="es-ES" sz="1100">
                <a:ea typeface="+mn-lt"/>
                <a:cs typeface="+mn-lt"/>
              </a:rPr>
            </a:br>
            <a:r>
              <a:rPr lang="es-ES" sz="1100">
                <a:ea typeface="+mn-lt"/>
                <a:cs typeface="+mn-lt"/>
              </a:rPr>
              <a:t>Implantación de MongoDB </a:t>
            </a:r>
            <a:r>
              <a:rPr lang="es-ES" sz="1100" err="1">
                <a:ea typeface="+mn-lt"/>
                <a:cs typeface="+mn-lt"/>
              </a:rPr>
              <a:t>Replicaset-Sharding</a:t>
            </a:r>
            <a:endParaRPr lang="es-ES" sz="1100">
              <a:ea typeface="+mn-lt"/>
              <a:cs typeface="+mn-lt"/>
            </a:endParaRPr>
          </a:p>
        </p:txBody>
      </p:sp>
      <p:sp>
        <p:nvSpPr>
          <p:cNvPr id="28" name="CuadroTexto 45_2"/>
          <p:cNvSpPr/>
          <p:nvPr/>
        </p:nvSpPr>
        <p:spPr>
          <a:xfrm>
            <a:off x="5312879" y="3427300"/>
            <a:ext cx="4007341" cy="2799313"/>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algn="just"/>
            <a:r>
              <a:rPr lang="es-ES" sz="1100" b="1" err="1">
                <a:ea typeface="+mn-lt"/>
                <a:cs typeface="+mn-lt"/>
              </a:rPr>
              <a:t>Accenture</a:t>
            </a:r>
            <a:r>
              <a:rPr lang="es-ES" sz="1100" b="1">
                <a:ea typeface="+mn-lt"/>
                <a:cs typeface="+mn-lt"/>
              </a:rPr>
              <a:t> (Barcelona, España)</a:t>
            </a:r>
          </a:p>
          <a:p>
            <a:pPr algn="just"/>
            <a:r>
              <a:rPr lang="es-ES" sz="1100">
                <a:ea typeface="+mn-lt"/>
                <a:cs typeface="+mn-lt"/>
              </a:rPr>
              <a:t>Senior </a:t>
            </a:r>
            <a:r>
              <a:rPr lang="es-ES" sz="1100" err="1">
                <a:ea typeface="+mn-lt"/>
                <a:cs typeface="+mn-lt"/>
              </a:rPr>
              <a:t>Developer</a:t>
            </a:r>
            <a:endParaRPr lang="es-ES" sz="1100">
              <a:ea typeface="+mn-lt"/>
              <a:cs typeface="+mn-lt"/>
            </a:endParaRPr>
          </a:p>
          <a:p>
            <a:pPr algn="just"/>
            <a:r>
              <a:rPr lang="es-ES" sz="1100" spc="-1">
                <a:ea typeface="+mn-lt"/>
                <a:cs typeface="+mn-lt"/>
              </a:rPr>
              <a:t>Proyectos:</a:t>
            </a:r>
            <a:endParaRPr lang="es-ES">
              <a:ea typeface="+mn-lt"/>
              <a:cs typeface="+mn-lt"/>
            </a:endParaRPr>
          </a:p>
          <a:p>
            <a:pPr algn="just"/>
            <a:endParaRPr lang="es-ES" sz="1100" spc="-1">
              <a:ea typeface="+mn-lt"/>
              <a:cs typeface="+mn-lt"/>
            </a:endParaRPr>
          </a:p>
          <a:p>
            <a:pPr algn="just"/>
            <a:r>
              <a:rPr lang="es-ES" sz="1100" spc="-1">
                <a:ea typeface="+mn-lt"/>
                <a:cs typeface="+mn-lt"/>
              </a:rPr>
              <a:t>DAT (Desarrollo de Arquitectura Técnica)</a:t>
            </a:r>
            <a:br>
              <a:rPr lang="es-ES" sz="1100" spc="-1">
                <a:ea typeface="+mn-lt"/>
                <a:cs typeface="+mn-lt"/>
              </a:rPr>
            </a:br>
            <a:r>
              <a:rPr lang="es-ES" sz="1100" spc="-1" err="1">
                <a:ea typeface="+mn-lt"/>
                <a:cs typeface="+mn-lt"/>
              </a:rPr>
              <a:t>Accenture</a:t>
            </a:r>
            <a:r>
              <a:rPr lang="es-ES" sz="1100" spc="-1">
                <a:ea typeface="+mn-lt"/>
                <a:cs typeface="+mn-lt"/>
              </a:rPr>
              <a:t> está ayudando en la definición de nueva Arquitectura Técnica de "la Caixa" dentro del marco de un plan de servicios estratégicos que permita alcanzar los objetivos marcados de mantener los mayores niveles de calidad, de servicio al negocio, al mismo tiempo mejorar la eficiencia y la productividad de la tecnología. </a:t>
            </a:r>
            <a:br>
              <a:rPr lang="es-ES" sz="1100" spc="-1">
                <a:ea typeface="+mn-lt"/>
                <a:cs typeface="+mn-lt"/>
              </a:rPr>
            </a:br>
            <a:r>
              <a:rPr lang="es-ES" sz="1100" spc="-1">
                <a:ea typeface="+mn-lt"/>
                <a:cs typeface="+mn-lt"/>
              </a:rPr>
              <a:t>Dentro de este proyecto he estado vinculado al área de Arquitectura de Desarrollo, concretamente a la creación y mantenimiento de las nuevas herramientas implantadas. Las características del rol adoptado son las siguientes:</a:t>
            </a:r>
            <a:br>
              <a:rPr lang="es-ES" sz="1100" spc="-1">
                <a:ea typeface="+mn-lt"/>
                <a:cs typeface="+mn-lt"/>
              </a:rPr>
            </a:br>
            <a:r>
              <a:rPr lang="es-ES" sz="1100" spc="-1">
                <a:ea typeface="+mn-lt"/>
                <a:cs typeface="+mn-lt"/>
              </a:rPr>
              <a:t> • Resolución y respuesta a las incidencias surgidas.</a:t>
            </a:r>
            <a:endParaRPr lang="es-ES" sz="1750">
              <a:ea typeface="+mn-lt"/>
              <a:cs typeface="+mn-lt"/>
            </a:endParaRPr>
          </a:p>
        </p:txBody>
      </p:sp>
      <p:sp>
        <p:nvSpPr>
          <p:cNvPr id="29" name="CuadroTexto 48_2"/>
          <p:cNvSpPr/>
          <p:nvPr/>
        </p:nvSpPr>
        <p:spPr>
          <a:xfrm>
            <a:off x="4957547" y="3469688"/>
            <a:ext cx="551123" cy="507831"/>
          </a:xfrm>
          <a:prstGeom prst="rect">
            <a:avLst/>
          </a:prstGeom>
          <a:noFill/>
        </p:spPr>
        <p:style>
          <a:lnRef idx="0">
            <a:scrgbClr r="0" g="0" b="0"/>
          </a:lnRef>
          <a:fillRef idx="0">
            <a:scrgbClr r="0" g="0" b="0"/>
          </a:fillRef>
          <a:effectRef idx="0">
            <a:scrgbClr r="0" g="0" b="0"/>
          </a:effectRef>
          <a:fontRef idx="major"/>
        </p:style>
        <p:txBody>
          <a:bodyPr wrap="square" lIns="91440" tIns="45720" rIns="91440" bIns="45720" rtlCol="0" anchor="t">
            <a:spAutoFit/>
          </a:bodyPr>
          <a:lstStyle/>
          <a:p>
            <a:r>
              <a:rPr lang="es-ES" sz="900">
                <a:ea typeface="+mn-lt"/>
                <a:cs typeface="+mn-lt"/>
              </a:rPr>
              <a:t>2010</a:t>
            </a:r>
          </a:p>
          <a:p>
            <a:r>
              <a:rPr lang="es-ES" sz="900">
                <a:ea typeface="+mn-lt"/>
                <a:cs typeface="+mn-lt"/>
              </a:rPr>
              <a:t>—</a:t>
            </a:r>
          </a:p>
          <a:p>
            <a:r>
              <a:rPr lang="es-ES" sz="900">
                <a:ea typeface="+mn-lt"/>
                <a:cs typeface="+mn-lt"/>
              </a:rPr>
              <a:t>2007</a:t>
            </a:r>
          </a:p>
        </p:txBody>
      </p:sp>
      <p:sp>
        <p:nvSpPr>
          <p:cNvPr id="32" name="CuadroTexto 39_0"/>
          <p:cNvSpPr/>
          <p:nvPr/>
        </p:nvSpPr>
        <p:spPr>
          <a:xfrm>
            <a:off x="240120" y="1312738"/>
            <a:ext cx="551520" cy="646331"/>
          </a:xfrm>
          <a:prstGeom prst="rect">
            <a:avLst/>
          </a:prstGeom>
          <a:noFill/>
        </p:spPr>
        <p:style>
          <a:lnRef idx="0">
            <a:scrgbClr r="0" g="0" b="0"/>
          </a:lnRef>
          <a:fillRef idx="0">
            <a:scrgbClr r="0" g="0" b="0"/>
          </a:fillRef>
          <a:effectRef idx="0">
            <a:scrgbClr r="0" g="0" b="0"/>
          </a:effectRef>
          <a:fontRef idx="major"/>
        </p:style>
        <p:txBody>
          <a:bodyPr wrap="square" lIns="91440" tIns="45720" rIns="91440" bIns="45720" rtlCol="0" anchor="t">
            <a:spAutoFit/>
          </a:bodyPr>
          <a:lstStyle/>
          <a:p>
            <a:r>
              <a:rPr lang="es-ES" sz="900">
                <a:ea typeface="+mn-lt"/>
                <a:cs typeface="+mn-lt"/>
              </a:rPr>
              <a:t>ACT</a:t>
            </a:r>
          </a:p>
          <a:p>
            <a:r>
              <a:rPr lang="es-ES" sz="900">
                <a:ea typeface="+mn-lt"/>
                <a:cs typeface="+mn-lt"/>
              </a:rPr>
              <a:t>—</a:t>
            </a:r>
          </a:p>
          <a:p>
            <a:r>
              <a:rPr lang="es-ES" sz="900">
                <a:ea typeface="+mn-lt"/>
                <a:cs typeface="+mn-lt"/>
              </a:rPr>
              <a:t>2017</a:t>
            </a:r>
          </a:p>
          <a:p>
            <a:endParaRPr lang="es-ES" sz="900">
              <a:ea typeface="+mn-lt"/>
              <a:cs typeface="+mn-lt"/>
            </a:endParaRPr>
          </a:p>
        </p:txBody>
      </p:sp>
      <p:sp>
        <p:nvSpPr>
          <p:cNvPr id="38" name="CuadroTexto 44_0"/>
          <p:cNvSpPr/>
          <p:nvPr/>
        </p:nvSpPr>
        <p:spPr>
          <a:xfrm>
            <a:off x="709863" y="3298963"/>
            <a:ext cx="4215600" cy="2970044"/>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r>
              <a:rPr lang="es-ES" sz="1100" b="1">
                <a:ea typeface="+mn-lt"/>
                <a:cs typeface="+mn-lt"/>
              </a:rPr>
              <a:t>Indra (Barcelona, España)</a:t>
            </a:r>
          </a:p>
          <a:p>
            <a:pPr algn="just"/>
            <a:r>
              <a:rPr lang="es-ES" sz="1100" err="1">
                <a:ea typeface="+mn-lt"/>
                <a:cs typeface="+mn-lt"/>
              </a:rPr>
              <a:t>DevOps</a:t>
            </a:r>
            <a:r>
              <a:rPr lang="es-ES" sz="1100">
                <a:ea typeface="+mn-lt"/>
                <a:cs typeface="+mn-lt"/>
              </a:rPr>
              <a:t> – </a:t>
            </a:r>
            <a:r>
              <a:rPr lang="es-ES" sz="1100" err="1">
                <a:ea typeface="+mn-lt"/>
                <a:cs typeface="+mn-lt"/>
              </a:rPr>
              <a:t>Team</a:t>
            </a:r>
            <a:r>
              <a:rPr lang="es-ES" sz="1100">
                <a:ea typeface="+mn-lt"/>
                <a:cs typeface="+mn-lt"/>
              </a:rPr>
              <a:t> Leader</a:t>
            </a:r>
          </a:p>
          <a:p>
            <a:pPr marL="170815" indent="-170815" algn="just">
              <a:buClr>
                <a:srgbClr val="1A3B47"/>
              </a:buClr>
              <a:buFont typeface="Arial,Sans-Serif"/>
              <a:buChar char="•"/>
            </a:pPr>
            <a:r>
              <a:rPr lang="es-ES" sz="1100" spc="-1">
                <a:ea typeface="+mn-lt"/>
                <a:cs typeface="+mn-lt"/>
              </a:rPr>
              <a:t>Experiencia de 4 años como Senior </a:t>
            </a:r>
            <a:r>
              <a:rPr lang="es-ES" sz="1100" spc="-1" err="1">
                <a:ea typeface="+mn-lt"/>
                <a:cs typeface="+mn-lt"/>
              </a:rPr>
              <a:t>DevOps</a:t>
            </a:r>
            <a:r>
              <a:rPr lang="es-ES" sz="1100" spc="-1">
                <a:ea typeface="+mn-lt"/>
                <a:cs typeface="+mn-lt"/>
              </a:rPr>
              <a:t> en el proyecto Zeus de Gas Natural Fenosa, definiendo procesos que permiten una integración continua, implementación continua, entrega continua y comunicación ágil entre los miembros del proyecto (desarrolladores, funcionales, sistemas, etc.) dentro del ciclo de desarrollo de software</a:t>
            </a:r>
            <a:br>
              <a:rPr lang="es-ES" sz="1100" spc="-1">
                <a:ea typeface="+mn-lt"/>
                <a:cs typeface="+mn-lt"/>
              </a:rPr>
            </a:br>
            <a:r>
              <a:rPr lang="es-ES" sz="1100" spc="-1">
                <a:ea typeface="+mn-lt"/>
                <a:cs typeface="+mn-lt"/>
              </a:rPr>
              <a:t>- Responsable del equipo de </a:t>
            </a:r>
            <a:r>
              <a:rPr lang="es-ES" sz="1100" spc="-1" err="1">
                <a:ea typeface="+mn-lt"/>
                <a:cs typeface="+mn-lt"/>
              </a:rPr>
              <a:t>Realease</a:t>
            </a:r>
            <a:r>
              <a:rPr lang="es-ES" sz="1100" spc="-1">
                <a:ea typeface="+mn-lt"/>
                <a:cs typeface="+mn-lt"/>
              </a:rPr>
              <a:t> Manager del proyecto Zeus en Indra.</a:t>
            </a:r>
            <a:br>
              <a:rPr lang="es-ES" sz="1100" spc="-1">
                <a:ea typeface="+mn-lt"/>
                <a:cs typeface="+mn-lt"/>
              </a:rPr>
            </a:br>
            <a:r>
              <a:rPr lang="es-ES" sz="1100" spc="-1">
                <a:ea typeface="+mn-lt"/>
                <a:cs typeface="+mn-lt"/>
              </a:rPr>
              <a:t>- Plantear Mejores practicas que mejoren los procesos de integración Continua.</a:t>
            </a:r>
            <a:br>
              <a:rPr lang="es-ES" sz="1100" spc="-1">
                <a:ea typeface="+mn-lt"/>
                <a:cs typeface="+mn-lt"/>
              </a:rPr>
            </a:br>
            <a:r>
              <a:rPr lang="es-ES" sz="1100" spc="-1">
                <a:ea typeface="+mn-lt"/>
                <a:cs typeface="+mn-lt"/>
              </a:rPr>
              <a:t>- Definición y cumplimiento de los SLA de entrega.</a:t>
            </a:r>
            <a:br>
              <a:rPr lang="es-ES" sz="1100" spc="-1">
                <a:ea typeface="+mn-lt"/>
                <a:cs typeface="+mn-lt"/>
              </a:rPr>
            </a:br>
            <a:r>
              <a:rPr lang="es-ES" sz="1100" spc="-1">
                <a:ea typeface="+mn-lt"/>
                <a:cs typeface="+mn-lt"/>
              </a:rPr>
              <a:t>- Consultor Arquitectura para el Proyecto GIDO (Gestión Impagados Dirigido) en Indra Colombia para el cliente </a:t>
            </a:r>
            <a:r>
              <a:rPr lang="es-ES" sz="1100" spc="-1" err="1">
                <a:ea typeface="+mn-lt"/>
                <a:cs typeface="+mn-lt"/>
              </a:rPr>
              <a:t>Electricaribe</a:t>
            </a:r>
            <a:r>
              <a:rPr lang="es-ES" sz="1100" spc="-1">
                <a:ea typeface="+mn-lt"/>
                <a:cs typeface="+mn-lt"/>
              </a:rPr>
              <a:t> implantando alta disponibilidad y continuidad de servicios.(Jul 2015 - Oct 2015)</a:t>
            </a:r>
            <a:br>
              <a:rPr lang="es-ES" sz="1100" spc="-1">
                <a:ea typeface="+mn-lt"/>
                <a:cs typeface="+mn-lt"/>
              </a:rPr>
            </a:br>
            <a:r>
              <a:rPr lang="es-ES" sz="1100" spc="-1">
                <a:ea typeface="+mn-lt"/>
                <a:cs typeface="+mn-lt"/>
              </a:rPr>
              <a:t>- Elaboración Propuesta Sistema Versión Distribuido. Migración y definición de modelo </a:t>
            </a:r>
            <a:r>
              <a:rPr lang="es-ES" sz="1100" spc="-1" err="1">
                <a:ea typeface="+mn-lt"/>
                <a:cs typeface="+mn-lt"/>
              </a:rPr>
              <a:t>multi</a:t>
            </a:r>
            <a:r>
              <a:rPr lang="es-ES" sz="1100" spc="-1">
                <a:ea typeface="+mn-lt"/>
                <a:cs typeface="+mn-lt"/>
              </a:rPr>
              <a:t>-proveedor. (2016)</a:t>
            </a:r>
          </a:p>
        </p:txBody>
      </p:sp>
      <p:sp>
        <p:nvSpPr>
          <p:cNvPr id="39" name="CuadroTexto 39_0"/>
          <p:cNvSpPr/>
          <p:nvPr/>
        </p:nvSpPr>
        <p:spPr>
          <a:xfrm>
            <a:off x="183973" y="3333331"/>
            <a:ext cx="551520" cy="646331"/>
          </a:xfrm>
          <a:prstGeom prst="rect">
            <a:avLst/>
          </a:prstGeom>
          <a:noFill/>
        </p:spPr>
        <p:style>
          <a:lnRef idx="0">
            <a:scrgbClr r="0" g="0" b="0"/>
          </a:lnRef>
          <a:fillRef idx="0">
            <a:scrgbClr r="0" g="0" b="0"/>
          </a:fillRef>
          <a:effectRef idx="0">
            <a:scrgbClr r="0" g="0" b="0"/>
          </a:effectRef>
          <a:fontRef idx="major"/>
        </p:style>
        <p:txBody>
          <a:bodyPr wrap="square" lIns="91440" tIns="45720" rIns="91440" bIns="45720" rtlCol="0" anchor="t">
            <a:spAutoFit/>
          </a:bodyPr>
          <a:lstStyle/>
          <a:p>
            <a:r>
              <a:rPr lang="es-ES" sz="900">
                <a:ea typeface="+mn-lt"/>
                <a:cs typeface="+mn-lt"/>
              </a:rPr>
              <a:t>2017</a:t>
            </a:r>
          </a:p>
          <a:p>
            <a:r>
              <a:rPr lang="es-ES" sz="900">
                <a:ea typeface="+mn-lt"/>
                <a:cs typeface="+mn-lt"/>
              </a:rPr>
              <a:t>—</a:t>
            </a:r>
          </a:p>
          <a:p>
            <a:r>
              <a:rPr lang="es-ES" sz="900">
                <a:ea typeface="+mn-lt"/>
                <a:cs typeface="+mn-lt"/>
              </a:rPr>
              <a:t>2014</a:t>
            </a:r>
          </a:p>
          <a:p>
            <a:endParaRPr lang="es-ES" sz="900">
              <a:ea typeface="+mn-lt"/>
              <a:cs typeface="+mn-lt"/>
            </a:endParaRPr>
          </a:p>
        </p:txBody>
      </p:sp>
      <p:sp>
        <p:nvSpPr>
          <p:cNvPr id="42" name="CuadroTexto 44_0"/>
          <p:cNvSpPr/>
          <p:nvPr/>
        </p:nvSpPr>
        <p:spPr>
          <a:xfrm>
            <a:off x="5400900" y="1346218"/>
            <a:ext cx="3919320" cy="195438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r>
              <a:rPr lang="es-ES" sz="1100" b="1">
                <a:ea typeface="+mn-lt"/>
                <a:cs typeface="+mn-lt"/>
              </a:rPr>
              <a:t>Indra (Barcelona, España)</a:t>
            </a:r>
          </a:p>
          <a:p>
            <a:pPr algn="just"/>
            <a:r>
              <a:rPr lang="es-ES" sz="1100" err="1">
                <a:ea typeface="+mn-lt"/>
                <a:cs typeface="+mn-lt"/>
              </a:rPr>
              <a:t>Devops</a:t>
            </a:r>
            <a:r>
              <a:rPr lang="es-ES" sz="1100">
                <a:ea typeface="+mn-lt"/>
                <a:cs typeface="+mn-lt"/>
              </a:rPr>
              <a:t> – </a:t>
            </a:r>
            <a:r>
              <a:rPr lang="es-ES" sz="1100" err="1">
                <a:ea typeface="+mn-lt"/>
                <a:cs typeface="+mn-lt"/>
              </a:rPr>
              <a:t>Release</a:t>
            </a:r>
            <a:r>
              <a:rPr lang="es-ES" sz="1100">
                <a:ea typeface="+mn-lt"/>
                <a:cs typeface="+mn-lt"/>
              </a:rPr>
              <a:t> Manager</a:t>
            </a:r>
          </a:p>
          <a:p>
            <a:pPr algn="just">
              <a:lnSpc>
                <a:spcPct val="100000"/>
              </a:lnSpc>
            </a:pPr>
            <a:endParaRPr lang="es-ES" sz="1100" b="0" strike="noStrike" spc="-1">
              <a:solidFill>
                <a:srgbClr val="FF0000"/>
              </a:solidFill>
              <a:latin typeface="Arial"/>
            </a:endParaRPr>
          </a:p>
          <a:p>
            <a:pPr algn="just"/>
            <a:r>
              <a:rPr lang="es-ES" sz="1100" spc="-1">
                <a:ea typeface="+mn-lt"/>
                <a:cs typeface="+mn-lt"/>
              </a:rPr>
              <a:t>Responsable de la integración continua, gestión de la entrega y calidad del software para Gas Natural a través de Indra, con conocimiento general de cada aspecto del desarrollo del ciclo de vida del software, manteniendo la comunicación entre los módulos para garantizar las entregas oportunas y actualizaciones con menor fricción entre los módulos.</a:t>
            </a:r>
            <a:br>
              <a:rPr lang="es-ES" sz="1100" spc="-1">
                <a:ea typeface="+mn-lt"/>
                <a:cs typeface="+mn-lt"/>
              </a:rPr>
            </a:br>
            <a:r>
              <a:rPr lang="es-ES" sz="1100" spc="-1">
                <a:ea typeface="+mn-lt"/>
                <a:cs typeface="+mn-lt"/>
              </a:rPr>
              <a:t>Identificar, crear y/o implementar los procesos para gestionar eficientemente las entregas de SW.</a:t>
            </a:r>
            <a:endParaRPr lang="es-ES"/>
          </a:p>
        </p:txBody>
      </p:sp>
      <p:sp>
        <p:nvSpPr>
          <p:cNvPr id="43" name="CuadroTexto 39_0"/>
          <p:cNvSpPr/>
          <p:nvPr/>
        </p:nvSpPr>
        <p:spPr>
          <a:xfrm>
            <a:off x="4955220" y="1312738"/>
            <a:ext cx="551520" cy="646331"/>
          </a:xfrm>
          <a:prstGeom prst="rect">
            <a:avLst/>
          </a:prstGeom>
          <a:noFill/>
        </p:spPr>
        <p:style>
          <a:lnRef idx="0">
            <a:scrgbClr r="0" g="0" b="0"/>
          </a:lnRef>
          <a:fillRef idx="0">
            <a:scrgbClr r="0" g="0" b="0"/>
          </a:fillRef>
          <a:effectRef idx="0">
            <a:scrgbClr r="0" g="0" b="0"/>
          </a:effectRef>
          <a:fontRef idx="major"/>
        </p:style>
        <p:txBody>
          <a:bodyPr wrap="square" lIns="91440" tIns="45720" rIns="91440" bIns="45720" rtlCol="0" anchor="t">
            <a:spAutoFit/>
          </a:bodyPr>
          <a:lstStyle/>
          <a:p>
            <a:r>
              <a:rPr lang="es-ES" sz="900">
                <a:ea typeface="+mn-lt"/>
                <a:cs typeface="+mn-lt"/>
              </a:rPr>
              <a:t>2014</a:t>
            </a:r>
          </a:p>
          <a:p>
            <a:r>
              <a:rPr lang="es-ES" sz="900">
                <a:ea typeface="+mn-lt"/>
                <a:cs typeface="+mn-lt"/>
              </a:rPr>
              <a:t>—</a:t>
            </a:r>
          </a:p>
          <a:p>
            <a:r>
              <a:rPr lang="es-ES" sz="900">
                <a:ea typeface="+mn-lt"/>
                <a:cs typeface="+mn-lt"/>
              </a:rPr>
              <a:t>2011</a:t>
            </a:r>
          </a:p>
          <a:p>
            <a:endParaRPr lang="es-ES" sz="900">
              <a:ea typeface="+mn-lt"/>
              <a:cs typeface="+mn-lt"/>
            </a:endParaRPr>
          </a:p>
        </p:txBody>
      </p:sp>
      <p:sp>
        <p:nvSpPr>
          <p:cNvPr id="2" name="CuadroTexto 1">
            <a:extLst>
              <a:ext uri="{FF2B5EF4-FFF2-40B4-BE49-F238E27FC236}">
                <a16:creationId xmlns:a16="http://schemas.microsoft.com/office/drawing/2014/main" id="{4A579C97-1D69-4190-BC22-30729C62B112}"/>
              </a:ext>
            </a:extLst>
          </p:cNvPr>
          <p:cNvSpPr txBox="1"/>
          <p:nvPr/>
        </p:nvSpPr>
        <p:spPr>
          <a:xfrm>
            <a:off x="9384575" y="349967"/>
            <a:ext cx="551757" cy="507831"/>
          </a:xfrm>
          <a:prstGeom prst="rect">
            <a:avLst/>
          </a:prstGeom>
          <a:noFill/>
        </p:spPr>
        <p:txBody>
          <a:bodyPr wrap="square" lIns="91440" tIns="45720" rIns="91440" bIns="45720" rtlCol="0" anchor="t">
            <a:spAutoFit/>
          </a:bodyPr>
          <a:lstStyle/>
          <a:p>
            <a:r>
              <a:rPr lang="es-ES" sz="900">
                <a:latin typeface="Soho Gothic Pro Medium"/>
              </a:rPr>
              <a:t>2007</a:t>
            </a:r>
            <a:endParaRPr lang="es-ES" sz="900">
              <a:latin typeface="Soho Gothic Pro Medium" panose="020B0503030504020204" pitchFamily="34" charset="77"/>
            </a:endParaRPr>
          </a:p>
          <a:p>
            <a:r>
              <a:rPr lang="es-ES" sz="900">
                <a:latin typeface="Soho Gothic Pro Medium"/>
              </a:rPr>
              <a:t>—</a:t>
            </a:r>
          </a:p>
          <a:p>
            <a:r>
              <a:rPr lang="es-ES" sz="900">
                <a:latin typeface="Soho Gothic Pro Medium"/>
              </a:rPr>
              <a:t>1999</a:t>
            </a:r>
            <a:endParaRPr lang="es-ES" sz="900">
              <a:latin typeface="Soho Gothic Pro Medium" panose="020B0503030504020204" pitchFamily="34" charset="77"/>
            </a:endParaRPr>
          </a:p>
        </p:txBody>
      </p:sp>
      <p:sp>
        <p:nvSpPr>
          <p:cNvPr id="31" name="CuadroTexto 70_0">
            <a:extLst>
              <a:ext uri="{FF2B5EF4-FFF2-40B4-BE49-F238E27FC236}">
                <a16:creationId xmlns:a16="http://schemas.microsoft.com/office/drawing/2014/main" id="{3CBEFAF4-7584-44CC-BE11-526C74E56DA0}"/>
              </a:ext>
            </a:extLst>
          </p:cNvPr>
          <p:cNvSpPr/>
          <p:nvPr/>
        </p:nvSpPr>
        <p:spPr>
          <a:xfrm>
            <a:off x="9834899" y="867843"/>
            <a:ext cx="2356980" cy="369332"/>
          </a:xfrm>
          <a:prstGeom prst="rect">
            <a:avLst/>
          </a:prstGeom>
          <a:noFill/>
        </p:spPr>
        <p:txBody>
          <a:bodyPr wrap="square" lIns="91440" tIns="45720" rIns="91440" bIns="45720" rtlCol="0" anchor="t">
            <a:spAutoFit/>
          </a:bodyPr>
          <a:lstStyle/>
          <a:p>
            <a:r>
              <a:rPr lang="es-ES" sz="900" b="1">
                <a:solidFill>
                  <a:srgbClr val="1A3B47"/>
                </a:solidFill>
                <a:latin typeface="Soho Gothic Pro"/>
              </a:rPr>
              <a:t>Master de BigData </a:t>
            </a:r>
            <a:endParaRPr lang="es-ES">
              <a:solidFill>
                <a:srgbClr val="1A3B47"/>
              </a:solidFill>
              <a:latin typeface="Soho Gothic Pro"/>
            </a:endParaRPr>
          </a:p>
          <a:p>
            <a:r>
              <a:rPr lang="es-ES" sz="900">
                <a:solidFill>
                  <a:srgbClr val="1A3B47"/>
                </a:solidFill>
                <a:latin typeface="Soho Gothic Pro"/>
              </a:rPr>
              <a:t>La Salle BCN - España</a:t>
            </a:r>
            <a:endParaRPr lang="es-ES" sz="1750">
              <a:latin typeface="Soho Gothic Pro"/>
            </a:endParaRPr>
          </a:p>
        </p:txBody>
      </p:sp>
      <p:sp>
        <p:nvSpPr>
          <p:cNvPr id="33" name="CuadroTexto 32">
            <a:extLst>
              <a:ext uri="{FF2B5EF4-FFF2-40B4-BE49-F238E27FC236}">
                <a16:creationId xmlns:a16="http://schemas.microsoft.com/office/drawing/2014/main" id="{8A4A29EB-B0FB-45BF-9DA3-CA06DA01D0F8}"/>
              </a:ext>
            </a:extLst>
          </p:cNvPr>
          <p:cNvSpPr txBox="1"/>
          <p:nvPr/>
        </p:nvSpPr>
        <p:spPr>
          <a:xfrm>
            <a:off x="9361714" y="860507"/>
            <a:ext cx="551757" cy="507831"/>
          </a:xfrm>
          <a:prstGeom prst="rect">
            <a:avLst/>
          </a:prstGeom>
          <a:noFill/>
        </p:spPr>
        <p:txBody>
          <a:bodyPr wrap="square" lIns="91440" tIns="45720" rIns="91440" bIns="45720" rtlCol="0" anchor="t">
            <a:spAutoFit/>
          </a:bodyPr>
          <a:lstStyle/>
          <a:p>
            <a:r>
              <a:rPr lang="es-ES" sz="900">
                <a:latin typeface="Soho Gothic Pro Medium"/>
              </a:rPr>
              <a:t>2016</a:t>
            </a:r>
            <a:endParaRPr lang="es-ES" sz="900">
              <a:latin typeface="Soho Gothic Pro Medium" panose="020B0503030504020204" pitchFamily="34" charset="77"/>
            </a:endParaRPr>
          </a:p>
          <a:p>
            <a:r>
              <a:rPr lang="es-ES" sz="900">
                <a:latin typeface="Soho Gothic Pro Medium"/>
              </a:rPr>
              <a:t>—</a:t>
            </a:r>
          </a:p>
          <a:p>
            <a:r>
              <a:rPr lang="es-ES" sz="900">
                <a:latin typeface="Soho Gothic Pro Medium"/>
              </a:rPr>
              <a:t>2015</a:t>
            </a:r>
            <a:endParaRPr lang="es-ES" sz="900">
              <a:latin typeface="Soho Gothic Pro Medium" panose="020B0503030504020204" pitchFamily="34" charset="77"/>
            </a:endParaRPr>
          </a:p>
        </p:txBody>
      </p:sp>
      <p:sp>
        <p:nvSpPr>
          <p:cNvPr id="3" name="CuadroTexto 2">
            <a:extLst>
              <a:ext uri="{FF2B5EF4-FFF2-40B4-BE49-F238E27FC236}">
                <a16:creationId xmlns:a16="http://schemas.microsoft.com/office/drawing/2014/main" id="{7164B6B4-A9D9-4833-8977-76B204144180}"/>
              </a:ext>
            </a:extLst>
          </p:cNvPr>
          <p:cNvSpPr txBox="1"/>
          <p:nvPr/>
        </p:nvSpPr>
        <p:spPr>
          <a:xfrm>
            <a:off x="9412195" y="1572280"/>
            <a:ext cx="2710627" cy="553998"/>
          </a:xfrm>
          <a:prstGeom prst="rect">
            <a:avLst/>
          </a:prstGeom>
          <a:noFill/>
        </p:spPr>
        <p:txBody>
          <a:bodyPr wrap="square" lIns="91440" tIns="45720" rIns="91440" bIns="45720" rtlCol="0" anchor="t">
            <a:spAutoFit/>
          </a:bodyPr>
          <a:lstStyle/>
          <a:p>
            <a:r>
              <a:rPr lang="es-ES" sz="1000">
                <a:ea typeface="+mn-lt"/>
                <a:cs typeface="+mn-lt"/>
              </a:rPr>
              <a:t>2014</a:t>
            </a:r>
            <a:endParaRPr lang="en-US" sz="1000">
              <a:ea typeface="+mn-lt"/>
              <a:cs typeface="+mn-lt"/>
            </a:endParaRPr>
          </a:p>
          <a:p>
            <a:r>
              <a:rPr lang="es-ES" sz="1000" b="1">
                <a:ea typeface="+mn-lt"/>
                <a:cs typeface="+mn-lt"/>
              </a:rPr>
              <a:t>ITIL® </a:t>
            </a:r>
            <a:r>
              <a:rPr lang="es-ES" sz="1000" b="1" err="1">
                <a:ea typeface="+mn-lt"/>
                <a:cs typeface="+mn-lt"/>
              </a:rPr>
              <a:t>Release</a:t>
            </a:r>
            <a:r>
              <a:rPr lang="es-ES" sz="1000" b="1">
                <a:ea typeface="+mn-lt"/>
                <a:cs typeface="+mn-lt"/>
              </a:rPr>
              <a:t>, Control and </a:t>
            </a:r>
            <a:r>
              <a:rPr lang="es-ES" sz="1000" b="1" err="1">
                <a:ea typeface="+mn-lt"/>
                <a:cs typeface="+mn-lt"/>
              </a:rPr>
              <a:t>Validation</a:t>
            </a:r>
            <a:r>
              <a:rPr lang="es-ES" sz="1000" b="1">
                <a:ea typeface="+mn-lt"/>
                <a:cs typeface="+mn-lt"/>
              </a:rPr>
              <a:t> </a:t>
            </a:r>
            <a:r>
              <a:rPr lang="es-ES" sz="1000" b="1" err="1">
                <a:ea typeface="+mn-lt"/>
                <a:cs typeface="+mn-lt"/>
              </a:rPr>
              <a:t>Certificate</a:t>
            </a:r>
            <a:endParaRPr lang="en-US" b="1"/>
          </a:p>
          <a:p>
            <a:r>
              <a:rPr lang="en-US" sz="1000">
                <a:ea typeface="+mn-lt"/>
                <a:cs typeface="+mn-lt"/>
              </a:rPr>
              <a:t>4772352.20340172</a:t>
            </a:r>
            <a:endParaRPr lang="es-ES"/>
          </a:p>
        </p:txBody>
      </p:sp>
      <p:sp>
        <p:nvSpPr>
          <p:cNvPr id="4" name="CuadroTexto 50_0">
            <a:extLst>
              <a:ext uri="{FF2B5EF4-FFF2-40B4-BE49-F238E27FC236}">
                <a16:creationId xmlns:a16="http://schemas.microsoft.com/office/drawing/2014/main" id="{9DF582D1-391C-4737-B221-962D5FB3D2B7}"/>
              </a:ext>
            </a:extLst>
          </p:cNvPr>
          <p:cNvSpPr/>
          <p:nvPr/>
        </p:nvSpPr>
        <p:spPr>
          <a:xfrm>
            <a:off x="9414120" y="3174480"/>
            <a:ext cx="2864400" cy="861774"/>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t>2020 | </a:t>
            </a:r>
            <a:r>
              <a:rPr lang="es-ES" sz="1000" spc="-1">
                <a:ea typeface="+mn-lt"/>
                <a:cs typeface="+mn-lt"/>
              </a:rPr>
              <a:t>PMI Agile </a:t>
            </a:r>
            <a:r>
              <a:rPr lang="es-ES" sz="1000" spc="-1" err="1">
                <a:ea typeface="+mn-lt"/>
                <a:cs typeface="+mn-lt"/>
              </a:rPr>
              <a:t>Certified</a:t>
            </a:r>
            <a:r>
              <a:rPr lang="es-ES" sz="1000" spc="-1">
                <a:ea typeface="+mn-lt"/>
                <a:cs typeface="+mn-lt"/>
              </a:rPr>
              <a:t> </a:t>
            </a:r>
            <a:r>
              <a:rPr lang="es-ES" sz="1000" spc="-1" err="1">
                <a:ea typeface="+mn-lt"/>
                <a:cs typeface="+mn-lt"/>
              </a:rPr>
              <a:t>Practitioner</a:t>
            </a:r>
            <a:r>
              <a:rPr lang="es-ES" sz="1000" spc="-1">
                <a:ea typeface="+mn-lt"/>
                <a:cs typeface="+mn-lt"/>
              </a:rPr>
              <a:t> (PMI-ACP)</a:t>
            </a:r>
            <a:endParaRPr lang="es-ES" sz="1000" spc="-1"/>
          </a:p>
          <a:p>
            <a:r>
              <a:rPr lang="es-ES" sz="1000" spc="-1"/>
              <a:t>2021 | MongoDB – </a:t>
            </a:r>
            <a:r>
              <a:rPr lang="es-ES" sz="1000" spc="-1" err="1"/>
              <a:t>MongoUnivesity</a:t>
            </a:r>
            <a:r>
              <a:rPr lang="es-ES" sz="1000" spc="-1"/>
              <a:t> (</a:t>
            </a:r>
            <a:r>
              <a:rPr lang="es-ES" sz="1000" spc="-1" err="1"/>
              <a:t>Developer</a:t>
            </a:r>
            <a:r>
              <a:rPr lang="es-ES" sz="1000" spc="-1"/>
              <a:t>-DBA)</a:t>
            </a:r>
          </a:p>
          <a:p>
            <a:r>
              <a:rPr lang="es-ES" sz="1000" spc="-1"/>
              <a:t>2021 | Curso </a:t>
            </a:r>
            <a:r>
              <a:rPr lang="es-ES" sz="1000" spc="-1" err="1"/>
              <a:t>Scala</a:t>
            </a:r>
            <a:r>
              <a:rPr lang="es-ES" sz="1000" spc="-1"/>
              <a:t> and </a:t>
            </a:r>
            <a:r>
              <a:rPr lang="es-ES" sz="1000" spc="-1" err="1"/>
              <a:t>Spark</a:t>
            </a:r>
            <a:r>
              <a:rPr lang="es-ES" sz="1000" spc="-1"/>
              <a:t> </a:t>
            </a:r>
            <a:r>
              <a:rPr lang="es-ES" sz="1000" spc="-1" err="1"/>
              <a:t>for</a:t>
            </a:r>
            <a:r>
              <a:rPr lang="es-ES" sz="1000" spc="-1"/>
              <a:t> Big Data and Machine Learning</a:t>
            </a:r>
            <a:endParaRPr lang="es-ES"/>
          </a:p>
        </p:txBody>
      </p:sp>
      <p:sp>
        <p:nvSpPr>
          <p:cNvPr id="5" name="CuadroTexto 33_0">
            <a:extLst>
              <a:ext uri="{FF2B5EF4-FFF2-40B4-BE49-F238E27FC236}">
                <a16:creationId xmlns:a16="http://schemas.microsoft.com/office/drawing/2014/main" id="{16AB6EE5-F9F4-474B-9738-14AFD747BED4}"/>
              </a:ext>
            </a:extLst>
          </p:cNvPr>
          <p:cNvSpPr/>
          <p:nvPr/>
        </p:nvSpPr>
        <p:spPr>
          <a:xfrm>
            <a:off x="9509520" y="294588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spc="-1">
                <a:latin typeface="Soho Gothic Pro"/>
              </a:rPr>
              <a:t>Cursos Relevantes</a:t>
            </a:r>
          </a:p>
        </p:txBody>
      </p:sp>
      <p:sp>
        <p:nvSpPr>
          <p:cNvPr id="6" name="CuadroTexto 5">
            <a:extLst>
              <a:ext uri="{FF2B5EF4-FFF2-40B4-BE49-F238E27FC236}">
                <a16:creationId xmlns:a16="http://schemas.microsoft.com/office/drawing/2014/main" id="{EB34A4A0-AC18-4E8B-93F0-D05CE1706464}"/>
              </a:ext>
            </a:extLst>
          </p:cNvPr>
          <p:cNvSpPr txBox="1"/>
          <p:nvPr/>
        </p:nvSpPr>
        <p:spPr>
          <a:xfrm>
            <a:off x="9425940" y="2209800"/>
            <a:ext cx="2743200" cy="707886"/>
          </a:xfrm>
          <a:prstGeom prst="rect">
            <a:avLst/>
          </a:prstGeom>
          <a:noFill/>
        </p:spPr>
        <p:txBody>
          <a:bodyPr wrap="square" lIns="91440" tIns="45720" rIns="91440" bIns="45720" rtlCol="0" anchor="t">
            <a:spAutoFit/>
          </a:bodyPr>
          <a:lstStyle/>
          <a:p>
            <a:r>
              <a:rPr lang="es-ES" sz="1000">
                <a:ea typeface="+mn-lt"/>
                <a:cs typeface="+mn-lt"/>
              </a:rPr>
              <a:t>2013 </a:t>
            </a:r>
            <a:r>
              <a:rPr lang="en-US" sz="1000">
                <a:ea typeface="+mn-lt"/>
                <a:cs typeface="+mn-lt"/>
              </a:rPr>
              <a:t>​</a:t>
            </a:r>
          </a:p>
          <a:p>
            <a:r>
              <a:rPr lang="es-ES" sz="1000" b="1">
                <a:ea typeface="+mn-lt"/>
                <a:cs typeface="+mn-lt"/>
              </a:rPr>
              <a:t>ITIL® </a:t>
            </a:r>
            <a:r>
              <a:rPr lang="es-ES" sz="1000" b="1" err="1">
                <a:ea typeface="+mn-lt"/>
                <a:cs typeface="+mn-lt"/>
              </a:rPr>
              <a:t>Foundation</a:t>
            </a:r>
            <a:r>
              <a:rPr lang="es-ES" sz="1000" b="1">
                <a:ea typeface="+mn-lt"/>
                <a:cs typeface="+mn-lt"/>
              </a:rPr>
              <a:t> </a:t>
            </a:r>
            <a:r>
              <a:rPr lang="es-ES" sz="1000" b="1" err="1">
                <a:ea typeface="+mn-lt"/>
                <a:cs typeface="+mn-lt"/>
              </a:rPr>
              <a:t>Certificate</a:t>
            </a:r>
            <a:r>
              <a:rPr lang="es-ES" sz="1000" b="1">
                <a:ea typeface="+mn-lt"/>
                <a:cs typeface="+mn-lt"/>
              </a:rPr>
              <a:t> in IT </a:t>
            </a:r>
            <a:r>
              <a:rPr lang="es-ES" sz="1000" b="1" err="1">
                <a:ea typeface="+mn-lt"/>
                <a:cs typeface="+mn-lt"/>
              </a:rPr>
              <a:t>Service</a:t>
            </a:r>
            <a:r>
              <a:rPr lang="es-ES" sz="1000" b="1">
                <a:ea typeface="+mn-lt"/>
                <a:cs typeface="+mn-lt"/>
              </a:rPr>
              <a:t> Management​</a:t>
            </a:r>
          </a:p>
          <a:p>
            <a:r>
              <a:rPr lang="en-US" sz="1000">
                <a:ea typeface="+mn-lt"/>
                <a:cs typeface="+mn-lt"/>
              </a:rPr>
              <a:t>4772352.1221958</a:t>
            </a:r>
          </a:p>
        </p:txBody>
      </p:sp>
      <p:sp>
        <p:nvSpPr>
          <p:cNvPr id="7" name="CuadroTexto 6">
            <a:extLst>
              <a:ext uri="{FF2B5EF4-FFF2-40B4-BE49-F238E27FC236}">
                <a16:creationId xmlns:a16="http://schemas.microsoft.com/office/drawing/2014/main" id="{70453469-463F-4104-85D2-65E3C0A2FD45}"/>
              </a:ext>
            </a:extLst>
          </p:cNvPr>
          <p:cNvSpPr txBox="1"/>
          <p:nvPr/>
        </p:nvSpPr>
        <p:spPr>
          <a:xfrm>
            <a:off x="9555904" y="4178621"/>
            <a:ext cx="1965960" cy="276999"/>
          </a:xfrm>
          <a:prstGeom prst="rect">
            <a:avLst/>
          </a:prstGeom>
          <a:noFill/>
        </p:spPr>
        <p:txBody>
          <a:bodyPr wrap="square" rtlCol="0">
            <a:spAutoFit/>
          </a:bodyPr>
          <a:lstStyle/>
          <a:p>
            <a:r>
              <a:rPr lang="es-ES" sz="1200">
                <a:solidFill>
                  <a:schemeClr val="tx1">
                    <a:lumMod val="95000"/>
                    <a:lumOff val="5000"/>
                  </a:schemeClr>
                </a:solidFill>
                <a:latin typeface="Soho Gothic Pro" panose="020B0503030504020204" pitchFamily="34" charset="77"/>
              </a:rPr>
              <a:t>IT</a:t>
            </a:r>
          </a:p>
        </p:txBody>
      </p:sp>
      <p:sp>
        <p:nvSpPr>
          <p:cNvPr id="8" name="CuadroTexto 7">
            <a:extLst>
              <a:ext uri="{FF2B5EF4-FFF2-40B4-BE49-F238E27FC236}">
                <a16:creationId xmlns:a16="http://schemas.microsoft.com/office/drawing/2014/main" id="{2642A1BD-342B-49B6-BE0A-A953C0B191A1}"/>
              </a:ext>
            </a:extLst>
          </p:cNvPr>
          <p:cNvSpPr txBox="1"/>
          <p:nvPr/>
        </p:nvSpPr>
        <p:spPr>
          <a:xfrm>
            <a:off x="9365404" y="4347356"/>
            <a:ext cx="2823739" cy="1323439"/>
          </a:xfrm>
          <a:prstGeom prst="rect">
            <a:avLst/>
          </a:prstGeom>
          <a:noFill/>
        </p:spPr>
        <p:txBody>
          <a:bodyPr wrap="square" lIns="91440" tIns="45720" rIns="91440" bIns="45720" rtlCol="0" anchor="t">
            <a:spAutoFit/>
          </a:bodyPr>
          <a:lstStyle/>
          <a:p>
            <a:r>
              <a:rPr lang="es-ES" sz="1000" b="1">
                <a:ea typeface="+mn-lt"/>
                <a:cs typeface="+mn-lt"/>
              </a:rPr>
              <a:t>Lenguajes Programación:</a:t>
            </a:r>
            <a:r>
              <a:rPr lang="es-ES" sz="1000">
                <a:ea typeface="+mn-lt"/>
                <a:cs typeface="+mn-lt"/>
              </a:rPr>
              <a:t> </a:t>
            </a:r>
            <a:r>
              <a:rPr lang="es-ES" sz="1000" i="1">
                <a:ea typeface="+mn-lt"/>
                <a:cs typeface="+mn-lt"/>
              </a:rPr>
              <a:t>Java, </a:t>
            </a:r>
            <a:r>
              <a:rPr lang="es-ES" sz="1000" i="1" err="1">
                <a:ea typeface="+mn-lt"/>
                <a:cs typeface="+mn-lt"/>
              </a:rPr>
              <a:t>Scala</a:t>
            </a:r>
            <a:r>
              <a:rPr lang="es-ES" sz="1000" i="1">
                <a:ea typeface="+mn-lt"/>
                <a:cs typeface="+mn-lt"/>
              </a:rPr>
              <a:t>, </a:t>
            </a:r>
            <a:r>
              <a:rPr lang="es-ES" sz="1000" i="1" err="1">
                <a:ea typeface="+mn-lt"/>
                <a:cs typeface="+mn-lt"/>
              </a:rPr>
              <a:t>Pyhton</a:t>
            </a:r>
            <a:endParaRPr lang="es-ES" sz="1000">
              <a:ea typeface="+mn-lt"/>
              <a:cs typeface="+mn-lt"/>
            </a:endParaRPr>
          </a:p>
          <a:p>
            <a:r>
              <a:rPr lang="es-ES" sz="1000" b="1">
                <a:ea typeface="+mn-lt"/>
                <a:cs typeface="+mn-lt"/>
              </a:rPr>
              <a:t>Scripting :</a:t>
            </a:r>
            <a:r>
              <a:rPr lang="es-ES" sz="1000">
                <a:ea typeface="+mn-lt"/>
                <a:cs typeface="+mn-lt"/>
              </a:rPr>
              <a:t> </a:t>
            </a:r>
            <a:r>
              <a:rPr lang="es-ES" sz="1000" err="1">
                <a:ea typeface="+mn-lt"/>
                <a:cs typeface="+mn-lt"/>
              </a:rPr>
              <a:t>Bash</a:t>
            </a:r>
            <a:r>
              <a:rPr lang="es-ES" sz="1000">
                <a:ea typeface="+mn-lt"/>
                <a:cs typeface="+mn-lt"/>
              </a:rPr>
              <a:t>-Shell</a:t>
            </a:r>
            <a:endParaRPr lang="es-ES" sz="1000" i="1">
              <a:ea typeface="+mn-lt"/>
              <a:cs typeface="+mn-lt"/>
            </a:endParaRPr>
          </a:p>
          <a:p>
            <a:r>
              <a:rPr lang="es-ES" sz="1000" b="1">
                <a:ea typeface="+mn-lt"/>
                <a:cs typeface="+mn-lt"/>
              </a:rPr>
              <a:t>BBDD:</a:t>
            </a:r>
            <a:r>
              <a:rPr lang="es-ES" sz="1000">
                <a:ea typeface="+mn-lt"/>
                <a:cs typeface="+mn-lt"/>
              </a:rPr>
              <a:t> </a:t>
            </a:r>
            <a:r>
              <a:rPr lang="es-ES" sz="1000" i="1" err="1">
                <a:ea typeface="+mn-lt"/>
                <a:cs typeface="+mn-lt"/>
              </a:rPr>
              <a:t>Hive</a:t>
            </a:r>
            <a:r>
              <a:rPr lang="es-ES" sz="1000" i="1">
                <a:ea typeface="+mn-lt"/>
                <a:cs typeface="+mn-lt"/>
              </a:rPr>
              <a:t>/Impala, </a:t>
            </a:r>
            <a:r>
              <a:rPr lang="es-ES" sz="1000" i="1" err="1">
                <a:ea typeface="+mn-lt"/>
                <a:cs typeface="+mn-lt"/>
              </a:rPr>
              <a:t>Kudu</a:t>
            </a:r>
            <a:r>
              <a:rPr lang="es-ES" sz="1000" i="1">
                <a:ea typeface="+mn-lt"/>
                <a:cs typeface="+mn-lt"/>
              </a:rPr>
              <a:t>, Oracle, </a:t>
            </a:r>
            <a:r>
              <a:rPr lang="es-ES" sz="1000" i="1" err="1">
                <a:ea typeface="+mn-lt"/>
                <a:cs typeface="+mn-lt"/>
              </a:rPr>
              <a:t>ProstgreSQL</a:t>
            </a:r>
            <a:r>
              <a:rPr lang="es-ES" sz="1000" i="1">
                <a:ea typeface="+mn-lt"/>
                <a:cs typeface="+mn-lt"/>
              </a:rPr>
              <a:t>, MongoDB</a:t>
            </a:r>
            <a:endParaRPr lang="en-US" sz="1000">
              <a:ea typeface="+mn-lt"/>
              <a:cs typeface="+mn-lt"/>
            </a:endParaRPr>
          </a:p>
          <a:p>
            <a:r>
              <a:rPr lang="es-ES" sz="1000" b="1" i="1">
                <a:ea typeface="+mn-lt"/>
                <a:cs typeface="+mn-lt"/>
              </a:rPr>
              <a:t>SCM</a:t>
            </a:r>
            <a:r>
              <a:rPr lang="es-ES" sz="1000">
                <a:ea typeface="+mn-lt"/>
                <a:cs typeface="+mn-lt"/>
              </a:rPr>
              <a:t>: SVN, </a:t>
            </a:r>
            <a:r>
              <a:rPr lang="es-ES" sz="1000" i="1">
                <a:ea typeface="+mn-lt"/>
                <a:cs typeface="+mn-lt"/>
              </a:rPr>
              <a:t>GIT</a:t>
            </a:r>
            <a:endParaRPr lang="en-US" sz="1000">
              <a:ea typeface="+mn-lt"/>
              <a:cs typeface="+mn-lt"/>
            </a:endParaRPr>
          </a:p>
          <a:p>
            <a:r>
              <a:rPr lang="es-ES" sz="1000" b="1" i="1">
                <a:ea typeface="+mn-lt"/>
                <a:cs typeface="+mn-lt"/>
              </a:rPr>
              <a:t>CI:</a:t>
            </a:r>
            <a:r>
              <a:rPr lang="es-ES" sz="1000" i="1">
                <a:ea typeface="+mn-lt"/>
                <a:cs typeface="+mn-lt"/>
              </a:rPr>
              <a:t> Jenkins</a:t>
            </a:r>
          </a:p>
          <a:p>
            <a:r>
              <a:rPr lang="es-ES" sz="1000" b="1">
                <a:ea typeface="+mn-lt"/>
                <a:cs typeface="+mn-lt"/>
              </a:rPr>
              <a:t>Otras tecnologías:</a:t>
            </a:r>
            <a:r>
              <a:rPr lang="es-ES" sz="1000" i="1">
                <a:ea typeface="+mn-lt"/>
                <a:cs typeface="+mn-lt"/>
              </a:rPr>
              <a:t> </a:t>
            </a:r>
            <a:r>
              <a:rPr lang="es-ES" sz="1000" i="1" err="1">
                <a:ea typeface="+mn-lt"/>
                <a:cs typeface="+mn-lt"/>
              </a:rPr>
              <a:t>Springboot,kerberos,Spark</a:t>
            </a:r>
            <a:r>
              <a:rPr lang="es-ES" sz="1000" i="1">
                <a:ea typeface="+mn-lt"/>
                <a:cs typeface="+mn-lt"/>
              </a:rPr>
              <a:t>, </a:t>
            </a:r>
            <a:r>
              <a:rPr lang="es-ES" sz="1000" i="1" err="1">
                <a:ea typeface="+mn-lt"/>
                <a:cs typeface="+mn-lt"/>
              </a:rPr>
              <a:t>docker</a:t>
            </a:r>
            <a:r>
              <a:rPr lang="es-ES" sz="1000" i="1">
                <a:ea typeface="+mn-lt"/>
                <a:cs typeface="+mn-lt"/>
              </a:rPr>
              <a:t>, </a:t>
            </a:r>
            <a:r>
              <a:rPr lang="es-ES" sz="1000" i="1" err="1">
                <a:ea typeface="+mn-lt"/>
                <a:cs typeface="+mn-lt"/>
              </a:rPr>
              <a:t>kubenetes</a:t>
            </a:r>
            <a:r>
              <a:rPr lang="es-ES" sz="1000" i="1">
                <a:ea typeface="+mn-lt"/>
                <a:cs typeface="+mn-lt"/>
              </a:rPr>
              <a:t>, </a:t>
            </a:r>
            <a:r>
              <a:rPr lang="es-ES" sz="1000" i="1" err="1">
                <a:ea typeface="+mn-lt"/>
                <a:cs typeface="+mn-lt"/>
              </a:rPr>
              <a:t>Cloudera</a:t>
            </a:r>
            <a:endParaRPr lang="en-US"/>
          </a:p>
        </p:txBody>
      </p:sp>
    </p:spTree>
    <p:extLst>
      <p:ext uri="{BB962C8B-B14F-4D97-AF65-F5344CB8AC3E}">
        <p14:creationId xmlns:p14="http://schemas.microsoft.com/office/powerpoint/2010/main" val="37769124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461665"/>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marL="0" lvl="1" algn="just" defTabSz="914377">
              <a:buClr>
                <a:srgbClr val="1A3B47"/>
              </a:buClr>
              <a:defRPr b="0" i="0"/>
            </a:pPr>
            <a:r>
              <a:rPr lang="es-ES" sz="1200" spc="-1">
                <a:solidFill>
                  <a:srgbClr val="1A3B47"/>
                </a:solidFill>
                <a:ea typeface="Soho Gothic Pro Light"/>
              </a:rPr>
              <a:t>Ingeniero de Datos con 2</a:t>
            </a:r>
            <a:r>
              <a:rPr lang="es-ES" sz="1200">
                <a:solidFill>
                  <a:srgbClr val="1A3B47"/>
                </a:solidFill>
              </a:rPr>
              <a:t> años de experiencia TIC en total, integrando plataformas tradicionales con Big Data para la </a:t>
            </a:r>
            <a:r>
              <a:rPr lang="es-ES" sz="1200" err="1">
                <a:solidFill>
                  <a:srgbClr val="1A3B47"/>
                </a:solidFill>
              </a:rPr>
              <a:t>Agència</a:t>
            </a:r>
            <a:r>
              <a:rPr lang="es-ES" sz="1200">
                <a:solidFill>
                  <a:srgbClr val="1A3B47"/>
                </a:solidFill>
              </a:rPr>
              <a:t> </a:t>
            </a:r>
            <a:r>
              <a:rPr lang="es-ES" sz="1200" err="1">
                <a:solidFill>
                  <a:srgbClr val="1A3B47"/>
                </a:solidFill>
              </a:rPr>
              <a:t>Tributària</a:t>
            </a:r>
            <a:r>
              <a:rPr lang="es-ES" sz="1200">
                <a:solidFill>
                  <a:srgbClr val="1A3B47"/>
                </a:solidFill>
              </a:rPr>
              <a:t> de Catalunya, con énfasis en la parte de arquitectura</a:t>
            </a:r>
            <a:endParaRPr lang="es-ES" sz="1067">
              <a:solidFill>
                <a:srgbClr val="1A3B47"/>
              </a:solidFill>
            </a:endParaRPr>
          </a:p>
        </p:txBody>
      </p:sp>
      <p:sp>
        <p:nvSpPr>
          <p:cNvPr id="102" name="CuadroTexto 54_0"/>
          <p:cNvSpPr/>
          <p:nvPr/>
        </p:nvSpPr>
        <p:spPr>
          <a:xfrm>
            <a:off x="9473514" y="3348481"/>
            <a:ext cx="1608840" cy="306323"/>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400" b="0" strike="noStrike" spc="-1">
                <a:solidFill>
                  <a:srgbClr val="1A3B47"/>
                </a:solidFill>
                <a:latin typeface="Soho Gothic Pro"/>
              </a:rPr>
              <a:t>Idiomas</a:t>
            </a:r>
            <a:endParaRPr lang="es-ES" sz="1400" b="0" strike="noStrike" spc="-1">
              <a:solidFill>
                <a:srgbClr val="1A3B47"/>
              </a:solidFill>
              <a:latin typeface="Arial"/>
            </a:endParaRPr>
          </a:p>
        </p:txBody>
      </p:sp>
      <p:sp>
        <p:nvSpPr>
          <p:cNvPr id="103" name="CuadroTexto 55_0"/>
          <p:cNvSpPr/>
          <p:nvPr/>
        </p:nvSpPr>
        <p:spPr>
          <a:xfrm>
            <a:off x="9396012" y="3676445"/>
            <a:ext cx="2712240" cy="1323439"/>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trike="noStrike" spc="-1">
                <a:ea typeface="+mn-lt"/>
                <a:cs typeface="+mn-lt"/>
              </a:rPr>
              <a:t>Castellano - </a:t>
            </a:r>
            <a:r>
              <a:rPr lang="es-ES" sz="1000" b="0" strike="noStrike" spc="-1">
                <a:ea typeface="+mn-lt"/>
                <a:cs typeface="+mn-lt"/>
              </a:rPr>
              <a:t>Nativo</a:t>
            </a:r>
            <a:endParaRPr lang="es-ES">
              <a:ea typeface="+mn-lt"/>
              <a:cs typeface="+mn-lt"/>
            </a:endParaRPr>
          </a:p>
          <a:p>
            <a:r>
              <a:rPr lang="es-ES" sz="1000" b="1" spc="-1">
                <a:ea typeface="+mn-lt"/>
                <a:cs typeface="+mn-lt"/>
              </a:rPr>
              <a:t>Catalán - </a:t>
            </a:r>
            <a:r>
              <a:rPr lang="es-ES" sz="1000" spc="-1">
                <a:ea typeface="+mn-lt"/>
                <a:cs typeface="+mn-lt"/>
              </a:rPr>
              <a:t>Nativo</a:t>
            </a:r>
            <a:br>
              <a:rPr lang="es-ES" sz="1000" spc="-1">
                <a:ea typeface="+mn-lt"/>
                <a:cs typeface="+mn-lt"/>
              </a:rPr>
            </a:br>
            <a:r>
              <a:rPr lang="es-ES" sz="1000" spc="-1">
                <a:ea typeface="+mn-lt"/>
                <a:cs typeface="+mn-lt"/>
              </a:rPr>
              <a:t> </a:t>
            </a:r>
            <a:r>
              <a:rPr lang="es-ES" sz="1000" b="1" spc="-1">
                <a:ea typeface="+mn-lt"/>
                <a:cs typeface="+mn-lt"/>
              </a:rPr>
              <a:t>Inglés - </a:t>
            </a:r>
            <a:r>
              <a:rPr lang="es-ES" sz="1000" spc="-1">
                <a:ea typeface="+mn-lt"/>
                <a:cs typeface="+mn-lt"/>
              </a:rPr>
              <a:t>Nivel intermedio</a:t>
            </a:r>
            <a:endParaRPr lang="es-ES" sz="1750">
              <a:ea typeface="+mn-lt"/>
              <a:cs typeface="+mn-lt"/>
            </a:endParaRPr>
          </a:p>
          <a:p>
            <a:r>
              <a:rPr lang="es-ES" sz="1000" b="1" spc="-1">
                <a:ea typeface="+mn-lt"/>
                <a:cs typeface="+mn-lt"/>
              </a:rPr>
              <a:t>Japonés - </a:t>
            </a:r>
            <a:r>
              <a:rPr lang="es-ES" sz="1000" spc="-1">
                <a:ea typeface="+mn-lt"/>
                <a:cs typeface="+mn-lt"/>
              </a:rPr>
              <a:t>Nivel intermedio</a:t>
            </a:r>
            <a:endParaRPr lang="es-ES"/>
          </a:p>
          <a:p>
            <a:endParaRPr lang="es-ES" sz="1000" spc="-1"/>
          </a:p>
          <a:p>
            <a:pPr>
              <a:lnSpc>
                <a:spcPct val="100000"/>
              </a:lnSpc>
            </a:pPr>
            <a:endParaRPr lang="es-ES" sz="1000" b="0" strike="noStrike" spc="-1">
              <a:solidFill>
                <a:srgbClr val="FF0000"/>
              </a:solidFill>
              <a:latin typeface="Soho Gothic Pro Light"/>
            </a:endParaRPr>
          </a:p>
          <a:p>
            <a:pPr>
              <a:lnSpc>
                <a:spcPct val="100000"/>
              </a:lnSpc>
            </a:pPr>
            <a:endParaRPr lang="es-ES" sz="1000" b="0" strike="noStrike" spc="-1">
              <a:solidFill>
                <a:srgbClr val="FF0000"/>
              </a:solidFill>
              <a:latin typeface="Arial"/>
            </a:endParaRPr>
          </a:p>
          <a:p>
            <a:pPr>
              <a:lnSpc>
                <a:spcPct val="100000"/>
              </a:lnSpc>
            </a:pPr>
            <a:endParaRPr lang="es-ES" sz="1000" b="0" strike="noStrike" spc="-1">
              <a:solidFill>
                <a:srgbClr val="FF0000"/>
              </a:solidFill>
              <a:latin typeface="Arial"/>
            </a:endParaRPr>
          </a:p>
        </p:txBody>
      </p:sp>
      <p:sp>
        <p:nvSpPr>
          <p:cNvPr id="105" name="CuadroTexto 40_0"/>
          <p:cNvSpPr/>
          <p:nvPr/>
        </p:nvSpPr>
        <p:spPr>
          <a:xfrm>
            <a:off x="3451680" y="110520"/>
            <a:ext cx="2692800" cy="45756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2400" b="0" strike="noStrike" spc="-1">
                <a:solidFill>
                  <a:schemeClr val="bg1"/>
                </a:solidFill>
                <a:latin typeface="Soho Gothic Pro Medium"/>
              </a:rPr>
              <a:t>Data </a:t>
            </a:r>
            <a:r>
              <a:rPr lang="es-ES" sz="2400" b="0" strike="noStrike" spc="-1" err="1">
                <a:solidFill>
                  <a:schemeClr val="bg1"/>
                </a:solidFill>
                <a:latin typeface="Soho Gothic Pro Medium"/>
              </a:rPr>
              <a:t>Engineer</a:t>
            </a:r>
            <a:endParaRPr lang="es-ES" sz="2400" b="0" strike="noStrike" spc="-1">
              <a:solidFill>
                <a:schemeClr val="bg1"/>
              </a:solidFill>
              <a:latin typeface="Aria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A.V.F.</a:t>
            </a:r>
            <a:endParaRPr lang="es-ES" sz="2000" b="0" strike="noStrike" spc="-1">
              <a:solidFill>
                <a:schemeClr val="bg1"/>
              </a:solidFill>
              <a:latin typeface="Arial"/>
            </a:endParaRPr>
          </a:p>
        </p:txBody>
      </p:sp>
      <p:sp>
        <p:nvSpPr>
          <p:cNvPr id="109" name="CuadroTexto 37_0"/>
          <p:cNvSpPr/>
          <p:nvPr/>
        </p:nvSpPr>
        <p:spPr>
          <a:xfrm>
            <a:off x="9438721" y="1368724"/>
            <a:ext cx="1965600" cy="306323"/>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400" b="0" strike="noStrike" spc="-1">
                <a:solidFill>
                  <a:srgbClr val="1A3B47"/>
                </a:solidFill>
                <a:latin typeface="Soho Gothic Pro"/>
              </a:rPr>
              <a:t>IT</a:t>
            </a:r>
            <a:endParaRPr lang="es-ES" sz="1400" b="0" strike="noStrike" spc="-1">
              <a:solidFill>
                <a:srgbClr val="1A3B47"/>
              </a:solidFill>
              <a:latin typeface="Arial"/>
            </a:endParaRPr>
          </a:p>
        </p:txBody>
      </p:sp>
      <p:sp>
        <p:nvSpPr>
          <p:cNvPr id="110" name="CuadroTexto 52_0"/>
          <p:cNvSpPr/>
          <p:nvPr/>
        </p:nvSpPr>
        <p:spPr>
          <a:xfrm>
            <a:off x="9393247" y="1636094"/>
            <a:ext cx="2739600" cy="1477328"/>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pc="-1">
                <a:ea typeface="+mn-lt"/>
                <a:cs typeface="+mn-lt"/>
              </a:rPr>
              <a:t>Lenguajes Programación</a:t>
            </a:r>
            <a:r>
              <a:rPr lang="es-ES" sz="1000" b="1" strike="noStrike" spc="-1">
                <a:ea typeface="+mn-lt"/>
                <a:cs typeface="+mn-lt"/>
              </a:rPr>
              <a:t>:</a:t>
            </a:r>
            <a:r>
              <a:rPr lang="es-ES" sz="1000" spc="-1">
                <a:ea typeface="+mn-lt"/>
                <a:cs typeface="+mn-lt"/>
              </a:rPr>
              <a:t> </a:t>
            </a:r>
            <a:r>
              <a:rPr lang="es-ES" sz="1000" i="1" spc="-1">
                <a:ea typeface="+mn-lt"/>
                <a:cs typeface="+mn-lt"/>
              </a:rPr>
              <a:t>Scala,</a:t>
            </a:r>
            <a:r>
              <a:rPr lang="es-ES" sz="1000" b="0" i="1" strike="noStrike" spc="-1">
                <a:ea typeface="+mn-lt"/>
                <a:cs typeface="+mn-lt"/>
              </a:rPr>
              <a:t> </a:t>
            </a:r>
            <a:r>
              <a:rPr lang="es-ES" sz="1000" i="1" spc="-1" err="1">
                <a:ea typeface="+mn-lt"/>
                <a:cs typeface="+mn-lt"/>
              </a:rPr>
              <a:t>Spark</a:t>
            </a:r>
            <a:r>
              <a:rPr lang="es-ES" sz="1000" i="1" spc="-1">
                <a:ea typeface="+mn-lt"/>
                <a:cs typeface="+mn-lt"/>
              </a:rPr>
              <a:t>, Java, Python</a:t>
            </a:r>
            <a:endParaRPr lang="es-ES"/>
          </a:p>
          <a:p>
            <a:r>
              <a:rPr lang="es-ES" sz="1000" b="1" spc="-1">
                <a:ea typeface="+mn-lt"/>
                <a:cs typeface="+mn-lt"/>
              </a:rPr>
              <a:t>Scripting :</a:t>
            </a:r>
            <a:r>
              <a:rPr lang="es-ES" sz="1000" spc="-1">
                <a:ea typeface="+mn-lt"/>
                <a:cs typeface="+mn-lt"/>
              </a:rPr>
              <a:t> </a:t>
            </a:r>
            <a:r>
              <a:rPr lang="es-ES" sz="1000" i="1" spc="-1">
                <a:ea typeface="+mn-lt"/>
                <a:cs typeface="+mn-lt"/>
              </a:rPr>
              <a:t>Linux Scripting</a:t>
            </a:r>
            <a:endParaRPr lang="es-ES"/>
          </a:p>
          <a:p>
            <a:r>
              <a:rPr lang="es-ES" sz="1000" b="1" spc="-1">
                <a:ea typeface="+mn-lt"/>
                <a:cs typeface="+mn-lt"/>
              </a:rPr>
              <a:t>BBDD SQL</a:t>
            </a:r>
            <a:r>
              <a:rPr lang="es-ES" sz="1000" b="1" strike="noStrike" spc="-1">
                <a:ea typeface="+mn-lt"/>
                <a:cs typeface="+mn-lt"/>
              </a:rPr>
              <a:t>:</a:t>
            </a:r>
            <a:r>
              <a:rPr lang="es-ES" sz="1000" spc="-1">
                <a:ea typeface="+mn-lt"/>
                <a:cs typeface="+mn-lt"/>
              </a:rPr>
              <a:t> </a:t>
            </a:r>
            <a:r>
              <a:rPr lang="es-ES" sz="1000" i="1" spc="-1">
                <a:ea typeface="+mn-lt"/>
                <a:cs typeface="+mn-lt"/>
              </a:rPr>
              <a:t>Impala, </a:t>
            </a:r>
            <a:r>
              <a:rPr lang="es-ES" sz="1000" i="1" spc="-1" err="1">
                <a:ea typeface="+mn-lt"/>
                <a:cs typeface="+mn-lt"/>
              </a:rPr>
              <a:t>Kudu</a:t>
            </a:r>
            <a:r>
              <a:rPr lang="es-ES" sz="1000" i="1" spc="-1">
                <a:ea typeface="+mn-lt"/>
                <a:cs typeface="+mn-lt"/>
              </a:rPr>
              <a:t>,</a:t>
            </a:r>
            <a:r>
              <a:rPr lang="es-ES" sz="1000" i="1" strike="noStrike" spc="-1">
                <a:ea typeface="+mn-lt"/>
                <a:cs typeface="+mn-lt"/>
              </a:rPr>
              <a:t> </a:t>
            </a:r>
            <a:r>
              <a:rPr lang="es-ES" sz="1000" i="1" spc="-1">
                <a:ea typeface="+mn-lt"/>
                <a:cs typeface="+mn-lt"/>
              </a:rPr>
              <a:t>Oracle</a:t>
            </a:r>
            <a:endParaRPr lang="es-ES">
              <a:ea typeface="+mn-lt"/>
              <a:cs typeface="+mn-lt"/>
            </a:endParaRPr>
          </a:p>
          <a:p>
            <a:r>
              <a:rPr lang="es-ES" sz="1000" b="1" spc="-1">
                <a:ea typeface="+mn-lt"/>
                <a:cs typeface="+mn-lt"/>
              </a:rPr>
              <a:t>BBDD</a:t>
            </a:r>
            <a:r>
              <a:rPr lang="es-ES" sz="1000" spc="-1">
                <a:ea typeface="+mn-lt"/>
                <a:cs typeface="+mn-lt"/>
              </a:rPr>
              <a:t>: </a:t>
            </a:r>
            <a:r>
              <a:rPr lang="es-ES" sz="1000" i="1" spc="-1">
                <a:ea typeface="+mn-lt"/>
                <a:cs typeface="+mn-lt"/>
              </a:rPr>
              <a:t>MongoDB</a:t>
            </a:r>
            <a:endParaRPr lang="es-ES">
              <a:ea typeface="+mn-lt"/>
              <a:cs typeface="+mn-lt"/>
            </a:endParaRPr>
          </a:p>
          <a:p>
            <a:r>
              <a:rPr lang="es-ES" sz="1000" b="1" spc="-1" err="1">
                <a:ea typeface="+mn-lt"/>
                <a:cs typeface="+mn-lt"/>
              </a:rPr>
              <a:t>Platforms</a:t>
            </a:r>
            <a:r>
              <a:rPr lang="es-ES" sz="1000" spc="-1">
                <a:ea typeface="+mn-lt"/>
                <a:cs typeface="+mn-lt"/>
              </a:rPr>
              <a:t>: </a:t>
            </a:r>
            <a:r>
              <a:rPr lang="es-ES" sz="1000" i="1" spc="-1">
                <a:ea typeface="+mn-lt"/>
                <a:cs typeface="+mn-lt"/>
              </a:rPr>
              <a:t>Cloudera</a:t>
            </a:r>
            <a:endParaRPr lang="en-US"/>
          </a:p>
          <a:p>
            <a:r>
              <a:rPr lang="es-ES" sz="1000" b="1" spc="-1">
                <a:ea typeface="+mn-lt"/>
                <a:cs typeface="+mn-lt"/>
              </a:rPr>
              <a:t>DevOps</a:t>
            </a:r>
            <a:r>
              <a:rPr lang="es-ES" sz="1000" b="0" strike="noStrike" spc="-1">
                <a:ea typeface="+mn-lt"/>
                <a:cs typeface="+mn-lt"/>
              </a:rPr>
              <a:t>:</a:t>
            </a:r>
            <a:r>
              <a:rPr lang="es-ES" sz="1000" spc="-1">
                <a:ea typeface="+mn-lt"/>
                <a:cs typeface="+mn-lt"/>
              </a:rPr>
              <a:t> </a:t>
            </a:r>
            <a:r>
              <a:rPr lang="es-ES" sz="1000" i="1" spc="-1">
                <a:ea typeface="+mn-lt"/>
                <a:cs typeface="+mn-lt"/>
              </a:rPr>
              <a:t>GIT, Maven</a:t>
            </a:r>
            <a:endParaRPr lang="en-US"/>
          </a:p>
          <a:p>
            <a:r>
              <a:rPr lang="es-ES" sz="1000" b="1" spc="-1">
                <a:ea typeface="+mn-lt"/>
                <a:cs typeface="+mn-lt"/>
              </a:rPr>
              <a:t>Otras tecnologías</a:t>
            </a:r>
            <a:r>
              <a:rPr lang="es-ES" sz="1000" i="1" spc="-1">
                <a:ea typeface="+mn-lt"/>
                <a:cs typeface="+mn-lt"/>
              </a:rPr>
              <a:t>: JSP, AKKA </a:t>
            </a:r>
            <a:r>
              <a:rPr lang="es-ES" sz="1000" i="1" spc="-1" err="1">
                <a:ea typeface="+mn-lt"/>
                <a:cs typeface="+mn-lt"/>
              </a:rPr>
              <a:t>actors</a:t>
            </a:r>
            <a:endParaRPr lang="en-US" err="1"/>
          </a:p>
          <a:p>
            <a:pPr>
              <a:lnSpc>
                <a:spcPct val="100000"/>
              </a:lnSpc>
            </a:pPr>
            <a:endParaRPr lang="es-ES" sz="1000" i="1" spc="-1">
              <a:solidFill>
                <a:srgbClr val="FF0000"/>
              </a:solidFill>
              <a:ea typeface="Soho Gothic Pro Light"/>
            </a:endParaRPr>
          </a:p>
        </p:txBody>
      </p:sp>
      <p:sp>
        <p:nvSpPr>
          <p:cNvPr id="112" name="CuadroTexto 56_0"/>
          <p:cNvSpPr/>
          <p:nvPr/>
        </p:nvSpPr>
        <p:spPr>
          <a:xfrm>
            <a:off x="9475200" y="127800"/>
            <a:ext cx="1965600" cy="306323"/>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400" b="0" strike="noStrike" spc="-1">
                <a:solidFill>
                  <a:srgbClr val="1A3B47"/>
                </a:solidFill>
                <a:latin typeface="Soho Gothic Pro"/>
              </a:rPr>
              <a:t>Educación</a:t>
            </a:r>
            <a:endParaRPr lang="es-ES" sz="1400" b="0" strike="noStrike" spc="-1">
              <a:solidFill>
                <a:srgbClr val="FF0000"/>
              </a:solidFill>
              <a:latin typeface="Arial"/>
              <a:cs typeface="Arial"/>
            </a:endParaRPr>
          </a:p>
        </p:txBody>
      </p:sp>
      <p:sp>
        <p:nvSpPr>
          <p:cNvPr id="113" name="CuadroTexto 70_0"/>
          <p:cNvSpPr/>
          <p:nvPr/>
        </p:nvSpPr>
        <p:spPr>
          <a:xfrm>
            <a:off x="9827280" y="441123"/>
            <a:ext cx="2349360"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pc="-1">
                <a:ea typeface="+mn-lt"/>
                <a:cs typeface="+mn-lt"/>
              </a:rPr>
              <a:t>Grado en Ingeniería informática</a:t>
            </a:r>
            <a:endParaRPr lang="es-ES"/>
          </a:p>
          <a:p>
            <a:r>
              <a:rPr lang="es-ES" sz="1000" spc="-1" err="1">
                <a:ea typeface="+mn-lt"/>
                <a:cs typeface="+mn-lt"/>
              </a:rPr>
              <a:t>Universitat</a:t>
            </a:r>
            <a:r>
              <a:rPr lang="es-ES" sz="1000" spc="-1">
                <a:ea typeface="+mn-lt"/>
                <a:cs typeface="+mn-lt"/>
              </a:rPr>
              <a:t> </a:t>
            </a:r>
            <a:r>
              <a:rPr lang="es-ES" sz="1000" spc="-1" err="1">
                <a:ea typeface="+mn-lt"/>
                <a:cs typeface="+mn-lt"/>
              </a:rPr>
              <a:t>Politècnica</a:t>
            </a:r>
            <a:r>
              <a:rPr lang="es-ES" sz="1000" spc="-1">
                <a:ea typeface="+mn-lt"/>
                <a:cs typeface="+mn-lt"/>
              </a:rPr>
              <a:t> de Catalunya</a:t>
            </a:r>
            <a:endParaRPr lang="es-ES"/>
          </a:p>
        </p:txBody>
      </p:sp>
      <p:sp>
        <p:nvSpPr>
          <p:cNvPr id="114" name="CuadroTexto 73_0"/>
          <p:cNvSpPr/>
          <p:nvPr/>
        </p:nvSpPr>
        <p:spPr>
          <a:xfrm>
            <a:off x="9430200" y="456480"/>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solidFill>
                  <a:srgbClr val="1A3B47"/>
                </a:solidFill>
                <a:latin typeface="Soho Gothic Pro Medium"/>
              </a:rPr>
              <a:t>2019</a:t>
            </a:r>
            <a:endParaRPr lang="es-ES" sz="900" b="0" strike="noStrike" spc="-1">
              <a:solidFill>
                <a:srgbClr val="1A3B47"/>
              </a:solidFill>
              <a:latin typeface="Arial"/>
              <a:cs typeface="Arial"/>
            </a:endParaRPr>
          </a:p>
          <a:p>
            <a:pPr>
              <a:lnSpc>
                <a:spcPct val="100000"/>
              </a:lnSpc>
            </a:pPr>
            <a:r>
              <a:rPr lang="es-ES" sz="900" b="0" strike="noStrike" spc="-1">
                <a:solidFill>
                  <a:srgbClr val="1A3B47"/>
                </a:solidFill>
                <a:latin typeface="Soho Gothic Pro Medium"/>
              </a:rPr>
              <a:t>—</a:t>
            </a:r>
            <a:endParaRPr lang="es-ES" sz="900" b="0" strike="noStrike" spc="-1">
              <a:solidFill>
                <a:srgbClr val="1A3B47"/>
              </a:solidFill>
              <a:latin typeface="Arial"/>
              <a:cs typeface="Arial"/>
            </a:endParaRPr>
          </a:p>
          <a:p>
            <a:pPr>
              <a:lnSpc>
                <a:spcPct val="100000"/>
              </a:lnSpc>
            </a:pPr>
            <a:r>
              <a:rPr lang="es-ES" sz="900" spc="-1">
                <a:solidFill>
                  <a:srgbClr val="1A3B47"/>
                </a:solidFill>
                <a:latin typeface="Soho Gothic Pro Medium"/>
              </a:rPr>
              <a:t>2013</a:t>
            </a:r>
            <a:endParaRPr lang="es-ES" sz="900" b="0" strike="noStrike" spc="-1">
              <a:solidFill>
                <a:srgbClr val="1A3B47"/>
              </a:solidFill>
              <a:latin typeface="Arial"/>
            </a:endParaRPr>
          </a:p>
        </p:txBody>
      </p:sp>
      <p:sp>
        <p:nvSpPr>
          <p:cNvPr id="37" name="CuadroTexto 30_0"/>
          <p:cNvSpPr/>
          <p:nvPr/>
        </p:nvSpPr>
        <p:spPr>
          <a:xfrm>
            <a:off x="5463001" y="152640"/>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Albert Valles i </a:t>
            </a:r>
            <a:r>
              <a:rPr lang="es-ES" sz="2000" spc="-1" err="1">
                <a:solidFill>
                  <a:schemeClr val="bg1"/>
                </a:solidFill>
                <a:ea typeface="Soho Gothic Pro Light"/>
              </a:rPr>
              <a:t>Fernandez</a:t>
            </a:r>
            <a:endParaRPr lang="es-ES" sz="2000" b="0" strike="noStrike" spc="-1" err="1">
              <a:solidFill>
                <a:schemeClr val="bg1"/>
              </a:solidFill>
              <a:latin typeface="Arial"/>
            </a:endParaRPr>
          </a:p>
        </p:txBody>
      </p:sp>
      <p:sp>
        <p:nvSpPr>
          <p:cNvPr id="27" name="CuadroTexto 44_0"/>
          <p:cNvSpPr/>
          <p:nvPr/>
        </p:nvSpPr>
        <p:spPr>
          <a:xfrm>
            <a:off x="685800" y="1346218"/>
            <a:ext cx="4215600" cy="313932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lnSpc>
                <a:spcPct val="100000"/>
              </a:lnSpc>
            </a:pPr>
            <a:r>
              <a:rPr lang="es-ES" sz="1100" b="1" strike="noStrike" spc="-1" err="1">
                <a:solidFill>
                  <a:srgbClr val="1A3B47"/>
                </a:solidFill>
                <a:latin typeface="Soho Gothic Pro Light"/>
                <a:ea typeface="Soho Gothic Pro Light"/>
              </a:rPr>
              <a:t>Minsait</a:t>
            </a:r>
            <a:r>
              <a:rPr lang="es-ES" sz="1100" b="1" strike="noStrike" spc="-1">
                <a:solidFill>
                  <a:srgbClr val="1A3B47"/>
                </a:solidFill>
                <a:latin typeface="Soho Gothic Pro Light"/>
                <a:ea typeface="Soho Gothic Pro Light"/>
              </a:rPr>
              <a:t> </a:t>
            </a:r>
            <a:r>
              <a:rPr lang="es-ES" sz="1100" b="1" strike="noStrike" spc="-1" err="1">
                <a:solidFill>
                  <a:srgbClr val="1A3B47"/>
                </a:solidFill>
                <a:latin typeface="Soho Gothic Pro Light"/>
                <a:ea typeface="Soho Gothic Pro Light"/>
              </a:rPr>
              <a:t>by</a:t>
            </a:r>
            <a:r>
              <a:rPr lang="es-ES" sz="1100" b="1" strike="noStrike" spc="-1">
                <a:solidFill>
                  <a:srgbClr val="1A3B47"/>
                </a:solidFill>
                <a:latin typeface="Soho Gothic Pro Light"/>
                <a:ea typeface="Soho Gothic Pro Light"/>
              </a:rPr>
              <a:t> Indra (Barcelona, España)</a:t>
            </a:r>
            <a:endParaRPr lang="es-ES" sz="1100" b="0" strike="noStrike" spc="-1">
              <a:solidFill>
                <a:srgbClr val="1A3B47"/>
              </a:solidFill>
              <a:latin typeface="Arial"/>
              <a:cs typeface="Arial"/>
            </a:endParaRPr>
          </a:p>
          <a:p>
            <a:pPr algn="just">
              <a:lnSpc>
                <a:spcPct val="100000"/>
              </a:lnSpc>
            </a:pPr>
            <a:r>
              <a:rPr lang="es-ES" sz="1100" spc="-1">
                <a:solidFill>
                  <a:srgbClr val="1A3B47"/>
                </a:solidFill>
                <a:latin typeface="Soho Gothic Pro Light"/>
                <a:ea typeface="Soho Gothic Pro Light"/>
              </a:rPr>
              <a:t>Ingeniero de Datos</a:t>
            </a:r>
            <a:endParaRPr lang="es-ES" sz="1100" b="0" strike="noStrike" spc="-1">
              <a:solidFill>
                <a:srgbClr val="1A3B47"/>
              </a:solidFill>
              <a:latin typeface="Arial"/>
            </a:endParaRPr>
          </a:p>
          <a:p>
            <a:pPr algn="just">
              <a:lnSpc>
                <a:spcPct val="100000"/>
              </a:lnSpc>
            </a:pPr>
            <a:endParaRPr lang="es-ES" sz="1100" b="0" strike="noStrike" spc="-1">
              <a:solidFill>
                <a:srgbClr val="FF0000"/>
              </a:solidFill>
              <a:latin typeface="Arial"/>
            </a:endParaRPr>
          </a:p>
          <a:p>
            <a:pPr algn="just"/>
            <a:r>
              <a:rPr lang="es-ES" sz="1100" spc="-1">
                <a:ea typeface="+mn-lt"/>
                <a:cs typeface="+mn-lt"/>
              </a:rPr>
              <a:t>•</a:t>
            </a:r>
            <a:r>
              <a:rPr lang="es-ES" sz="1100" b="1" spc="-1">
                <a:ea typeface="+mn-lt"/>
                <a:cs typeface="+mn-lt"/>
              </a:rPr>
              <a:t>ATC (Agencia Tributaria Catalunya)</a:t>
            </a:r>
            <a:endParaRPr lang="es-ES">
              <a:ea typeface="+mn-lt"/>
              <a:cs typeface="+mn-lt"/>
            </a:endParaRPr>
          </a:p>
          <a:p>
            <a:pPr algn="just"/>
            <a:endParaRPr lang="es-ES" sz="1100" b="1" spc="-1">
              <a:ea typeface="+mn-lt"/>
              <a:cs typeface="+mn-lt"/>
            </a:endParaRPr>
          </a:p>
          <a:p>
            <a:pPr algn="just"/>
            <a:r>
              <a:rPr lang="es-ES" sz="1100" spc="-1">
                <a:ea typeface="+mn-lt"/>
                <a:cs typeface="+mn-lt"/>
              </a:rPr>
              <a:t>•Análisis, diseño e implementación de una aplicación para anonimizar datos sensibles. Usando tecnologías </a:t>
            </a:r>
            <a:r>
              <a:rPr lang="es-ES" sz="1100" spc="-1" err="1">
                <a:ea typeface="+mn-lt"/>
                <a:cs typeface="+mn-lt"/>
              </a:rPr>
              <a:t>Spark</a:t>
            </a:r>
            <a:r>
              <a:rPr lang="es-ES" sz="1100" spc="-1">
                <a:ea typeface="+mn-lt"/>
                <a:cs typeface="+mn-lt"/>
              </a:rPr>
              <a:t>, </a:t>
            </a:r>
            <a:r>
              <a:rPr lang="es-ES" sz="1100" spc="-1" err="1">
                <a:ea typeface="+mn-lt"/>
                <a:cs typeface="+mn-lt"/>
              </a:rPr>
              <a:t>Kudu</a:t>
            </a:r>
            <a:r>
              <a:rPr lang="es-ES" sz="1100" spc="-1">
                <a:ea typeface="+mn-lt"/>
                <a:cs typeface="+mn-lt"/>
              </a:rPr>
              <a:t>, HDFS, MongoDB y AKKA </a:t>
            </a:r>
            <a:r>
              <a:rPr lang="es-ES" sz="1100" spc="-1" err="1">
                <a:ea typeface="+mn-lt"/>
                <a:cs typeface="+mn-lt"/>
              </a:rPr>
              <a:t>Actors</a:t>
            </a:r>
            <a:r>
              <a:rPr lang="es-ES" sz="1100" spc="-1">
                <a:ea typeface="+mn-lt"/>
                <a:cs typeface="+mn-lt"/>
              </a:rPr>
              <a:t>.</a:t>
            </a:r>
            <a:endParaRPr lang="es-ES">
              <a:ea typeface="+mn-lt"/>
              <a:cs typeface="+mn-lt"/>
            </a:endParaRPr>
          </a:p>
          <a:p>
            <a:pPr algn="just"/>
            <a:endParaRPr lang="es-ES" sz="1100" spc="-1">
              <a:ea typeface="+mn-lt"/>
              <a:cs typeface="+mn-lt"/>
            </a:endParaRPr>
          </a:p>
          <a:p>
            <a:pPr algn="just"/>
            <a:r>
              <a:rPr lang="es-ES" sz="1100" spc="-1">
                <a:ea typeface="+mn-lt"/>
                <a:cs typeface="+mn-lt"/>
              </a:rPr>
              <a:t>•Desarrollador en el proyecto Miro con tecnologías </a:t>
            </a:r>
            <a:r>
              <a:rPr lang="es-ES" sz="1100" spc="-1" err="1">
                <a:ea typeface="+mn-lt"/>
                <a:cs typeface="+mn-lt"/>
              </a:rPr>
              <a:t>BigData</a:t>
            </a:r>
            <a:r>
              <a:rPr lang="es-ES" sz="1100" spc="-1">
                <a:ea typeface="+mn-lt"/>
                <a:cs typeface="+mn-lt"/>
              </a:rPr>
              <a:t>. Desarrollos </a:t>
            </a:r>
            <a:r>
              <a:rPr lang="es-ES" sz="1100" spc="-1" err="1">
                <a:ea typeface="+mn-lt"/>
                <a:cs typeface="+mn-lt"/>
              </a:rPr>
              <a:t>meidante</a:t>
            </a:r>
            <a:r>
              <a:rPr lang="es-ES" sz="1100" spc="-1">
                <a:ea typeface="+mn-lt"/>
                <a:cs typeface="+mn-lt"/>
              </a:rPr>
              <a:t> </a:t>
            </a:r>
            <a:r>
              <a:rPr lang="es-ES" sz="1100" spc="-1" err="1">
                <a:ea typeface="+mn-lt"/>
                <a:cs typeface="+mn-lt"/>
              </a:rPr>
              <a:t>Spark</a:t>
            </a:r>
            <a:r>
              <a:rPr lang="es-ES" sz="1100" spc="-1">
                <a:ea typeface="+mn-lt"/>
                <a:cs typeface="+mn-lt"/>
              </a:rPr>
              <a:t>, </a:t>
            </a:r>
            <a:r>
              <a:rPr lang="es-ES" sz="1100" spc="-1" err="1">
                <a:ea typeface="+mn-lt"/>
                <a:cs typeface="+mn-lt"/>
              </a:rPr>
              <a:t>Kudu</a:t>
            </a:r>
            <a:r>
              <a:rPr lang="es-ES" sz="1100" spc="-1">
                <a:ea typeface="+mn-lt"/>
                <a:cs typeface="+mn-lt"/>
              </a:rPr>
              <a:t>, MongoDB y HDFS.</a:t>
            </a:r>
            <a:endParaRPr lang="es-ES" sz="1100" spc="-1"/>
          </a:p>
          <a:p>
            <a:pPr algn="just"/>
            <a:endParaRPr lang="es-ES" sz="1100" spc="-1">
              <a:ea typeface="+mn-lt"/>
              <a:cs typeface="+mn-lt"/>
            </a:endParaRPr>
          </a:p>
          <a:p>
            <a:pPr algn="just"/>
            <a:endParaRPr lang="es-ES" sz="1100" spc="-1">
              <a:ea typeface="+mn-lt"/>
              <a:cs typeface="+mn-lt"/>
            </a:endParaRPr>
          </a:p>
          <a:p>
            <a:pPr algn="just"/>
            <a:r>
              <a:rPr lang="es-ES" sz="1100" spc="-1">
                <a:ea typeface="+mn-lt"/>
                <a:cs typeface="+mn-lt"/>
              </a:rPr>
              <a:t>•</a:t>
            </a:r>
            <a:r>
              <a:rPr lang="es-ES" sz="1100" b="1" spc="-1">
                <a:ea typeface="+mn-lt"/>
                <a:cs typeface="+mn-lt"/>
              </a:rPr>
              <a:t>JCCM (Junta de Comunidades de Castilla-La Mancha)</a:t>
            </a:r>
            <a:endParaRPr lang="es-ES">
              <a:ea typeface="+mn-lt"/>
              <a:cs typeface="+mn-lt"/>
            </a:endParaRPr>
          </a:p>
          <a:p>
            <a:pPr algn="just"/>
            <a:endParaRPr lang="es-ES" sz="1100" spc="-1">
              <a:ea typeface="+mn-lt"/>
              <a:cs typeface="+mn-lt"/>
            </a:endParaRPr>
          </a:p>
          <a:p>
            <a:pPr algn="just"/>
            <a:r>
              <a:rPr lang="es-ES" sz="1100" spc="-1">
                <a:ea typeface="+mn-lt"/>
                <a:cs typeface="+mn-lt"/>
              </a:rPr>
              <a:t>•Análisis, diseño e implementación de una aplicación para anonimizar datos sensibles. Extrayendo los datos de Oracle, MySQL y SQL Server.</a:t>
            </a:r>
            <a:endParaRPr lang="es-ES">
              <a:ea typeface="+mn-lt"/>
              <a:cs typeface="+mn-lt"/>
            </a:endParaRPr>
          </a:p>
          <a:p>
            <a:pPr algn="just">
              <a:lnSpc>
                <a:spcPct val="100000"/>
              </a:lnSpc>
              <a:buFont typeface="Arial,Sans-Serif"/>
            </a:pPr>
            <a:endParaRPr lang="es-ES" sz="1100" spc="-1">
              <a:solidFill>
                <a:srgbClr val="FF0000"/>
              </a:solidFill>
            </a:endParaRPr>
          </a:p>
        </p:txBody>
      </p:sp>
      <p:sp>
        <p:nvSpPr>
          <p:cNvPr id="32" name="CuadroTexto 39_0"/>
          <p:cNvSpPr/>
          <p:nvPr/>
        </p:nvSpPr>
        <p:spPr>
          <a:xfrm>
            <a:off x="240120" y="1312738"/>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trike="noStrike" spc="-1">
                <a:solidFill>
                  <a:srgbClr val="1A3B47"/>
                </a:solidFill>
                <a:latin typeface="Soho Gothic Pro Light"/>
                <a:ea typeface="Soho Gothic Pro Light"/>
              </a:rPr>
              <a:t>ACT</a:t>
            </a:r>
            <a:endParaRPr lang="es-ES" sz="900" b="1" strike="noStrike" spc="-1">
              <a:solidFill>
                <a:srgbClr val="1A3B47"/>
              </a:solidFill>
              <a:latin typeface="Arial"/>
              <a:cs typeface="Arial"/>
            </a:endParaRPr>
          </a:p>
          <a:p>
            <a:pPr>
              <a:lnSpc>
                <a:spcPct val="100000"/>
              </a:lnSpc>
            </a:pPr>
            <a:r>
              <a:rPr lang="es-ES" sz="900" b="1" strike="noStrike" spc="-1">
                <a:solidFill>
                  <a:srgbClr val="1A3B47"/>
                </a:solidFill>
                <a:latin typeface="Soho Gothic Pro Light"/>
                <a:ea typeface="Soho Gothic Pro Light"/>
              </a:rPr>
              <a:t>—</a:t>
            </a:r>
            <a:endParaRPr lang="es-ES" sz="900" b="1" strike="noStrike" spc="-1">
              <a:solidFill>
                <a:srgbClr val="1A3B47"/>
              </a:solidFill>
              <a:latin typeface="Arial"/>
              <a:cs typeface="Arial"/>
            </a:endParaRPr>
          </a:p>
          <a:p>
            <a:pPr>
              <a:lnSpc>
                <a:spcPct val="100000"/>
              </a:lnSpc>
            </a:pPr>
            <a:r>
              <a:rPr lang="es-ES" sz="900" b="1" spc="-1">
                <a:solidFill>
                  <a:srgbClr val="1A3B47"/>
                </a:solidFill>
                <a:latin typeface="Soho Gothic Pro Light"/>
              </a:rPr>
              <a:t>2019</a:t>
            </a:r>
            <a:endParaRPr lang="es-ES" sz="900" b="1" strike="noStrike" spc="-1">
              <a:solidFill>
                <a:srgbClr val="1A3B47"/>
              </a:solidFill>
              <a:latin typeface="Arial"/>
            </a:endParaRPr>
          </a:p>
          <a:p>
            <a:pPr>
              <a:lnSpc>
                <a:spcPct val="100000"/>
              </a:lnSpc>
            </a:pPr>
            <a:endParaRPr lang="es-ES" sz="900" b="0" strike="noStrike" spc="-1">
              <a:solidFill>
                <a:srgbClr val="FF0000"/>
              </a:solidFill>
              <a:latin typeface="Arial"/>
            </a:endParaRPr>
          </a:p>
        </p:txBody>
      </p:sp>
    </p:spTree>
    <p:extLst>
      <p:ext uri="{BB962C8B-B14F-4D97-AF65-F5344CB8AC3E}">
        <p14:creationId xmlns:p14="http://schemas.microsoft.com/office/powerpoint/2010/main" val="4162959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276999"/>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marL="0" lvl="1" algn="just" defTabSz="914377">
              <a:buClr>
                <a:srgbClr val="1A3B47"/>
              </a:buClr>
              <a:defRPr b="0" i="0"/>
            </a:pPr>
            <a:r>
              <a:rPr lang="es-ES" sz="1200" spc="-1">
                <a:ea typeface="Soho Gothic Pro Light"/>
              </a:rPr>
              <a:t>Ingeniero de sistemas Senior con más de 33</a:t>
            </a:r>
            <a:r>
              <a:rPr lang="es-ES" sz="1200"/>
              <a:t> años de experiencia TIC en total, 3 de ellos construyendo plataformas Big Data.</a:t>
            </a:r>
          </a:p>
        </p:txBody>
      </p:sp>
      <p:sp>
        <p:nvSpPr>
          <p:cNvPr id="102" name="CuadroTexto 54_0"/>
          <p:cNvSpPr/>
          <p:nvPr/>
        </p:nvSpPr>
        <p:spPr>
          <a:xfrm>
            <a:off x="9437040" y="5862639"/>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r>
              <a:rPr lang="es-ES" sz="1200" spc="-1">
                <a:solidFill>
                  <a:srgbClr val="1A3B47"/>
                </a:solidFill>
                <a:latin typeface="Soho Gothic Pro"/>
              </a:rPr>
              <a:t>Idiomas</a:t>
            </a:r>
            <a:endParaRPr lang="es-ES" sz="1200" spc="-1">
              <a:solidFill>
                <a:srgbClr val="1A3B47"/>
              </a:solidFill>
              <a:latin typeface="Arial"/>
            </a:endParaRPr>
          </a:p>
        </p:txBody>
      </p:sp>
      <p:sp>
        <p:nvSpPr>
          <p:cNvPr id="103" name="CuadroTexto 55_0"/>
          <p:cNvSpPr/>
          <p:nvPr/>
        </p:nvSpPr>
        <p:spPr>
          <a:xfrm>
            <a:off x="9437040" y="6093791"/>
            <a:ext cx="2712240" cy="1015663"/>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s-ES" sz="1000" b="1" spc="-1">
                <a:solidFill>
                  <a:srgbClr val="1A3B47"/>
                </a:solidFill>
                <a:latin typeface="Soho Gothic Pro Light"/>
                <a:ea typeface="Soho Gothic Pro Light"/>
              </a:rPr>
              <a:t>Castellano	</a:t>
            </a:r>
            <a:r>
              <a:rPr lang="es-ES" sz="1000" spc="-1">
                <a:solidFill>
                  <a:srgbClr val="1A3B47"/>
                </a:solidFill>
                <a:latin typeface="Soho Gothic Pro Light"/>
                <a:ea typeface="Soho Gothic Pro Light"/>
              </a:rPr>
              <a:t>- Nativo</a:t>
            </a:r>
          </a:p>
          <a:p>
            <a:r>
              <a:rPr lang="ca-ES" sz="1000" b="1" spc="-1" err="1">
                <a:solidFill>
                  <a:srgbClr val="1A3B47"/>
                </a:solidFill>
                <a:latin typeface="Soho Gothic Pro Light"/>
                <a:ea typeface="Soho Gothic Pro Light"/>
              </a:rPr>
              <a:t>Catalán</a:t>
            </a:r>
            <a:r>
              <a:rPr lang="ca-ES" sz="1000" b="1" spc="-1">
                <a:solidFill>
                  <a:srgbClr val="1A3B47"/>
                </a:solidFill>
                <a:latin typeface="Soho Gothic Pro Light"/>
                <a:ea typeface="Soho Gothic Pro Light"/>
              </a:rPr>
              <a:t> 	</a:t>
            </a:r>
            <a:r>
              <a:rPr lang="ca-ES" sz="1000" spc="-1">
                <a:solidFill>
                  <a:srgbClr val="1A3B47"/>
                </a:solidFill>
                <a:latin typeface="Soho Gothic Pro Light"/>
                <a:ea typeface="Soho Gothic Pro Light"/>
              </a:rPr>
              <a:t>- C2</a:t>
            </a:r>
            <a:r>
              <a:rPr lang="ca-ES" b="1">
                <a:solidFill>
                  <a:srgbClr val="1A3B47"/>
                </a:solidFill>
              </a:rPr>
              <a:t/>
            </a:r>
            <a:br>
              <a:rPr lang="ca-ES" b="1">
                <a:solidFill>
                  <a:srgbClr val="1A3B47"/>
                </a:solidFill>
              </a:rPr>
            </a:br>
            <a:r>
              <a:rPr lang="es-ES" sz="1000" b="1" spc="-1">
                <a:solidFill>
                  <a:srgbClr val="1A3B47"/>
                </a:solidFill>
                <a:latin typeface="Soho Gothic Pro Light"/>
                <a:ea typeface="Soho Gothic Pro Light"/>
              </a:rPr>
              <a:t>Inglés	</a:t>
            </a:r>
            <a:r>
              <a:rPr lang="es-ES" sz="1000" spc="-1">
                <a:solidFill>
                  <a:srgbClr val="1A3B47"/>
                </a:solidFill>
                <a:latin typeface="Soho Gothic Pro Light"/>
                <a:ea typeface="Soho Gothic Pro Light"/>
              </a:rPr>
              <a:t>- C2</a:t>
            </a:r>
          </a:p>
          <a:p>
            <a:r>
              <a:rPr lang="es-ES" sz="1000" b="1" spc="-1">
                <a:solidFill>
                  <a:srgbClr val="1A3B47"/>
                </a:solidFill>
                <a:latin typeface="Soho Gothic Pro Light"/>
              </a:rPr>
              <a:t>Francés 	</a:t>
            </a:r>
            <a:r>
              <a:rPr lang="es-ES" sz="1000" spc="-1">
                <a:solidFill>
                  <a:srgbClr val="1A3B47"/>
                </a:solidFill>
                <a:latin typeface="Soho Gothic Pro Light"/>
              </a:rPr>
              <a:t>- C2</a:t>
            </a:r>
            <a:endParaRPr lang="es-ES" sz="1000" spc="-1">
              <a:solidFill>
                <a:srgbClr val="1A3B47"/>
              </a:solidFill>
              <a:latin typeface="Arial"/>
            </a:endParaRPr>
          </a:p>
          <a:p>
            <a:endParaRPr lang="es-ES" sz="1000" spc="-1">
              <a:solidFill>
                <a:srgbClr val="1A3B47"/>
              </a:solidFill>
              <a:latin typeface="Arial"/>
            </a:endParaRPr>
          </a:p>
          <a:p>
            <a:endParaRPr lang="es-ES" sz="1000" spc="-1">
              <a:solidFill>
                <a:srgbClr val="1A3B47"/>
              </a:solidFill>
              <a:latin typeface="Arial"/>
            </a:endParaRPr>
          </a:p>
        </p:txBody>
      </p:sp>
      <p:sp>
        <p:nvSpPr>
          <p:cNvPr id="105" name="CuadroTexto 40_0"/>
          <p:cNvSpPr/>
          <p:nvPr/>
        </p:nvSpPr>
        <p:spPr>
          <a:xfrm>
            <a:off x="1978269" y="110520"/>
            <a:ext cx="4246685" cy="461665"/>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s-ES" sz="2400" spc="-1">
                <a:solidFill>
                  <a:schemeClr val="bg1"/>
                </a:solidFill>
                <a:latin typeface="Soho Gothic Pro Medium"/>
              </a:rPr>
              <a:t>Senior </a:t>
            </a:r>
            <a:r>
              <a:rPr lang="es-ES" sz="2400" spc="-1" err="1">
                <a:solidFill>
                  <a:schemeClr val="bg1"/>
                </a:solidFill>
                <a:latin typeface="Soho Gothic Pro Medium"/>
              </a:rPr>
              <a:t>Systems</a:t>
            </a:r>
            <a:r>
              <a:rPr lang="es-ES" sz="2400" spc="-1">
                <a:solidFill>
                  <a:schemeClr val="bg1"/>
                </a:solidFill>
                <a:latin typeface="Soho Gothic Pro Medium"/>
              </a:rPr>
              <a:t> </a:t>
            </a:r>
            <a:r>
              <a:rPr lang="es-ES" sz="2400" spc="-1" err="1">
                <a:solidFill>
                  <a:schemeClr val="bg1"/>
                </a:solidFill>
                <a:latin typeface="Soho Gothic Pro Medium"/>
              </a:rPr>
              <a:t>Engineer</a:t>
            </a:r>
            <a:endParaRPr lang="es-ES" sz="2400" spc="-1">
              <a:solidFill>
                <a:schemeClr val="bg1"/>
              </a:solidFill>
              <a:latin typeface="Aria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R.D.N.</a:t>
            </a:r>
            <a:endParaRPr lang="es-ES" sz="2000" b="0" strike="noStrike" spc="-1">
              <a:solidFill>
                <a:schemeClr val="bg1"/>
              </a:solidFill>
              <a:latin typeface="Arial"/>
            </a:endParaRPr>
          </a:p>
        </p:txBody>
      </p:sp>
      <p:sp>
        <p:nvSpPr>
          <p:cNvPr id="109" name="CuadroTexto 37_0"/>
          <p:cNvSpPr/>
          <p:nvPr/>
        </p:nvSpPr>
        <p:spPr>
          <a:xfrm>
            <a:off x="9437040" y="3900804"/>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r>
              <a:rPr lang="es-ES" sz="1200" spc="-1">
                <a:solidFill>
                  <a:srgbClr val="1A3B47"/>
                </a:solidFill>
                <a:latin typeface="Soho Gothic Pro"/>
              </a:rPr>
              <a:t>IT</a:t>
            </a:r>
            <a:endParaRPr lang="es-ES" sz="1200" spc="-1">
              <a:solidFill>
                <a:srgbClr val="1A3B47"/>
              </a:solidFill>
              <a:latin typeface="Arial"/>
            </a:endParaRPr>
          </a:p>
        </p:txBody>
      </p:sp>
      <p:sp>
        <p:nvSpPr>
          <p:cNvPr id="110" name="CuadroTexto 52_0"/>
          <p:cNvSpPr/>
          <p:nvPr/>
        </p:nvSpPr>
        <p:spPr>
          <a:xfrm>
            <a:off x="9437040" y="4106396"/>
            <a:ext cx="2739600" cy="178510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n-US" sz="1000" b="1" spc="-1">
                <a:solidFill>
                  <a:srgbClr val="1A3B47"/>
                </a:solidFill>
                <a:latin typeface="Soho Gothic Pro Light"/>
                <a:ea typeface="Soho Gothic Pro Light"/>
              </a:rPr>
              <a:t>Cloud: </a:t>
            </a:r>
            <a:r>
              <a:rPr lang="en-US" sz="1000" spc="-1">
                <a:solidFill>
                  <a:srgbClr val="1A3B47"/>
                </a:solidFill>
                <a:latin typeface="Soho Gothic Pro Light"/>
                <a:ea typeface="Soho Gothic Pro Light"/>
              </a:rPr>
              <a:t>Amazon AWS, Microsoft Azure, Google Cloud</a:t>
            </a:r>
          </a:p>
          <a:p>
            <a:r>
              <a:rPr lang="en-US" sz="1000" b="1" spc="-1">
                <a:solidFill>
                  <a:srgbClr val="1A3B47"/>
                </a:solidFill>
                <a:latin typeface="Soho Gothic Pro Light"/>
                <a:ea typeface="Soho Gothic Pro Light"/>
              </a:rPr>
              <a:t>SSOO:</a:t>
            </a:r>
            <a:r>
              <a:rPr lang="en-US" sz="1000" spc="-1">
                <a:solidFill>
                  <a:srgbClr val="1A3B47"/>
                </a:solidFill>
                <a:latin typeface="Soho Gothic Pro Light"/>
                <a:ea typeface="Soho Gothic Pro Light"/>
              </a:rPr>
              <a:t> AIX, Solaris, Linux, Windows, </a:t>
            </a:r>
            <a:r>
              <a:rPr lang="en-US" sz="1000" spc="-1" err="1">
                <a:solidFill>
                  <a:srgbClr val="1A3B47"/>
                </a:solidFill>
                <a:latin typeface="Soho Gothic Pro Light"/>
                <a:ea typeface="Soho Gothic Pro Light"/>
              </a:rPr>
              <a:t>MacOS</a:t>
            </a:r>
            <a:endParaRPr lang="en-US" sz="1000" spc="-1">
              <a:solidFill>
                <a:srgbClr val="1A3B47"/>
              </a:solidFill>
              <a:latin typeface="Soho Gothic Pro Light"/>
              <a:ea typeface="Soho Gothic Pro Light"/>
            </a:endParaRPr>
          </a:p>
          <a:p>
            <a:r>
              <a:rPr lang="en-US" sz="1000" b="1" spc="-1">
                <a:solidFill>
                  <a:srgbClr val="1A3B47"/>
                </a:solidFill>
                <a:latin typeface="Soho Gothic Pro Light"/>
                <a:ea typeface="Soho Gothic Pro Light"/>
              </a:rPr>
              <a:t>Middleware: </a:t>
            </a:r>
            <a:r>
              <a:rPr lang="en-US" sz="1000" spc="-1" err="1">
                <a:solidFill>
                  <a:srgbClr val="1A3B47"/>
                </a:solidFill>
                <a:latin typeface="Soho Gothic Pro Light"/>
                <a:ea typeface="Soho Gothic Pro Light"/>
              </a:rPr>
              <a:t>Weblogic</a:t>
            </a:r>
            <a:r>
              <a:rPr lang="en-US" sz="1000" spc="-1">
                <a:solidFill>
                  <a:srgbClr val="1A3B47"/>
                </a:solidFill>
                <a:latin typeface="Soho Gothic Pro Light"/>
                <a:ea typeface="Soho Gothic Pro Light"/>
              </a:rPr>
              <a:t>, Tomcat, </a:t>
            </a:r>
            <a:r>
              <a:rPr lang="en-US" sz="1000" spc="-1" err="1">
                <a:solidFill>
                  <a:srgbClr val="1A3B47"/>
                </a:solidFill>
                <a:latin typeface="Soho Gothic Pro Light"/>
                <a:ea typeface="Soho Gothic Pro Light"/>
              </a:rPr>
              <a:t>Jboss</a:t>
            </a:r>
            <a:r>
              <a:rPr lang="en-US" sz="1000" spc="-1">
                <a:solidFill>
                  <a:srgbClr val="1A3B47"/>
                </a:solidFill>
                <a:latin typeface="Soho Gothic Pro Light"/>
                <a:ea typeface="Soho Gothic Pro Light"/>
              </a:rPr>
              <a:t>, Apache, IIS.</a:t>
            </a:r>
          </a:p>
          <a:p>
            <a:r>
              <a:rPr lang="en-US" sz="1000" b="1" spc="-1">
                <a:solidFill>
                  <a:srgbClr val="1A3B47"/>
                </a:solidFill>
                <a:latin typeface="Soho Gothic Pro Light"/>
                <a:ea typeface="Soho Gothic Pro Light"/>
              </a:rPr>
              <a:t>Programming languages</a:t>
            </a:r>
            <a:r>
              <a:rPr lang="en-US" sz="1000" spc="-1">
                <a:solidFill>
                  <a:srgbClr val="1A3B47"/>
                </a:solidFill>
                <a:latin typeface="Soho Gothic Pro Light"/>
                <a:ea typeface="Soho Gothic Pro Light"/>
              </a:rPr>
              <a:t>: Basic, Cobol, RPGIII, </a:t>
            </a:r>
            <a:r>
              <a:rPr lang="en-US" sz="1000" spc="-1" err="1">
                <a:solidFill>
                  <a:srgbClr val="1A3B47"/>
                </a:solidFill>
                <a:latin typeface="Soho Gothic Pro Light"/>
                <a:ea typeface="Soho Gothic Pro Light"/>
              </a:rPr>
              <a:t>Foxbase</a:t>
            </a:r>
            <a:r>
              <a:rPr lang="en-US" sz="1000" spc="-1">
                <a:solidFill>
                  <a:srgbClr val="1A3B47"/>
                </a:solidFill>
                <a:latin typeface="Soho Gothic Pro Light"/>
                <a:ea typeface="Soho Gothic Pro Light"/>
              </a:rPr>
              <a:t>, Progress, S</a:t>
            </a:r>
            <a:r>
              <a:rPr lang="es-ES" sz="1000" i="1" spc="-1" err="1">
                <a:solidFill>
                  <a:srgbClr val="1A3B47"/>
                </a:solidFill>
                <a:ea typeface="Soho Gothic Pro Light"/>
              </a:rPr>
              <a:t>hell</a:t>
            </a:r>
            <a:r>
              <a:rPr lang="es-ES" sz="1000" i="1" spc="-1">
                <a:solidFill>
                  <a:srgbClr val="1A3B47"/>
                </a:solidFill>
                <a:ea typeface="Soho Gothic Pro Light"/>
              </a:rPr>
              <a:t> Script</a:t>
            </a:r>
          </a:p>
          <a:p>
            <a:r>
              <a:rPr lang="en-US" sz="1000" b="1" spc="-1">
                <a:solidFill>
                  <a:srgbClr val="1A3B47"/>
                </a:solidFill>
                <a:latin typeface="Soho Gothic Pro Light"/>
                <a:ea typeface="Soho Gothic Pro Light"/>
              </a:rPr>
              <a:t>Databases: </a:t>
            </a:r>
            <a:r>
              <a:rPr lang="en-US" sz="1000" i="1" spc="-1">
                <a:solidFill>
                  <a:srgbClr val="1A3B47"/>
                </a:solidFill>
                <a:ea typeface="Soho Gothic Pro Light"/>
              </a:rPr>
              <a:t>Oracle, Progress, SQL Server, MySQL</a:t>
            </a:r>
          </a:p>
          <a:p>
            <a:r>
              <a:rPr lang="en-US" sz="1000" b="1" spc="-1">
                <a:solidFill>
                  <a:srgbClr val="1A3B47"/>
                </a:solidFill>
                <a:ea typeface="Soho Gothic Pro Light"/>
              </a:rPr>
              <a:t>Big Data (</a:t>
            </a:r>
            <a:r>
              <a:rPr lang="en-US" sz="1000" b="1" spc="-1" err="1">
                <a:solidFill>
                  <a:srgbClr val="1A3B47"/>
                </a:solidFill>
                <a:ea typeface="Soho Gothic Pro Light"/>
              </a:rPr>
              <a:t>tecnología</a:t>
            </a:r>
            <a:r>
              <a:rPr lang="en-US" sz="1000" b="1" spc="-1">
                <a:solidFill>
                  <a:srgbClr val="1A3B47"/>
                </a:solidFill>
                <a:ea typeface="Soho Gothic Pro Light"/>
              </a:rPr>
              <a:t>): </a:t>
            </a:r>
            <a:r>
              <a:rPr lang="en-US" sz="1000" spc="-1">
                <a:solidFill>
                  <a:srgbClr val="1A3B47"/>
                </a:solidFill>
                <a:ea typeface="Soho Gothic Pro Light"/>
              </a:rPr>
              <a:t>Cloudera</a:t>
            </a:r>
            <a:r>
              <a:rPr lang="en-US" sz="1000" b="1" spc="-1">
                <a:solidFill>
                  <a:srgbClr val="1A3B47"/>
                </a:solidFill>
                <a:ea typeface="Soho Gothic Pro Light"/>
              </a:rPr>
              <a:t>,</a:t>
            </a:r>
            <a:r>
              <a:rPr lang="en-US" sz="1000" i="1" spc="-1">
                <a:solidFill>
                  <a:srgbClr val="1A3B47"/>
                </a:solidFill>
                <a:ea typeface="Soho Gothic Pro Light"/>
              </a:rPr>
              <a:t> Elasticsearch, MongoDB, neo4j, kudu, impala</a:t>
            </a:r>
          </a:p>
        </p:txBody>
      </p:sp>
      <p:sp>
        <p:nvSpPr>
          <p:cNvPr id="111" name="CuadroTexto 50_0"/>
          <p:cNvSpPr/>
          <p:nvPr/>
        </p:nvSpPr>
        <p:spPr>
          <a:xfrm>
            <a:off x="9437040" y="1222608"/>
            <a:ext cx="2651040" cy="270843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s-ES" sz="1000" spc="-1">
                <a:solidFill>
                  <a:srgbClr val="1A3B47"/>
                </a:solidFill>
                <a:ea typeface="Soho Gothic Pro Light"/>
              </a:rPr>
              <a:t>2015 </a:t>
            </a:r>
            <a:r>
              <a:rPr lang="es-ES" sz="1000" spc="-1" err="1">
                <a:solidFill>
                  <a:srgbClr val="1A3B47"/>
                </a:solidFill>
                <a:ea typeface="Soho Gothic Pro Light"/>
              </a:rPr>
              <a:t>VMware</a:t>
            </a:r>
            <a:r>
              <a:rPr lang="es-ES" sz="1000" spc="-1">
                <a:solidFill>
                  <a:srgbClr val="1A3B47"/>
                </a:solidFill>
                <a:ea typeface="Soho Gothic Pro Light"/>
              </a:rPr>
              <a:t> VTSP - Sv (Server </a:t>
            </a:r>
            <a:r>
              <a:rPr lang="es-ES" sz="1000" spc="-1" err="1">
                <a:solidFill>
                  <a:srgbClr val="1A3B47"/>
                </a:solidFill>
                <a:ea typeface="Soho Gothic Pro Light"/>
              </a:rPr>
              <a:t>Virtualization</a:t>
            </a:r>
            <a:r>
              <a:rPr lang="es-ES" sz="1000" spc="-1">
                <a:solidFill>
                  <a:srgbClr val="1A3B47"/>
                </a:solidFill>
                <a:ea typeface="Soho Gothic Pro Light"/>
              </a:rPr>
              <a:t> 2015)</a:t>
            </a:r>
          </a:p>
          <a:p>
            <a:r>
              <a:rPr lang="es-ES" sz="1000" spc="-1">
                <a:solidFill>
                  <a:srgbClr val="1A3B47"/>
                </a:solidFill>
                <a:ea typeface="Soho Gothic Pro Light"/>
              </a:rPr>
              <a:t>2015 </a:t>
            </a:r>
            <a:r>
              <a:rPr lang="es-ES" sz="1000" spc="-1" err="1">
                <a:solidFill>
                  <a:srgbClr val="1A3B47"/>
                </a:solidFill>
                <a:ea typeface="Soho Gothic Pro Light"/>
              </a:rPr>
              <a:t>VMware</a:t>
            </a:r>
            <a:r>
              <a:rPr lang="es-ES" sz="1000" spc="-1">
                <a:solidFill>
                  <a:srgbClr val="1A3B47"/>
                </a:solidFill>
                <a:ea typeface="Soho Gothic Pro Light"/>
              </a:rPr>
              <a:t> VSP - Sv (Server </a:t>
            </a:r>
            <a:r>
              <a:rPr lang="es-ES" sz="1000" spc="-1" err="1">
                <a:solidFill>
                  <a:srgbClr val="1A3B47"/>
                </a:solidFill>
                <a:ea typeface="Soho Gothic Pro Light"/>
              </a:rPr>
              <a:t>Virtualization</a:t>
            </a:r>
            <a:r>
              <a:rPr lang="es-ES" sz="1000" spc="-1">
                <a:solidFill>
                  <a:srgbClr val="1A3B47"/>
                </a:solidFill>
                <a:ea typeface="Soho Gothic Pro Light"/>
              </a:rPr>
              <a:t> 2015)</a:t>
            </a:r>
          </a:p>
          <a:p>
            <a:r>
              <a:rPr lang="es-ES" sz="1000" spc="-1">
                <a:solidFill>
                  <a:srgbClr val="1A3B47"/>
                </a:solidFill>
                <a:ea typeface="Soho Gothic Pro Light"/>
              </a:rPr>
              <a:t>2011 Citrix </a:t>
            </a:r>
            <a:r>
              <a:rPr lang="es-ES" sz="1000" spc="-1" err="1">
                <a:solidFill>
                  <a:srgbClr val="1A3B47"/>
                </a:solidFill>
                <a:ea typeface="Soho Gothic Pro Light"/>
              </a:rPr>
              <a:t>Certified</a:t>
            </a:r>
            <a:r>
              <a:rPr lang="es-ES" sz="1000" spc="-1">
                <a:solidFill>
                  <a:srgbClr val="1A3B47"/>
                </a:solidFill>
                <a:ea typeface="Soho Gothic Pro Light"/>
              </a:rPr>
              <a:t> </a:t>
            </a:r>
            <a:r>
              <a:rPr lang="es-ES" sz="1000" spc="-1" err="1">
                <a:solidFill>
                  <a:srgbClr val="1A3B47"/>
                </a:solidFill>
                <a:ea typeface="Soho Gothic Pro Light"/>
              </a:rPr>
              <a:t>Administrator</a:t>
            </a:r>
            <a:r>
              <a:rPr lang="es-ES" sz="1000" spc="-1">
                <a:solidFill>
                  <a:srgbClr val="1A3B47"/>
                </a:solidFill>
                <a:ea typeface="Soho Gothic Pro Light"/>
              </a:rPr>
              <a:t> </a:t>
            </a:r>
            <a:r>
              <a:rPr lang="es-ES" sz="1000" spc="-1" err="1">
                <a:solidFill>
                  <a:srgbClr val="1A3B47"/>
                </a:solidFill>
                <a:ea typeface="Soho Gothic Pro Light"/>
              </a:rPr>
              <a:t>For</a:t>
            </a:r>
            <a:r>
              <a:rPr lang="es-ES" sz="1000" spc="-1">
                <a:solidFill>
                  <a:srgbClr val="1A3B47"/>
                </a:solidFill>
                <a:ea typeface="Soho Gothic Pro Light"/>
              </a:rPr>
              <a:t> Citrix</a:t>
            </a:r>
          </a:p>
          <a:p>
            <a:r>
              <a:rPr lang="es-ES" sz="1000" spc="-1" err="1">
                <a:solidFill>
                  <a:srgbClr val="1A3B47"/>
                </a:solidFill>
                <a:ea typeface="Soho Gothic Pro Light"/>
              </a:rPr>
              <a:t>Xendesktop</a:t>
            </a:r>
            <a:r>
              <a:rPr lang="es-ES" sz="1000" spc="-1">
                <a:solidFill>
                  <a:srgbClr val="1A3B47"/>
                </a:solidFill>
                <a:ea typeface="Soho Gothic Pro Light"/>
              </a:rPr>
              <a:t> 4</a:t>
            </a:r>
          </a:p>
          <a:p>
            <a:r>
              <a:rPr lang="es-ES" sz="1000" spc="-1">
                <a:solidFill>
                  <a:srgbClr val="1A3B47"/>
                </a:solidFill>
                <a:ea typeface="Soho Gothic Pro Light"/>
              </a:rPr>
              <a:t>2010 </a:t>
            </a:r>
            <a:r>
              <a:rPr lang="es-ES" sz="1000" spc="-1" err="1">
                <a:solidFill>
                  <a:srgbClr val="1A3B47"/>
                </a:solidFill>
                <a:ea typeface="Soho Gothic Pro Light"/>
              </a:rPr>
              <a:t>VMware</a:t>
            </a:r>
            <a:r>
              <a:rPr lang="es-ES" sz="1000" spc="-1">
                <a:solidFill>
                  <a:srgbClr val="1A3B47"/>
                </a:solidFill>
                <a:ea typeface="Soho Gothic Pro Light"/>
              </a:rPr>
              <a:t> </a:t>
            </a:r>
            <a:r>
              <a:rPr lang="es-ES" sz="1000" spc="-1" err="1">
                <a:solidFill>
                  <a:srgbClr val="1A3B47"/>
                </a:solidFill>
                <a:ea typeface="Soho Gothic Pro Light"/>
              </a:rPr>
              <a:t>Technical</a:t>
            </a:r>
            <a:r>
              <a:rPr lang="es-ES" sz="1000" spc="-1">
                <a:solidFill>
                  <a:srgbClr val="1A3B47"/>
                </a:solidFill>
                <a:ea typeface="Soho Gothic Pro Light"/>
              </a:rPr>
              <a:t> Sales Professional </a:t>
            </a:r>
            <a:r>
              <a:rPr lang="es-ES" sz="1000" spc="-1" err="1">
                <a:solidFill>
                  <a:srgbClr val="1A3B47"/>
                </a:solidFill>
                <a:ea typeface="Soho Gothic Pro Light"/>
              </a:rPr>
              <a:t>Program</a:t>
            </a:r>
            <a:endParaRPr lang="es-ES" sz="1000" spc="-1">
              <a:solidFill>
                <a:srgbClr val="1A3B47"/>
              </a:solidFill>
              <a:ea typeface="Soho Gothic Pro Light"/>
            </a:endParaRPr>
          </a:p>
          <a:p>
            <a:r>
              <a:rPr lang="es-ES" sz="1000" spc="-1">
                <a:solidFill>
                  <a:srgbClr val="1A3B47"/>
                </a:solidFill>
                <a:ea typeface="Soho Gothic Pro Light"/>
              </a:rPr>
              <a:t>2009 </a:t>
            </a:r>
            <a:r>
              <a:rPr lang="es-ES" sz="1000" spc="-1" err="1">
                <a:solidFill>
                  <a:srgbClr val="1A3B47"/>
                </a:solidFill>
                <a:ea typeface="Soho Gothic Pro Light"/>
              </a:rPr>
              <a:t>VMware</a:t>
            </a:r>
            <a:r>
              <a:rPr lang="es-ES" sz="1000" spc="-1">
                <a:solidFill>
                  <a:srgbClr val="1A3B47"/>
                </a:solidFill>
                <a:ea typeface="Soho Gothic Pro Light"/>
              </a:rPr>
              <a:t> Sales Professional</a:t>
            </a:r>
          </a:p>
          <a:p>
            <a:r>
              <a:rPr lang="es-ES" sz="1000" spc="-1">
                <a:solidFill>
                  <a:srgbClr val="1A3B47"/>
                </a:solidFill>
                <a:ea typeface="Soho Gothic Pro Light"/>
              </a:rPr>
              <a:t>2008 IT </a:t>
            </a:r>
            <a:r>
              <a:rPr lang="es-ES" sz="1000" spc="-1" err="1">
                <a:solidFill>
                  <a:srgbClr val="1A3B47"/>
                </a:solidFill>
                <a:ea typeface="Soho Gothic Pro Light"/>
              </a:rPr>
              <a:t>Service</a:t>
            </a:r>
            <a:r>
              <a:rPr lang="es-ES" sz="1000" spc="-1">
                <a:solidFill>
                  <a:srgbClr val="1A3B47"/>
                </a:solidFill>
                <a:ea typeface="Soho Gothic Pro Light"/>
              </a:rPr>
              <a:t> Management V2 (</a:t>
            </a:r>
            <a:r>
              <a:rPr lang="es-ES" sz="1000" spc="-1" err="1">
                <a:solidFill>
                  <a:srgbClr val="1A3B47"/>
                </a:solidFill>
                <a:ea typeface="Soho Gothic Pro Light"/>
              </a:rPr>
              <a:t>Itil</a:t>
            </a:r>
            <a:r>
              <a:rPr lang="es-ES" sz="1000" spc="-1">
                <a:solidFill>
                  <a:srgbClr val="1A3B47"/>
                </a:solidFill>
                <a:ea typeface="Soho Gothic Pro Light"/>
              </a:rPr>
              <a:t> V2)</a:t>
            </a:r>
          </a:p>
          <a:p>
            <a:r>
              <a:rPr lang="es-ES" sz="1000" spc="-1">
                <a:solidFill>
                  <a:srgbClr val="1A3B47"/>
                </a:solidFill>
                <a:ea typeface="Soho Gothic Pro Light"/>
              </a:rPr>
              <a:t>2006 </a:t>
            </a:r>
            <a:r>
              <a:rPr lang="es-ES" sz="1000" spc="-1" err="1">
                <a:solidFill>
                  <a:srgbClr val="1A3B47"/>
                </a:solidFill>
                <a:ea typeface="Soho Gothic Pro Light"/>
              </a:rPr>
              <a:t>VMware</a:t>
            </a:r>
            <a:r>
              <a:rPr lang="es-ES" sz="1000" spc="-1">
                <a:solidFill>
                  <a:srgbClr val="1A3B47"/>
                </a:solidFill>
                <a:ea typeface="Soho Gothic Pro Light"/>
              </a:rPr>
              <a:t> </a:t>
            </a:r>
            <a:r>
              <a:rPr lang="es-ES" sz="1000" spc="-1" err="1">
                <a:solidFill>
                  <a:srgbClr val="1A3B47"/>
                </a:solidFill>
                <a:ea typeface="Soho Gothic Pro Light"/>
              </a:rPr>
              <a:t>Certified</a:t>
            </a:r>
            <a:r>
              <a:rPr lang="es-ES" sz="1000" spc="-1">
                <a:solidFill>
                  <a:srgbClr val="1A3B47"/>
                </a:solidFill>
                <a:ea typeface="Soho Gothic Pro Light"/>
              </a:rPr>
              <a:t> Profesional</a:t>
            </a:r>
          </a:p>
          <a:p>
            <a:r>
              <a:rPr lang="es-ES" sz="1000" spc="-1">
                <a:solidFill>
                  <a:srgbClr val="1A3B47"/>
                </a:solidFill>
                <a:ea typeface="Soho Gothic Pro Light"/>
              </a:rPr>
              <a:t>2006 Citrix </a:t>
            </a:r>
            <a:r>
              <a:rPr lang="es-ES" sz="1000" spc="-1" err="1">
                <a:solidFill>
                  <a:srgbClr val="1A3B47"/>
                </a:solidFill>
                <a:ea typeface="Soho Gothic Pro Light"/>
              </a:rPr>
              <a:t>Certified</a:t>
            </a:r>
            <a:r>
              <a:rPr lang="es-ES" sz="1000" spc="-1">
                <a:solidFill>
                  <a:srgbClr val="1A3B47"/>
                </a:solidFill>
                <a:ea typeface="Soho Gothic Pro Light"/>
              </a:rPr>
              <a:t> </a:t>
            </a:r>
            <a:r>
              <a:rPr lang="es-ES" sz="1000" spc="-1" err="1">
                <a:solidFill>
                  <a:srgbClr val="1A3B47"/>
                </a:solidFill>
                <a:ea typeface="Soho Gothic Pro Light"/>
              </a:rPr>
              <a:t>Administrator</a:t>
            </a:r>
            <a:r>
              <a:rPr lang="es-ES" sz="1000" spc="-1">
                <a:solidFill>
                  <a:srgbClr val="1A3B47"/>
                </a:solidFill>
                <a:ea typeface="Soho Gothic Pro Light"/>
              </a:rPr>
              <a:t> </a:t>
            </a:r>
            <a:r>
              <a:rPr lang="es-ES" sz="1000" spc="-1" err="1">
                <a:solidFill>
                  <a:srgbClr val="1A3B47"/>
                </a:solidFill>
                <a:ea typeface="Soho Gothic Pro Light"/>
              </a:rPr>
              <a:t>For</a:t>
            </a:r>
            <a:r>
              <a:rPr lang="es-ES" sz="1000" spc="-1">
                <a:solidFill>
                  <a:srgbClr val="1A3B47"/>
                </a:solidFill>
                <a:ea typeface="Soho Gothic Pro Light"/>
              </a:rPr>
              <a:t> </a:t>
            </a:r>
            <a:r>
              <a:rPr lang="es-ES" sz="1000" spc="-1" err="1">
                <a:solidFill>
                  <a:srgbClr val="1A3B47"/>
                </a:solidFill>
                <a:ea typeface="Soho Gothic Pro Light"/>
              </a:rPr>
              <a:t>Metaframe</a:t>
            </a:r>
            <a:r>
              <a:rPr lang="es-ES" sz="1000" spc="-1">
                <a:solidFill>
                  <a:srgbClr val="1A3B47"/>
                </a:solidFill>
                <a:ea typeface="Soho Gothic Pro Light"/>
              </a:rPr>
              <a:t> </a:t>
            </a:r>
            <a:r>
              <a:rPr lang="es-ES" sz="1000" spc="-1" err="1">
                <a:solidFill>
                  <a:srgbClr val="1A3B47"/>
                </a:solidFill>
                <a:ea typeface="Soho Gothic Pro Light"/>
              </a:rPr>
              <a:t>Xp</a:t>
            </a:r>
            <a:r>
              <a:rPr lang="es-ES" sz="1000" spc="-1">
                <a:solidFill>
                  <a:srgbClr val="1A3B47"/>
                </a:solidFill>
                <a:ea typeface="Soho Gothic Pro Light"/>
              </a:rPr>
              <a:t> </a:t>
            </a:r>
            <a:r>
              <a:rPr lang="es-ES" sz="1000" spc="-1" err="1">
                <a:solidFill>
                  <a:srgbClr val="1A3B47"/>
                </a:solidFill>
                <a:ea typeface="Soho Gothic Pro Light"/>
              </a:rPr>
              <a:t>Presentation</a:t>
            </a:r>
            <a:r>
              <a:rPr lang="es-ES" sz="1000" spc="-1">
                <a:solidFill>
                  <a:srgbClr val="1A3B47"/>
                </a:solidFill>
                <a:ea typeface="Soho Gothic Pro Light"/>
              </a:rPr>
              <a:t> Server</a:t>
            </a:r>
          </a:p>
          <a:p>
            <a:r>
              <a:rPr lang="es-ES" sz="1000" spc="-1">
                <a:solidFill>
                  <a:srgbClr val="1A3B47"/>
                </a:solidFill>
                <a:ea typeface="Soho Gothic Pro Light"/>
              </a:rPr>
              <a:t>2005 Citrix </a:t>
            </a:r>
            <a:r>
              <a:rPr lang="es-ES" sz="1000" spc="-1" err="1">
                <a:solidFill>
                  <a:srgbClr val="1A3B47"/>
                </a:solidFill>
                <a:ea typeface="Soho Gothic Pro Light"/>
              </a:rPr>
              <a:t>Certified</a:t>
            </a:r>
            <a:r>
              <a:rPr lang="es-ES" sz="1000" spc="-1">
                <a:solidFill>
                  <a:srgbClr val="1A3B47"/>
                </a:solidFill>
                <a:ea typeface="Soho Gothic Pro Light"/>
              </a:rPr>
              <a:t> </a:t>
            </a:r>
            <a:r>
              <a:rPr lang="es-ES" sz="1000" spc="-1" err="1">
                <a:solidFill>
                  <a:srgbClr val="1A3B47"/>
                </a:solidFill>
                <a:ea typeface="Soho Gothic Pro Light"/>
              </a:rPr>
              <a:t>Administrator</a:t>
            </a:r>
            <a:r>
              <a:rPr lang="es-ES" sz="1000" spc="-1">
                <a:solidFill>
                  <a:srgbClr val="1A3B47"/>
                </a:solidFill>
                <a:ea typeface="Soho Gothic Pro Light"/>
              </a:rPr>
              <a:t> </a:t>
            </a:r>
            <a:r>
              <a:rPr lang="es-ES" sz="1000" spc="-1" err="1">
                <a:solidFill>
                  <a:srgbClr val="1A3B47"/>
                </a:solidFill>
                <a:ea typeface="Soho Gothic Pro Light"/>
              </a:rPr>
              <a:t>For</a:t>
            </a:r>
            <a:endParaRPr lang="es-ES" sz="1000" spc="-1">
              <a:solidFill>
                <a:srgbClr val="1A3B47"/>
              </a:solidFill>
              <a:ea typeface="Soho Gothic Pro Light"/>
            </a:endParaRPr>
          </a:p>
          <a:p>
            <a:r>
              <a:rPr lang="es-ES" sz="1000" spc="-1" err="1">
                <a:solidFill>
                  <a:srgbClr val="1A3B47"/>
                </a:solidFill>
                <a:ea typeface="Soho Gothic Pro Light"/>
              </a:rPr>
              <a:t>Presentation</a:t>
            </a:r>
            <a:r>
              <a:rPr lang="es-ES" sz="1000" spc="-1">
                <a:solidFill>
                  <a:srgbClr val="1A3B47"/>
                </a:solidFill>
                <a:ea typeface="Soho Gothic Pro Light"/>
              </a:rPr>
              <a:t> Server 3.0</a:t>
            </a:r>
          </a:p>
          <a:p>
            <a:r>
              <a:rPr lang="es-ES" sz="1000" spc="-1">
                <a:solidFill>
                  <a:srgbClr val="1A3B47"/>
                </a:solidFill>
                <a:ea typeface="Soho Gothic Pro Light"/>
              </a:rPr>
              <a:t>2002 Citrix </a:t>
            </a:r>
            <a:r>
              <a:rPr lang="es-ES" sz="1000" spc="-1" err="1">
                <a:solidFill>
                  <a:srgbClr val="1A3B47"/>
                </a:solidFill>
                <a:ea typeface="Soho Gothic Pro Light"/>
              </a:rPr>
              <a:t>Certified</a:t>
            </a:r>
            <a:r>
              <a:rPr lang="es-ES" sz="1000" spc="-1">
                <a:solidFill>
                  <a:srgbClr val="1A3B47"/>
                </a:solidFill>
                <a:ea typeface="Soho Gothic Pro Light"/>
              </a:rPr>
              <a:t> </a:t>
            </a:r>
            <a:r>
              <a:rPr lang="es-ES" sz="1000" spc="-1" err="1">
                <a:solidFill>
                  <a:srgbClr val="1A3B47"/>
                </a:solidFill>
                <a:ea typeface="Soho Gothic Pro Light"/>
              </a:rPr>
              <a:t>Administrator</a:t>
            </a:r>
            <a:r>
              <a:rPr lang="es-ES" sz="1000" spc="-1">
                <a:solidFill>
                  <a:srgbClr val="1A3B47"/>
                </a:solidFill>
                <a:ea typeface="Soho Gothic Pro Light"/>
              </a:rPr>
              <a:t> </a:t>
            </a:r>
            <a:r>
              <a:rPr lang="es-ES" sz="1000" spc="-1" err="1">
                <a:solidFill>
                  <a:srgbClr val="1A3B47"/>
                </a:solidFill>
                <a:ea typeface="Soho Gothic Pro Light"/>
              </a:rPr>
              <a:t>For</a:t>
            </a:r>
            <a:r>
              <a:rPr lang="es-ES" sz="1000" spc="-1">
                <a:solidFill>
                  <a:srgbClr val="1A3B47"/>
                </a:solidFill>
                <a:ea typeface="Soho Gothic Pro Light"/>
              </a:rPr>
              <a:t> </a:t>
            </a:r>
            <a:r>
              <a:rPr lang="es-ES" sz="1000" spc="-1" err="1">
                <a:solidFill>
                  <a:srgbClr val="1A3B47"/>
                </a:solidFill>
                <a:ea typeface="Soho Gothic Pro Light"/>
              </a:rPr>
              <a:t>Metaframe</a:t>
            </a:r>
            <a:r>
              <a:rPr lang="es-ES" sz="1000" spc="-1">
                <a:solidFill>
                  <a:srgbClr val="1A3B47"/>
                </a:solidFill>
                <a:ea typeface="Soho Gothic Pro Light"/>
              </a:rPr>
              <a:t> </a:t>
            </a:r>
            <a:r>
              <a:rPr lang="es-ES" sz="1000" spc="-1" err="1">
                <a:solidFill>
                  <a:srgbClr val="1A3B47"/>
                </a:solidFill>
                <a:ea typeface="Soho Gothic Pro Light"/>
              </a:rPr>
              <a:t>Xp</a:t>
            </a:r>
            <a:endParaRPr lang="es-ES" sz="1000" spc="-1">
              <a:solidFill>
                <a:srgbClr val="1A3B47"/>
              </a:solidFill>
              <a:ea typeface="Soho Gothic Pro Light"/>
            </a:endParaRPr>
          </a:p>
        </p:txBody>
      </p:sp>
      <p:sp>
        <p:nvSpPr>
          <p:cNvPr id="112" name="CuadroTexto 56_0"/>
          <p:cNvSpPr/>
          <p:nvPr/>
        </p:nvSpPr>
        <p:spPr>
          <a:xfrm>
            <a:off x="943704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r>
              <a:rPr lang="es-ES" sz="1200" spc="-1">
                <a:solidFill>
                  <a:srgbClr val="1A3B47"/>
                </a:solidFill>
                <a:latin typeface="Soho Gothic Pro"/>
              </a:rPr>
              <a:t>Educación</a:t>
            </a:r>
            <a:endParaRPr lang="es-ES" sz="1200" spc="-1">
              <a:solidFill>
                <a:srgbClr val="1A3B47"/>
              </a:solidFill>
              <a:latin typeface="Arial"/>
            </a:endParaRPr>
          </a:p>
        </p:txBody>
      </p:sp>
      <p:sp>
        <p:nvSpPr>
          <p:cNvPr id="113" name="CuadroTexto 70_0"/>
          <p:cNvSpPr/>
          <p:nvPr/>
        </p:nvSpPr>
        <p:spPr>
          <a:xfrm>
            <a:off x="9437040" y="397163"/>
            <a:ext cx="2349360" cy="55399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s-ES" sz="1000" spc="-1">
                <a:solidFill>
                  <a:srgbClr val="1A3B47"/>
                </a:solidFill>
                <a:ea typeface="Soho Gothic Pro Light"/>
              </a:rPr>
              <a:t>1987 COU</a:t>
            </a:r>
          </a:p>
          <a:p>
            <a:r>
              <a:rPr lang="es-ES" sz="1000" spc="-1">
                <a:solidFill>
                  <a:srgbClr val="1A3B47"/>
                </a:solidFill>
                <a:ea typeface="Soho Gothic Pro Light"/>
              </a:rPr>
              <a:t>EASC / COLEGIO GAUDI / ACADEMIA MONFER (España)</a:t>
            </a:r>
          </a:p>
        </p:txBody>
      </p:sp>
      <p:sp>
        <p:nvSpPr>
          <p:cNvPr id="117" name="CuadroTexto 33_0"/>
          <p:cNvSpPr/>
          <p:nvPr/>
        </p:nvSpPr>
        <p:spPr>
          <a:xfrm>
            <a:off x="9437040" y="951800"/>
            <a:ext cx="1965600" cy="275545"/>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r>
              <a:rPr lang="es-ES" sz="1200" spc="-1">
                <a:solidFill>
                  <a:srgbClr val="1A3B47"/>
                </a:solidFill>
                <a:latin typeface="Soho Gothic Pro Light"/>
              </a:rPr>
              <a:t>Certificaciones</a:t>
            </a:r>
            <a:endParaRPr lang="es-ES" sz="1200" spc="-1">
              <a:solidFill>
                <a:srgbClr val="1A3B47"/>
              </a:solidFill>
              <a:latin typeface="Arial"/>
            </a:endParaRPr>
          </a:p>
        </p:txBody>
      </p:sp>
      <p:sp>
        <p:nvSpPr>
          <p:cNvPr id="37" name="CuadroTexto 30_0"/>
          <p:cNvSpPr/>
          <p:nvPr/>
        </p:nvSpPr>
        <p:spPr>
          <a:xfrm>
            <a:off x="5463001" y="152640"/>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Richard Drevet Nieva</a:t>
            </a:r>
            <a:endParaRPr lang="es-ES" sz="2000" b="0" strike="noStrike" spc="-1">
              <a:solidFill>
                <a:schemeClr val="bg1"/>
              </a:solidFill>
              <a:latin typeface="Arial"/>
            </a:endParaRPr>
          </a:p>
        </p:txBody>
      </p:sp>
      <p:sp>
        <p:nvSpPr>
          <p:cNvPr id="27" name="CuadroTexto 44_0"/>
          <p:cNvSpPr/>
          <p:nvPr/>
        </p:nvSpPr>
        <p:spPr>
          <a:xfrm>
            <a:off x="651599" y="1312738"/>
            <a:ext cx="3982914" cy="144655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r>
              <a:rPr lang="es-ES" sz="1100" b="1" spc="-1" err="1">
                <a:solidFill>
                  <a:srgbClr val="1A3B47"/>
                </a:solidFill>
                <a:latin typeface="Soho Gothic Pro Light"/>
                <a:ea typeface="Soho Gothic Pro Light"/>
              </a:rPr>
              <a:t>Minsait</a:t>
            </a:r>
            <a:r>
              <a:rPr lang="es-ES" sz="1100" b="1" spc="-1">
                <a:solidFill>
                  <a:srgbClr val="1A3B47"/>
                </a:solidFill>
                <a:latin typeface="Soho Gothic Pro Light"/>
                <a:ea typeface="Soho Gothic Pro Light"/>
              </a:rPr>
              <a:t> </a:t>
            </a:r>
            <a:r>
              <a:rPr lang="es-ES" sz="1100" b="1" spc="-1" err="1">
                <a:solidFill>
                  <a:srgbClr val="1A3B47"/>
                </a:solidFill>
                <a:latin typeface="Soho Gothic Pro Light"/>
                <a:ea typeface="Soho Gothic Pro Light"/>
              </a:rPr>
              <a:t>by</a:t>
            </a:r>
            <a:r>
              <a:rPr lang="es-ES" sz="1100" b="1" spc="-1">
                <a:solidFill>
                  <a:srgbClr val="1A3B47"/>
                </a:solidFill>
                <a:latin typeface="Soho Gothic Pro Light"/>
                <a:ea typeface="Soho Gothic Pro Light"/>
              </a:rPr>
              <a:t> Indra (Barcelona, España)</a:t>
            </a:r>
            <a:endParaRPr lang="es-ES" sz="1100" spc="-1">
              <a:solidFill>
                <a:srgbClr val="1A3B47"/>
              </a:solidFill>
              <a:latin typeface="Arial"/>
            </a:endParaRPr>
          </a:p>
          <a:p>
            <a:pPr algn="just"/>
            <a:r>
              <a:rPr lang="es-ES" sz="1100" spc="-1">
                <a:solidFill>
                  <a:srgbClr val="1A3B47"/>
                </a:solidFill>
                <a:latin typeface="Soho Gothic Pro Light"/>
                <a:ea typeface="Soho Gothic Pro Light"/>
              </a:rPr>
              <a:t>Ingeniero de Sistemas Senior</a:t>
            </a:r>
            <a:endParaRPr lang="es-ES" sz="1100" spc="-1">
              <a:solidFill>
                <a:srgbClr val="1A3B47"/>
              </a:solidFill>
              <a:latin typeface="Arial"/>
            </a:endParaRPr>
          </a:p>
          <a:p>
            <a:pPr algn="just"/>
            <a:endParaRPr lang="es-ES" sz="1100" spc="-1">
              <a:solidFill>
                <a:srgbClr val="1A3B47"/>
              </a:solidFill>
              <a:latin typeface="Arial"/>
            </a:endParaRPr>
          </a:p>
          <a:p>
            <a:pPr marL="171360" indent="-171000" algn="just">
              <a:buClr>
                <a:srgbClr val="1A3B47"/>
              </a:buClr>
              <a:buFont typeface="Arial,Sans-Serif"/>
              <a:buChar char="•"/>
            </a:pPr>
            <a:r>
              <a:rPr lang="es-ES" sz="1100" spc="-1">
                <a:solidFill>
                  <a:srgbClr val="1A3B47"/>
                </a:solidFill>
              </a:rPr>
              <a:t>Instalación, configuración y soporte de sistemas de  Elasticsearch para Banca </a:t>
            </a:r>
            <a:r>
              <a:rPr lang="es-ES" sz="1100" spc="-1" err="1">
                <a:solidFill>
                  <a:srgbClr val="1A3B47"/>
                </a:solidFill>
              </a:rPr>
              <a:t>March</a:t>
            </a:r>
            <a:r>
              <a:rPr lang="es-ES" sz="1100" spc="-1">
                <a:solidFill>
                  <a:srgbClr val="1A3B47"/>
                </a:solidFill>
              </a:rPr>
              <a:t>.</a:t>
            </a:r>
          </a:p>
          <a:p>
            <a:pPr marL="171360" indent="-171000" algn="just">
              <a:buClr>
                <a:srgbClr val="1A3B47"/>
              </a:buClr>
              <a:buFont typeface="Arial,Sans-Serif"/>
              <a:buChar char="•"/>
            </a:pPr>
            <a:r>
              <a:rPr lang="es-ES" sz="1100" spc="-1">
                <a:solidFill>
                  <a:srgbClr val="1A3B47"/>
                </a:solidFill>
              </a:rPr>
              <a:t>Instalación y explotación de </a:t>
            </a:r>
            <a:r>
              <a:rPr lang="es-ES" sz="1100" spc="-1" err="1">
                <a:solidFill>
                  <a:srgbClr val="1A3B47"/>
                </a:solidFill>
              </a:rPr>
              <a:t>Cloudera</a:t>
            </a:r>
            <a:r>
              <a:rPr lang="es-ES" sz="1100" spc="-1">
                <a:solidFill>
                  <a:srgbClr val="1A3B47"/>
                </a:solidFill>
              </a:rPr>
              <a:t> 6.3.1 para el entorno de desarrollo para Tributos del CTTI. Instalación MongoDB, Impala, </a:t>
            </a:r>
            <a:r>
              <a:rPr lang="es-ES" sz="1100" spc="-1" err="1">
                <a:solidFill>
                  <a:srgbClr val="1A3B47"/>
                </a:solidFill>
              </a:rPr>
              <a:t>Kudu</a:t>
            </a:r>
            <a:r>
              <a:rPr lang="es-ES" sz="1100" spc="-1">
                <a:solidFill>
                  <a:srgbClr val="1A3B47"/>
                </a:solidFill>
              </a:rPr>
              <a:t>, Neo4J y </a:t>
            </a:r>
            <a:r>
              <a:rPr lang="es-ES" sz="1100" spc="-1" err="1">
                <a:solidFill>
                  <a:srgbClr val="1A3B47"/>
                </a:solidFill>
              </a:rPr>
              <a:t>Kerberos</a:t>
            </a:r>
            <a:r>
              <a:rPr lang="es-ES" sz="1100" spc="-1">
                <a:solidFill>
                  <a:srgbClr val="1A3B47"/>
                </a:solidFill>
              </a:rPr>
              <a:t>.</a:t>
            </a:r>
          </a:p>
        </p:txBody>
      </p:sp>
      <p:sp>
        <p:nvSpPr>
          <p:cNvPr id="28" name="CuadroTexto 45_2"/>
          <p:cNvSpPr/>
          <p:nvPr/>
        </p:nvSpPr>
        <p:spPr>
          <a:xfrm>
            <a:off x="5235389" y="2590831"/>
            <a:ext cx="4007341" cy="937264"/>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algn="just"/>
            <a:r>
              <a:rPr lang="es-ES" sz="1100" b="1" spc="-1">
                <a:solidFill>
                  <a:srgbClr val="1A3B47"/>
                </a:solidFill>
                <a:ea typeface="Soho Gothic Pro Light"/>
              </a:rPr>
              <a:t>Indra (Barcelona, España)</a:t>
            </a:r>
            <a:endParaRPr lang="es-ES" sz="1100" spc="-1">
              <a:solidFill>
                <a:srgbClr val="1A3B47"/>
              </a:solidFill>
              <a:latin typeface="Arial"/>
            </a:endParaRPr>
          </a:p>
          <a:p>
            <a:pPr algn="just"/>
            <a:r>
              <a:rPr lang="es-ES" sz="1100" spc="-1">
                <a:solidFill>
                  <a:srgbClr val="1A3B47"/>
                </a:solidFill>
                <a:ea typeface="Soho Gothic Pro Light"/>
              </a:rPr>
              <a:t>Consultor Senior</a:t>
            </a:r>
            <a:endParaRPr lang="es-ES" sz="1100" spc="-1">
              <a:solidFill>
                <a:srgbClr val="1A3B47"/>
              </a:solidFill>
              <a:latin typeface="Arial"/>
            </a:endParaRPr>
          </a:p>
          <a:p>
            <a:pPr algn="just"/>
            <a:endParaRPr lang="es-ES" sz="1100" spc="-1">
              <a:solidFill>
                <a:srgbClr val="1A3B47"/>
              </a:solidFill>
              <a:latin typeface="Arial"/>
            </a:endParaRPr>
          </a:p>
          <a:p>
            <a:pPr algn="just"/>
            <a:r>
              <a:rPr lang="es-ES" sz="1100" spc="-1">
                <a:solidFill>
                  <a:srgbClr val="1A3B47"/>
                </a:solidFill>
                <a:latin typeface="Arial"/>
              </a:rPr>
              <a:t>LECTA</a:t>
            </a:r>
          </a:p>
          <a:p>
            <a:pPr marL="171360" indent="-171000" algn="just">
              <a:buClr>
                <a:srgbClr val="1A3B47"/>
              </a:buClr>
              <a:buFont typeface="Arial,Sans-Serif"/>
              <a:buChar char="•"/>
            </a:pPr>
            <a:r>
              <a:rPr lang="es-ES" sz="1100" spc="-1">
                <a:solidFill>
                  <a:srgbClr val="1A3B47"/>
                </a:solidFill>
              </a:rPr>
              <a:t>Plan Director de Sistemas</a:t>
            </a:r>
          </a:p>
        </p:txBody>
      </p:sp>
      <p:sp>
        <p:nvSpPr>
          <p:cNvPr id="29" name="CuadroTexto 48_2"/>
          <p:cNvSpPr/>
          <p:nvPr/>
        </p:nvSpPr>
        <p:spPr>
          <a:xfrm>
            <a:off x="4823910" y="2593114"/>
            <a:ext cx="839880" cy="5078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r>
              <a:rPr lang="es-ES" sz="900" b="1" spc="-1">
                <a:solidFill>
                  <a:srgbClr val="1A3B47"/>
                </a:solidFill>
                <a:ea typeface="Soho Gothic Pro Light"/>
              </a:rPr>
              <a:t>2015</a:t>
            </a:r>
            <a:endParaRPr lang="es-ES" sz="900" b="1" spc="-1">
              <a:solidFill>
                <a:srgbClr val="1A3B47"/>
              </a:solidFill>
              <a:latin typeface="Arial"/>
            </a:endParaRPr>
          </a:p>
          <a:p>
            <a:r>
              <a:rPr lang="es-ES" sz="900" b="1" spc="-1">
                <a:solidFill>
                  <a:srgbClr val="1A3B47"/>
                </a:solidFill>
                <a:ea typeface="Soho Gothic Pro Light"/>
              </a:rPr>
              <a:t>—</a:t>
            </a:r>
            <a:endParaRPr lang="es-ES" sz="900" b="1" spc="-1">
              <a:solidFill>
                <a:srgbClr val="1A3B47"/>
              </a:solidFill>
              <a:latin typeface="Arial"/>
            </a:endParaRPr>
          </a:p>
          <a:p>
            <a:r>
              <a:rPr lang="es-ES" sz="900" b="1" spc="-1">
                <a:solidFill>
                  <a:srgbClr val="1A3B47"/>
                </a:solidFill>
                <a:ea typeface="Soho Gothic Pro Light"/>
              </a:rPr>
              <a:t>2015</a:t>
            </a:r>
            <a:endParaRPr lang="es-ES" sz="900" spc="-1">
              <a:solidFill>
                <a:srgbClr val="1A3B47"/>
              </a:solidFill>
              <a:latin typeface="Arial"/>
            </a:endParaRPr>
          </a:p>
        </p:txBody>
      </p:sp>
      <p:sp>
        <p:nvSpPr>
          <p:cNvPr id="32" name="CuadroTexto 39_0"/>
          <p:cNvSpPr/>
          <p:nvPr/>
        </p:nvSpPr>
        <p:spPr>
          <a:xfrm>
            <a:off x="240120" y="1312738"/>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r>
              <a:rPr lang="es-ES" sz="900" b="1" spc="-1">
                <a:solidFill>
                  <a:srgbClr val="1A3B47"/>
                </a:solidFill>
                <a:latin typeface="Soho Gothic Pro Light"/>
                <a:ea typeface="Soho Gothic Pro Light"/>
              </a:rPr>
              <a:t>ACT</a:t>
            </a:r>
            <a:endParaRPr lang="es-ES" sz="900" b="1" spc="-1">
              <a:solidFill>
                <a:srgbClr val="1A3B47"/>
              </a:solidFill>
              <a:latin typeface="Arial"/>
            </a:endParaRPr>
          </a:p>
          <a:p>
            <a:r>
              <a:rPr lang="es-ES" sz="900" b="1" spc="-1">
                <a:solidFill>
                  <a:srgbClr val="1A3B47"/>
                </a:solidFill>
                <a:latin typeface="Soho Gothic Pro Light"/>
                <a:ea typeface="Soho Gothic Pro Light"/>
              </a:rPr>
              <a:t>—</a:t>
            </a:r>
            <a:endParaRPr lang="es-ES" sz="900" b="1" spc="-1">
              <a:solidFill>
                <a:srgbClr val="1A3B47"/>
              </a:solidFill>
              <a:latin typeface="Arial"/>
            </a:endParaRPr>
          </a:p>
          <a:p>
            <a:r>
              <a:rPr lang="es-ES" sz="900" b="1" spc="-1">
                <a:solidFill>
                  <a:srgbClr val="1A3B47"/>
                </a:solidFill>
                <a:latin typeface="Soho Gothic Pro Light"/>
                <a:ea typeface="Soho Gothic Pro Light"/>
              </a:rPr>
              <a:t>2020</a:t>
            </a:r>
            <a:endParaRPr lang="es-ES" sz="900" b="1" spc="-1">
              <a:solidFill>
                <a:srgbClr val="1A3B47"/>
              </a:solidFill>
              <a:latin typeface="Arial"/>
            </a:endParaRPr>
          </a:p>
          <a:p>
            <a:pPr>
              <a:lnSpc>
                <a:spcPct val="100000"/>
              </a:lnSpc>
            </a:pPr>
            <a:endParaRPr lang="es-ES" sz="900" b="0" strike="noStrike" spc="-1">
              <a:solidFill>
                <a:srgbClr val="FF0000"/>
              </a:solidFill>
              <a:latin typeface="Arial"/>
            </a:endParaRPr>
          </a:p>
        </p:txBody>
      </p:sp>
      <p:sp>
        <p:nvSpPr>
          <p:cNvPr id="38" name="CuadroTexto 44_0"/>
          <p:cNvSpPr/>
          <p:nvPr/>
        </p:nvSpPr>
        <p:spPr>
          <a:xfrm>
            <a:off x="651599" y="2887995"/>
            <a:ext cx="3982914" cy="1107996"/>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r>
              <a:rPr lang="es-ES" sz="1100" b="1" spc="-1" err="1">
                <a:solidFill>
                  <a:srgbClr val="1A3B47"/>
                </a:solidFill>
                <a:ea typeface="Soho Gothic Pro Light"/>
              </a:rPr>
              <a:t>Minsait</a:t>
            </a:r>
            <a:r>
              <a:rPr lang="es-ES" sz="1100" b="1" spc="-1">
                <a:solidFill>
                  <a:srgbClr val="1A3B47"/>
                </a:solidFill>
                <a:ea typeface="Soho Gothic Pro Light"/>
              </a:rPr>
              <a:t> </a:t>
            </a:r>
            <a:r>
              <a:rPr lang="es-ES" sz="1100" b="1" spc="-1" err="1">
                <a:solidFill>
                  <a:srgbClr val="1A3B47"/>
                </a:solidFill>
                <a:ea typeface="Soho Gothic Pro Light"/>
              </a:rPr>
              <a:t>by</a:t>
            </a:r>
            <a:r>
              <a:rPr lang="es-ES" sz="1100" b="1" spc="-1">
                <a:solidFill>
                  <a:srgbClr val="1A3B47"/>
                </a:solidFill>
                <a:ea typeface="Soho Gothic Pro Light"/>
              </a:rPr>
              <a:t> Indra (Barcelona, España)</a:t>
            </a:r>
            <a:endParaRPr lang="es-ES" sz="1100" spc="-1">
              <a:solidFill>
                <a:srgbClr val="1A3B47"/>
              </a:solidFill>
              <a:latin typeface="Arial"/>
            </a:endParaRPr>
          </a:p>
          <a:p>
            <a:pPr algn="just"/>
            <a:r>
              <a:rPr lang="es-ES" sz="1100" spc="-1">
                <a:solidFill>
                  <a:srgbClr val="1A3B47"/>
                </a:solidFill>
                <a:ea typeface="Soho Gothic Pro Light"/>
              </a:rPr>
              <a:t>Jefe de Proyectos</a:t>
            </a:r>
            <a:endParaRPr lang="es-ES" sz="1100" spc="-1">
              <a:solidFill>
                <a:srgbClr val="1A3B47"/>
              </a:solidFill>
              <a:latin typeface="Arial"/>
            </a:endParaRPr>
          </a:p>
          <a:p>
            <a:pPr algn="just"/>
            <a:endParaRPr lang="es-ES" sz="1100" spc="-1">
              <a:solidFill>
                <a:srgbClr val="1A3B47"/>
              </a:solidFill>
              <a:latin typeface="Arial"/>
            </a:endParaRPr>
          </a:p>
          <a:p>
            <a:pPr algn="just"/>
            <a:r>
              <a:rPr lang="es-ES" sz="1100" spc="-1">
                <a:solidFill>
                  <a:srgbClr val="1A3B47"/>
                </a:solidFill>
              </a:rPr>
              <a:t>ANTICIPA REAL ESTATE,S.L.</a:t>
            </a:r>
            <a:endParaRPr lang="es-ES" sz="1100" spc="-1">
              <a:solidFill>
                <a:srgbClr val="1A3B47"/>
              </a:solidFill>
              <a:latin typeface="Arial"/>
            </a:endParaRPr>
          </a:p>
          <a:p>
            <a:pPr marL="171360" indent="-171000" algn="just">
              <a:buClr>
                <a:srgbClr val="1A3B47"/>
              </a:buClr>
              <a:buFont typeface="Arial,Sans-Serif"/>
              <a:buChar char="•"/>
            </a:pPr>
            <a:r>
              <a:rPr lang="es-ES" sz="1100" spc="-1">
                <a:solidFill>
                  <a:srgbClr val="1A3B47"/>
                </a:solidFill>
              </a:rPr>
              <a:t>PMO Jefe de Proyectos de Infraestructuras en proyectos de sistemas y comunicaciones.</a:t>
            </a:r>
          </a:p>
        </p:txBody>
      </p:sp>
      <p:sp>
        <p:nvSpPr>
          <p:cNvPr id="39" name="CuadroTexto 39_0"/>
          <p:cNvSpPr/>
          <p:nvPr/>
        </p:nvSpPr>
        <p:spPr>
          <a:xfrm>
            <a:off x="240120" y="2890278"/>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r>
              <a:rPr lang="es-ES" sz="900" b="1" spc="-1">
                <a:solidFill>
                  <a:srgbClr val="1A3B47"/>
                </a:solidFill>
                <a:latin typeface="Soho Gothic Pro Light"/>
                <a:ea typeface="Soho Gothic Pro Light"/>
              </a:rPr>
              <a:t>2020</a:t>
            </a:r>
            <a:endParaRPr lang="es-ES" sz="900" b="1" spc="-1">
              <a:solidFill>
                <a:srgbClr val="1A3B47"/>
              </a:solidFill>
              <a:latin typeface="Arial"/>
            </a:endParaRPr>
          </a:p>
          <a:p>
            <a:r>
              <a:rPr lang="es-ES" sz="900" b="1" spc="-1">
                <a:solidFill>
                  <a:srgbClr val="1A3B47"/>
                </a:solidFill>
                <a:latin typeface="Soho Gothic Pro Light"/>
                <a:ea typeface="Soho Gothic Pro Light"/>
              </a:rPr>
              <a:t>—</a:t>
            </a:r>
            <a:endParaRPr lang="es-ES" sz="900" b="1" spc="-1">
              <a:solidFill>
                <a:srgbClr val="1A3B47"/>
              </a:solidFill>
              <a:latin typeface="Arial"/>
            </a:endParaRPr>
          </a:p>
          <a:p>
            <a:r>
              <a:rPr lang="es-ES" sz="900" b="1" spc="-1">
                <a:solidFill>
                  <a:srgbClr val="1A3B47"/>
                </a:solidFill>
                <a:latin typeface="Soho Gothic Pro Light"/>
                <a:ea typeface="Soho Gothic Pro Light"/>
              </a:rPr>
              <a:t>2019</a:t>
            </a:r>
            <a:endParaRPr lang="es-ES" sz="900" b="1" spc="-1">
              <a:solidFill>
                <a:srgbClr val="1A3B47"/>
              </a:solidFill>
              <a:latin typeface="Arial"/>
            </a:endParaRPr>
          </a:p>
          <a:p>
            <a:endParaRPr lang="es-ES" sz="900" spc="-1">
              <a:solidFill>
                <a:srgbClr val="1A3B47"/>
              </a:solidFill>
              <a:latin typeface="Arial"/>
            </a:endParaRPr>
          </a:p>
        </p:txBody>
      </p:sp>
      <p:sp>
        <p:nvSpPr>
          <p:cNvPr id="42" name="CuadroTexto 44_0"/>
          <p:cNvSpPr/>
          <p:nvPr/>
        </p:nvSpPr>
        <p:spPr>
          <a:xfrm>
            <a:off x="651599" y="4072577"/>
            <a:ext cx="3982915" cy="1277273"/>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r>
              <a:rPr lang="es-ES" sz="1100" b="1" spc="-1">
                <a:solidFill>
                  <a:srgbClr val="1A3B47"/>
                </a:solidFill>
                <a:ea typeface="Soho Gothic Pro Light"/>
              </a:rPr>
              <a:t>Minsait </a:t>
            </a:r>
            <a:r>
              <a:rPr lang="es-ES" sz="1100" b="1" spc="-1" err="1">
                <a:solidFill>
                  <a:srgbClr val="1A3B47"/>
                </a:solidFill>
                <a:ea typeface="Soho Gothic Pro Light"/>
              </a:rPr>
              <a:t>by</a:t>
            </a:r>
            <a:r>
              <a:rPr lang="es-ES" sz="1100" b="1" spc="-1">
                <a:solidFill>
                  <a:srgbClr val="1A3B47"/>
                </a:solidFill>
                <a:ea typeface="Soho Gothic Pro Light"/>
              </a:rPr>
              <a:t> Indra (Barcelona, España)</a:t>
            </a:r>
            <a:endParaRPr lang="es-ES" sz="1100" spc="-1">
              <a:solidFill>
                <a:srgbClr val="1A3B47"/>
              </a:solidFill>
              <a:latin typeface="Arial"/>
            </a:endParaRPr>
          </a:p>
          <a:p>
            <a:pPr algn="just"/>
            <a:r>
              <a:rPr lang="es-ES" sz="1100" spc="-1">
                <a:solidFill>
                  <a:srgbClr val="1A3B47"/>
                </a:solidFill>
                <a:ea typeface="Soho Gothic Pro Light"/>
              </a:rPr>
              <a:t>Ingeniero de Sistemas Senior</a:t>
            </a:r>
            <a:endParaRPr lang="es-ES" sz="1100" spc="-1">
              <a:solidFill>
                <a:srgbClr val="1A3B47"/>
              </a:solidFill>
              <a:latin typeface="Arial"/>
            </a:endParaRPr>
          </a:p>
          <a:p>
            <a:pPr algn="just"/>
            <a:endParaRPr lang="es-ES" sz="1100" spc="-1">
              <a:solidFill>
                <a:srgbClr val="1A3B47"/>
              </a:solidFill>
              <a:latin typeface="Arial"/>
            </a:endParaRPr>
          </a:p>
          <a:p>
            <a:pPr marL="171360" indent="-171000" algn="just">
              <a:buClr>
                <a:srgbClr val="1A3B47"/>
              </a:buClr>
              <a:buFont typeface="Arial,Sans-Serif"/>
              <a:buChar char="•"/>
            </a:pPr>
            <a:r>
              <a:rPr lang="es-ES" sz="1100" spc="-1">
                <a:solidFill>
                  <a:srgbClr val="1A3B47"/>
                </a:solidFill>
              </a:rPr>
              <a:t>Instalación y explotación de </a:t>
            </a:r>
            <a:r>
              <a:rPr lang="es-ES" sz="1100" spc="-1" err="1">
                <a:solidFill>
                  <a:srgbClr val="1A3B47"/>
                </a:solidFill>
              </a:rPr>
              <a:t>Cloudera</a:t>
            </a:r>
            <a:r>
              <a:rPr lang="es-ES" sz="1100" spc="-1">
                <a:solidFill>
                  <a:srgbClr val="1A3B47"/>
                </a:solidFill>
              </a:rPr>
              <a:t> para el entorno de desarrollo de Tributos del CTTI y entorno demostración </a:t>
            </a:r>
            <a:r>
              <a:rPr lang="es-ES" sz="1100" spc="-1" err="1">
                <a:solidFill>
                  <a:srgbClr val="1A3B47"/>
                </a:solidFill>
              </a:rPr>
              <a:t>Cloudera</a:t>
            </a:r>
            <a:r>
              <a:rPr lang="es-ES" sz="1100" spc="-1">
                <a:solidFill>
                  <a:srgbClr val="1A3B47"/>
                </a:solidFill>
              </a:rPr>
              <a:t> en Amazon Web </a:t>
            </a:r>
            <a:r>
              <a:rPr lang="es-ES" sz="1100" spc="-1" err="1">
                <a:solidFill>
                  <a:srgbClr val="1A3B47"/>
                </a:solidFill>
              </a:rPr>
              <a:t>Services</a:t>
            </a:r>
            <a:r>
              <a:rPr lang="es-ES" sz="1100" spc="-1">
                <a:solidFill>
                  <a:srgbClr val="1A3B47"/>
                </a:solidFill>
              </a:rPr>
              <a:t> AWS.</a:t>
            </a:r>
          </a:p>
          <a:p>
            <a:pPr marL="171360" indent="-171000" algn="just">
              <a:buClr>
                <a:srgbClr val="1A3B47"/>
              </a:buClr>
              <a:buFont typeface="Arial,Sans-Serif"/>
              <a:buChar char="•"/>
            </a:pPr>
            <a:endParaRPr lang="es-ES" sz="1100" spc="-1">
              <a:solidFill>
                <a:srgbClr val="1A3B47"/>
              </a:solidFill>
            </a:endParaRPr>
          </a:p>
        </p:txBody>
      </p:sp>
      <p:sp>
        <p:nvSpPr>
          <p:cNvPr id="43" name="CuadroTexto 39_0"/>
          <p:cNvSpPr/>
          <p:nvPr/>
        </p:nvSpPr>
        <p:spPr>
          <a:xfrm>
            <a:off x="240120" y="4072577"/>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r>
              <a:rPr lang="es-ES" sz="900" b="1" spc="-1">
                <a:solidFill>
                  <a:srgbClr val="1A3B47"/>
                </a:solidFill>
                <a:ea typeface="Soho Gothic Pro Light"/>
              </a:rPr>
              <a:t>2019</a:t>
            </a:r>
            <a:endParaRPr lang="es-ES" sz="900" b="1" spc="-1">
              <a:solidFill>
                <a:srgbClr val="1A3B47"/>
              </a:solidFill>
              <a:latin typeface="Arial"/>
            </a:endParaRPr>
          </a:p>
          <a:p>
            <a:r>
              <a:rPr lang="es-ES" sz="900" b="1" spc="-1">
                <a:solidFill>
                  <a:srgbClr val="1A3B47"/>
                </a:solidFill>
                <a:ea typeface="Soho Gothic Pro Light"/>
              </a:rPr>
              <a:t>—</a:t>
            </a:r>
            <a:endParaRPr lang="es-ES" sz="900" b="1" spc="-1">
              <a:solidFill>
                <a:srgbClr val="1A3B47"/>
              </a:solidFill>
              <a:latin typeface="Arial"/>
            </a:endParaRPr>
          </a:p>
          <a:p>
            <a:r>
              <a:rPr lang="es-ES" sz="900" b="1" spc="-1">
                <a:solidFill>
                  <a:srgbClr val="1A3B47"/>
                </a:solidFill>
                <a:ea typeface="Soho Gothic Pro Light"/>
              </a:rPr>
              <a:t>2019</a:t>
            </a:r>
            <a:endParaRPr lang="es-ES" sz="900" spc="-1">
              <a:solidFill>
                <a:srgbClr val="1A3B47"/>
              </a:solidFill>
              <a:latin typeface="Arial"/>
            </a:endParaRPr>
          </a:p>
          <a:p>
            <a:endParaRPr lang="es-ES" sz="900" spc="-1">
              <a:solidFill>
                <a:srgbClr val="1A3B47"/>
              </a:solidFill>
              <a:latin typeface="Arial"/>
            </a:endParaRPr>
          </a:p>
        </p:txBody>
      </p:sp>
      <p:sp>
        <p:nvSpPr>
          <p:cNvPr id="30" name="CuadroTexto 45_2"/>
          <p:cNvSpPr/>
          <p:nvPr/>
        </p:nvSpPr>
        <p:spPr>
          <a:xfrm>
            <a:off x="651599" y="5265408"/>
            <a:ext cx="4007341" cy="1106542"/>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algn="just">
              <a:lnSpc>
                <a:spcPct val="100000"/>
              </a:lnSpc>
            </a:pPr>
            <a:r>
              <a:rPr lang="es-ES" sz="1100" b="1" spc="-1" err="1">
                <a:solidFill>
                  <a:srgbClr val="1A3B47"/>
                </a:solidFill>
                <a:ea typeface="Soho Gothic Pro Light"/>
              </a:rPr>
              <a:t>Minsait</a:t>
            </a:r>
            <a:r>
              <a:rPr lang="es-ES" sz="1100" b="1" spc="-1">
                <a:solidFill>
                  <a:srgbClr val="1A3B47"/>
                </a:solidFill>
                <a:ea typeface="Soho Gothic Pro Light"/>
              </a:rPr>
              <a:t> </a:t>
            </a:r>
            <a:r>
              <a:rPr lang="es-ES" sz="1100" b="1" spc="-1" err="1">
                <a:solidFill>
                  <a:srgbClr val="1A3B47"/>
                </a:solidFill>
                <a:ea typeface="Soho Gothic Pro Light"/>
              </a:rPr>
              <a:t>by</a:t>
            </a:r>
            <a:r>
              <a:rPr lang="es-ES" sz="1100" b="1" spc="-1">
                <a:solidFill>
                  <a:srgbClr val="1A3B47"/>
                </a:solidFill>
                <a:ea typeface="Soho Gothic Pro Light"/>
              </a:rPr>
              <a:t> Indra (Barcelona, España)</a:t>
            </a:r>
            <a:endParaRPr lang="es-ES" sz="1100" spc="-1">
              <a:solidFill>
                <a:srgbClr val="1A3B47"/>
              </a:solidFill>
              <a:latin typeface="Arial"/>
            </a:endParaRPr>
          </a:p>
          <a:p>
            <a:pPr algn="just">
              <a:lnSpc>
                <a:spcPct val="100000"/>
              </a:lnSpc>
            </a:pPr>
            <a:r>
              <a:rPr lang="es-ES" sz="1100" spc="-1">
                <a:solidFill>
                  <a:srgbClr val="1A3B47"/>
                </a:solidFill>
                <a:ea typeface="Soho Gothic Pro Light"/>
              </a:rPr>
              <a:t>Jefe de Proyectos</a:t>
            </a:r>
            <a:endParaRPr lang="es-ES" sz="1100" spc="-1">
              <a:solidFill>
                <a:srgbClr val="1A3B47"/>
              </a:solidFill>
              <a:latin typeface="Arial"/>
            </a:endParaRPr>
          </a:p>
          <a:p>
            <a:pPr algn="just">
              <a:lnSpc>
                <a:spcPct val="100000"/>
              </a:lnSpc>
            </a:pPr>
            <a:endParaRPr lang="es-ES" sz="1100" spc="-1">
              <a:solidFill>
                <a:srgbClr val="1A3B47"/>
              </a:solidFill>
              <a:latin typeface="Arial"/>
            </a:endParaRPr>
          </a:p>
          <a:p>
            <a:pPr algn="just">
              <a:lnSpc>
                <a:spcPct val="100000"/>
              </a:lnSpc>
            </a:pPr>
            <a:r>
              <a:rPr lang="es-ES" sz="1100" spc="-1">
                <a:solidFill>
                  <a:srgbClr val="1A3B47"/>
                </a:solidFill>
                <a:latin typeface="Arial"/>
              </a:rPr>
              <a:t>BANC SABADELL</a:t>
            </a:r>
          </a:p>
          <a:p>
            <a:pPr marL="171360" indent="-171000" algn="just">
              <a:buClr>
                <a:srgbClr val="1A3B47"/>
              </a:buClr>
              <a:buFont typeface="Arial,Sans-Serif"/>
              <a:buChar char="•"/>
            </a:pPr>
            <a:r>
              <a:rPr lang="es-ES" sz="1100" spc="-1">
                <a:solidFill>
                  <a:srgbClr val="1A3B47"/>
                </a:solidFill>
              </a:rPr>
              <a:t>Jefe de proyectos de tecnología, valoración de ideas y ejecución de proyectos de infraestructuras.</a:t>
            </a:r>
          </a:p>
        </p:txBody>
      </p:sp>
      <p:sp>
        <p:nvSpPr>
          <p:cNvPr id="31" name="CuadroTexto 48_2"/>
          <p:cNvSpPr/>
          <p:nvPr/>
        </p:nvSpPr>
        <p:spPr>
          <a:xfrm>
            <a:off x="240120" y="5267691"/>
            <a:ext cx="839880" cy="5078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solidFill>
                  <a:srgbClr val="1A3B47"/>
                </a:solidFill>
                <a:ea typeface="Soho Gothic Pro Light"/>
              </a:rPr>
              <a:t>2019</a:t>
            </a:r>
            <a:endParaRPr lang="es-ES" sz="900" b="1" spc="-1">
              <a:solidFill>
                <a:srgbClr val="1A3B47"/>
              </a:solidFill>
              <a:latin typeface="Arial"/>
            </a:endParaRPr>
          </a:p>
          <a:p>
            <a:pPr>
              <a:lnSpc>
                <a:spcPct val="100000"/>
              </a:lnSpc>
            </a:pPr>
            <a:r>
              <a:rPr lang="es-ES" sz="900" b="1" spc="-1">
                <a:solidFill>
                  <a:srgbClr val="1A3B47"/>
                </a:solidFill>
                <a:ea typeface="Soho Gothic Pro Light"/>
              </a:rPr>
              <a:t>—</a:t>
            </a:r>
            <a:endParaRPr lang="es-ES" sz="900" b="1" spc="-1">
              <a:solidFill>
                <a:srgbClr val="1A3B47"/>
              </a:solidFill>
              <a:latin typeface="Arial"/>
            </a:endParaRPr>
          </a:p>
          <a:p>
            <a:pPr>
              <a:lnSpc>
                <a:spcPct val="100000"/>
              </a:lnSpc>
            </a:pPr>
            <a:r>
              <a:rPr lang="es-ES" sz="900" b="1" spc="-1">
                <a:solidFill>
                  <a:srgbClr val="1A3B47"/>
                </a:solidFill>
                <a:ea typeface="Soho Gothic Pro Light"/>
              </a:rPr>
              <a:t>2018</a:t>
            </a:r>
            <a:endParaRPr lang="es-ES" sz="900" spc="-1">
              <a:solidFill>
                <a:srgbClr val="1A3B47"/>
              </a:solidFill>
              <a:latin typeface="Arial"/>
            </a:endParaRPr>
          </a:p>
        </p:txBody>
      </p:sp>
      <p:sp>
        <p:nvSpPr>
          <p:cNvPr id="33" name="CuadroTexto 45_2"/>
          <p:cNvSpPr/>
          <p:nvPr/>
        </p:nvSpPr>
        <p:spPr>
          <a:xfrm>
            <a:off x="5235389" y="1312738"/>
            <a:ext cx="4007341" cy="1106542"/>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algn="just">
              <a:lnSpc>
                <a:spcPct val="100000"/>
              </a:lnSpc>
            </a:pPr>
            <a:r>
              <a:rPr lang="es-ES" sz="1100" b="1" spc="-1">
                <a:solidFill>
                  <a:srgbClr val="1A3B47"/>
                </a:solidFill>
                <a:ea typeface="Soho Gothic Pro Light"/>
              </a:rPr>
              <a:t>Indra (Barcelona, España)</a:t>
            </a:r>
            <a:endParaRPr lang="es-ES" sz="1100" spc="-1">
              <a:solidFill>
                <a:srgbClr val="1A3B47"/>
              </a:solidFill>
              <a:latin typeface="Arial"/>
            </a:endParaRPr>
          </a:p>
          <a:p>
            <a:pPr algn="just">
              <a:lnSpc>
                <a:spcPct val="100000"/>
              </a:lnSpc>
            </a:pPr>
            <a:r>
              <a:rPr lang="es-ES" sz="1100" spc="-1">
                <a:solidFill>
                  <a:srgbClr val="1A3B47"/>
                </a:solidFill>
                <a:ea typeface="Soho Gothic Pro Light"/>
              </a:rPr>
              <a:t>Jefe de Proyectos</a:t>
            </a:r>
            <a:endParaRPr lang="es-ES" sz="1100" spc="-1">
              <a:solidFill>
                <a:srgbClr val="1A3B47"/>
              </a:solidFill>
              <a:latin typeface="Arial"/>
            </a:endParaRPr>
          </a:p>
          <a:p>
            <a:pPr algn="just">
              <a:lnSpc>
                <a:spcPct val="100000"/>
              </a:lnSpc>
            </a:pPr>
            <a:endParaRPr lang="es-ES" sz="1100" spc="-1">
              <a:solidFill>
                <a:srgbClr val="1A3B47"/>
              </a:solidFill>
              <a:latin typeface="Arial"/>
            </a:endParaRPr>
          </a:p>
          <a:p>
            <a:pPr algn="just">
              <a:lnSpc>
                <a:spcPct val="100000"/>
              </a:lnSpc>
            </a:pPr>
            <a:r>
              <a:rPr lang="es-ES" sz="1100" spc="-1">
                <a:solidFill>
                  <a:srgbClr val="1A3B47"/>
                </a:solidFill>
                <a:latin typeface="Arial"/>
              </a:rPr>
              <a:t>SEAT</a:t>
            </a:r>
          </a:p>
          <a:p>
            <a:pPr marL="171360" indent="-171000" algn="just">
              <a:buClr>
                <a:srgbClr val="1A3B47"/>
              </a:buClr>
              <a:buFont typeface="Arial,Sans-Serif"/>
              <a:buChar char="•"/>
            </a:pPr>
            <a:r>
              <a:rPr lang="en-US" sz="1100" spc="-1" err="1">
                <a:solidFill>
                  <a:srgbClr val="1A3B47"/>
                </a:solidFill>
              </a:rPr>
              <a:t>Arquitectura</a:t>
            </a:r>
            <a:r>
              <a:rPr lang="en-US" sz="1100" spc="-1">
                <a:solidFill>
                  <a:srgbClr val="1A3B47"/>
                </a:solidFill>
              </a:rPr>
              <a:t> IT para FS-1 IT Steering. </a:t>
            </a:r>
            <a:r>
              <a:rPr lang="en-US" sz="1100" spc="-1" err="1">
                <a:solidFill>
                  <a:srgbClr val="1A3B47"/>
                </a:solidFill>
              </a:rPr>
              <a:t>Arquitectura</a:t>
            </a:r>
            <a:r>
              <a:rPr lang="en-US" sz="1100" spc="-1">
                <a:solidFill>
                  <a:srgbClr val="1A3B47"/>
                </a:solidFill>
              </a:rPr>
              <a:t> IT para FS-7 Run &amp; Build. IT Architecture &amp; Project Management</a:t>
            </a:r>
            <a:endParaRPr lang="es-ES" sz="1100" spc="-1">
              <a:solidFill>
                <a:srgbClr val="1A3B47"/>
              </a:solidFill>
            </a:endParaRPr>
          </a:p>
        </p:txBody>
      </p:sp>
      <p:sp>
        <p:nvSpPr>
          <p:cNvPr id="34" name="CuadroTexto 48_2"/>
          <p:cNvSpPr/>
          <p:nvPr/>
        </p:nvSpPr>
        <p:spPr>
          <a:xfrm>
            <a:off x="4823910" y="1312738"/>
            <a:ext cx="839880" cy="5078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solidFill>
                  <a:srgbClr val="1A3B47"/>
                </a:solidFill>
                <a:ea typeface="Soho Gothic Pro Light"/>
              </a:rPr>
              <a:t>2018</a:t>
            </a:r>
            <a:endParaRPr lang="es-ES" sz="900" b="1" spc="-1">
              <a:solidFill>
                <a:srgbClr val="1A3B47"/>
              </a:solidFill>
              <a:latin typeface="Arial"/>
            </a:endParaRPr>
          </a:p>
          <a:p>
            <a:pPr>
              <a:lnSpc>
                <a:spcPct val="100000"/>
              </a:lnSpc>
            </a:pPr>
            <a:r>
              <a:rPr lang="es-ES" sz="900" b="1" spc="-1">
                <a:solidFill>
                  <a:srgbClr val="1A3B47"/>
                </a:solidFill>
                <a:ea typeface="Soho Gothic Pro Light"/>
              </a:rPr>
              <a:t>—</a:t>
            </a:r>
            <a:endParaRPr lang="es-ES" sz="900" b="1" spc="-1">
              <a:solidFill>
                <a:srgbClr val="1A3B47"/>
              </a:solidFill>
              <a:latin typeface="Arial"/>
            </a:endParaRPr>
          </a:p>
          <a:p>
            <a:pPr>
              <a:lnSpc>
                <a:spcPct val="100000"/>
              </a:lnSpc>
            </a:pPr>
            <a:r>
              <a:rPr lang="es-ES" sz="900" b="1" spc="-1">
                <a:solidFill>
                  <a:srgbClr val="1A3B47"/>
                </a:solidFill>
                <a:ea typeface="Soho Gothic Pro Light"/>
              </a:rPr>
              <a:t>2015</a:t>
            </a:r>
            <a:endParaRPr lang="es-ES" sz="900" spc="-1">
              <a:solidFill>
                <a:srgbClr val="1A3B47"/>
              </a:solidFill>
              <a:latin typeface="Arial"/>
            </a:endParaRPr>
          </a:p>
        </p:txBody>
      </p:sp>
      <p:sp>
        <p:nvSpPr>
          <p:cNvPr id="35" name="CuadroTexto 45_2"/>
          <p:cNvSpPr/>
          <p:nvPr/>
        </p:nvSpPr>
        <p:spPr>
          <a:xfrm>
            <a:off x="5235389" y="3695559"/>
            <a:ext cx="4007341" cy="1275819"/>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algn="just">
              <a:lnSpc>
                <a:spcPct val="100000"/>
              </a:lnSpc>
            </a:pPr>
            <a:r>
              <a:rPr lang="es-ES" sz="1100" b="1" spc="-1">
                <a:solidFill>
                  <a:srgbClr val="1A3B47"/>
                </a:solidFill>
                <a:ea typeface="Soho Gothic Pro Light"/>
              </a:rPr>
              <a:t>Indra (Barcelona, España)</a:t>
            </a:r>
            <a:endParaRPr lang="es-ES" sz="1100" spc="-1">
              <a:solidFill>
                <a:srgbClr val="1A3B47"/>
              </a:solidFill>
              <a:latin typeface="Arial"/>
            </a:endParaRPr>
          </a:p>
          <a:p>
            <a:pPr algn="just">
              <a:lnSpc>
                <a:spcPct val="100000"/>
              </a:lnSpc>
            </a:pPr>
            <a:r>
              <a:rPr lang="es-ES" sz="1100" spc="-1">
                <a:solidFill>
                  <a:srgbClr val="1A3B47"/>
                </a:solidFill>
                <a:ea typeface="Soho Gothic Pro Light"/>
              </a:rPr>
              <a:t>Consultor Senior</a:t>
            </a:r>
            <a:endParaRPr lang="es-ES" sz="1100" spc="-1">
              <a:solidFill>
                <a:srgbClr val="1A3B47"/>
              </a:solidFill>
              <a:latin typeface="Arial"/>
            </a:endParaRPr>
          </a:p>
          <a:p>
            <a:pPr algn="just">
              <a:lnSpc>
                <a:spcPct val="100000"/>
              </a:lnSpc>
            </a:pPr>
            <a:endParaRPr lang="es-ES" sz="1100" spc="-1">
              <a:solidFill>
                <a:srgbClr val="1A3B47"/>
              </a:solidFill>
              <a:latin typeface="Arial"/>
            </a:endParaRPr>
          </a:p>
          <a:p>
            <a:pPr algn="just">
              <a:lnSpc>
                <a:spcPct val="100000"/>
              </a:lnSpc>
            </a:pPr>
            <a:r>
              <a:rPr lang="es-ES" sz="1100" spc="-1" err="1">
                <a:solidFill>
                  <a:srgbClr val="1A3B47"/>
                </a:solidFill>
                <a:latin typeface="Arial"/>
              </a:rPr>
              <a:t>Direction</a:t>
            </a:r>
            <a:r>
              <a:rPr lang="es-ES" sz="1100" spc="-1">
                <a:solidFill>
                  <a:srgbClr val="1A3B47"/>
                </a:solidFill>
                <a:latin typeface="Arial"/>
              </a:rPr>
              <a:t> </a:t>
            </a:r>
            <a:r>
              <a:rPr lang="es-ES" sz="1100" spc="-1" err="1">
                <a:solidFill>
                  <a:srgbClr val="1A3B47"/>
                </a:solidFill>
                <a:latin typeface="Arial"/>
              </a:rPr>
              <a:t>Général</a:t>
            </a:r>
            <a:r>
              <a:rPr lang="es-ES" sz="1100" spc="-1">
                <a:solidFill>
                  <a:srgbClr val="1A3B47"/>
                </a:solidFill>
                <a:latin typeface="Arial"/>
              </a:rPr>
              <a:t> des </a:t>
            </a:r>
            <a:r>
              <a:rPr lang="es-ES" sz="1100" spc="-1" err="1">
                <a:solidFill>
                  <a:srgbClr val="1A3B47"/>
                </a:solidFill>
                <a:latin typeface="Arial"/>
              </a:rPr>
              <a:t>Impôts</a:t>
            </a:r>
            <a:r>
              <a:rPr lang="es-ES" sz="1100" spc="-1">
                <a:solidFill>
                  <a:srgbClr val="1A3B47"/>
                </a:solidFill>
                <a:latin typeface="Arial"/>
              </a:rPr>
              <a:t> </a:t>
            </a:r>
            <a:r>
              <a:rPr lang="es-ES" sz="1100" spc="-1" err="1">
                <a:solidFill>
                  <a:srgbClr val="1A3B47"/>
                </a:solidFill>
                <a:latin typeface="Arial"/>
              </a:rPr>
              <a:t>Algérie</a:t>
            </a:r>
            <a:endParaRPr lang="es-ES" sz="1100" spc="-1">
              <a:solidFill>
                <a:srgbClr val="1A3B47"/>
              </a:solidFill>
              <a:latin typeface="Arial"/>
            </a:endParaRPr>
          </a:p>
          <a:p>
            <a:pPr marL="171450" indent="-171450" algn="just">
              <a:lnSpc>
                <a:spcPct val="100000"/>
              </a:lnSpc>
              <a:buFont typeface="Arial" panose="020B0604020202020204" pitchFamily="34" charset="0"/>
              <a:buChar char="•"/>
            </a:pPr>
            <a:r>
              <a:rPr lang="es-ES" sz="1100" spc="-1">
                <a:solidFill>
                  <a:srgbClr val="1A3B47"/>
                </a:solidFill>
              </a:rPr>
              <a:t>Realización Estudio Técnico para valorar la concepción del Centro de Proceso de Datos, Comunicaciones nacionales, Estándar Corporativo de la Agencia Tributaria de </a:t>
            </a:r>
            <a:r>
              <a:rPr lang="es-ES" sz="1100" spc="-1" err="1">
                <a:solidFill>
                  <a:srgbClr val="1A3B47"/>
                </a:solidFill>
              </a:rPr>
              <a:t>Algeria</a:t>
            </a:r>
            <a:r>
              <a:rPr lang="es-ES" sz="1100" spc="-1">
                <a:solidFill>
                  <a:srgbClr val="1A3B47"/>
                </a:solidFill>
              </a:rPr>
              <a:t>.</a:t>
            </a:r>
          </a:p>
        </p:txBody>
      </p:sp>
      <p:sp>
        <p:nvSpPr>
          <p:cNvPr id="36" name="CuadroTexto 48_2"/>
          <p:cNvSpPr/>
          <p:nvPr/>
        </p:nvSpPr>
        <p:spPr>
          <a:xfrm>
            <a:off x="4823910" y="3695559"/>
            <a:ext cx="839880" cy="5078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solidFill>
                  <a:srgbClr val="1A3B47"/>
                </a:solidFill>
                <a:ea typeface="Soho Gothic Pro Light"/>
              </a:rPr>
              <a:t>2014</a:t>
            </a:r>
            <a:endParaRPr lang="es-ES" sz="900" b="1" spc="-1">
              <a:solidFill>
                <a:srgbClr val="1A3B47"/>
              </a:solidFill>
              <a:latin typeface="Arial"/>
            </a:endParaRPr>
          </a:p>
          <a:p>
            <a:pPr>
              <a:lnSpc>
                <a:spcPct val="100000"/>
              </a:lnSpc>
            </a:pPr>
            <a:r>
              <a:rPr lang="es-ES" sz="900" b="1" spc="-1">
                <a:solidFill>
                  <a:srgbClr val="1A3B47"/>
                </a:solidFill>
                <a:ea typeface="Soho Gothic Pro Light"/>
              </a:rPr>
              <a:t>—</a:t>
            </a:r>
            <a:endParaRPr lang="es-ES" sz="900" b="1" spc="-1">
              <a:solidFill>
                <a:srgbClr val="1A3B47"/>
              </a:solidFill>
              <a:latin typeface="Arial"/>
            </a:endParaRPr>
          </a:p>
          <a:p>
            <a:pPr>
              <a:lnSpc>
                <a:spcPct val="100000"/>
              </a:lnSpc>
            </a:pPr>
            <a:r>
              <a:rPr lang="es-ES" sz="900" b="1" spc="-1">
                <a:solidFill>
                  <a:srgbClr val="1A3B47"/>
                </a:solidFill>
                <a:ea typeface="Soho Gothic Pro Light"/>
              </a:rPr>
              <a:t>2014</a:t>
            </a:r>
            <a:endParaRPr lang="es-ES" sz="900" spc="-1">
              <a:solidFill>
                <a:srgbClr val="1A3B47"/>
              </a:solidFill>
              <a:latin typeface="Arial"/>
            </a:endParaRPr>
          </a:p>
        </p:txBody>
      </p:sp>
      <p:sp>
        <p:nvSpPr>
          <p:cNvPr id="44" name="CuadroTexto 45_2"/>
          <p:cNvSpPr/>
          <p:nvPr/>
        </p:nvSpPr>
        <p:spPr>
          <a:xfrm>
            <a:off x="5235389" y="5112466"/>
            <a:ext cx="4007341" cy="1275819"/>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algn="just">
              <a:lnSpc>
                <a:spcPct val="100000"/>
              </a:lnSpc>
            </a:pPr>
            <a:r>
              <a:rPr lang="es-ES" sz="1100" b="1" spc="-1">
                <a:solidFill>
                  <a:srgbClr val="1A3B47"/>
                </a:solidFill>
                <a:ea typeface="Soho Gothic Pro Light"/>
              </a:rPr>
              <a:t>Indra (Barcelona, España)</a:t>
            </a:r>
            <a:endParaRPr lang="es-ES" sz="1100" spc="-1">
              <a:solidFill>
                <a:srgbClr val="1A3B47"/>
              </a:solidFill>
              <a:latin typeface="Arial"/>
            </a:endParaRPr>
          </a:p>
          <a:p>
            <a:pPr algn="just">
              <a:lnSpc>
                <a:spcPct val="100000"/>
              </a:lnSpc>
            </a:pPr>
            <a:r>
              <a:rPr lang="es-ES" sz="1100" spc="-1">
                <a:solidFill>
                  <a:srgbClr val="1A3B47"/>
                </a:solidFill>
                <a:ea typeface="Soho Gothic Pro Light"/>
              </a:rPr>
              <a:t>Consultor Senior</a:t>
            </a:r>
            <a:endParaRPr lang="es-ES" sz="1100" spc="-1">
              <a:solidFill>
                <a:srgbClr val="1A3B47"/>
              </a:solidFill>
              <a:latin typeface="Arial"/>
            </a:endParaRPr>
          </a:p>
          <a:p>
            <a:pPr algn="just">
              <a:lnSpc>
                <a:spcPct val="100000"/>
              </a:lnSpc>
            </a:pPr>
            <a:endParaRPr lang="es-ES" sz="1100" spc="-1">
              <a:solidFill>
                <a:srgbClr val="1A3B47"/>
              </a:solidFill>
              <a:latin typeface="Arial"/>
            </a:endParaRPr>
          </a:p>
          <a:p>
            <a:pPr algn="just">
              <a:lnSpc>
                <a:spcPct val="100000"/>
              </a:lnSpc>
            </a:pPr>
            <a:r>
              <a:rPr lang="es-ES" sz="1100" spc="-1">
                <a:solidFill>
                  <a:srgbClr val="1A3B47"/>
                </a:solidFill>
                <a:latin typeface="Arial"/>
              </a:rPr>
              <a:t>PENGUIN RANDOM HOUSE MONDADORI GRUPO EDITORIAL, S.A.U.</a:t>
            </a:r>
          </a:p>
          <a:p>
            <a:pPr marL="171450" indent="-171450" algn="just">
              <a:lnSpc>
                <a:spcPct val="100000"/>
              </a:lnSpc>
              <a:buFont typeface="Arial" panose="020B0604020202020204" pitchFamily="34" charset="0"/>
              <a:buChar char="•"/>
            </a:pPr>
            <a:r>
              <a:rPr lang="es-ES" sz="1100" spc="-1">
                <a:solidFill>
                  <a:srgbClr val="1A3B47"/>
                </a:solidFill>
              </a:rPr>
              <a:t>Oficina Técnica de Integración de Sistemas Editorial Santillana y </a:t>
            </a:r>
            <a:r>
              <a:rPr lang="es-ES" sz="1100" spc="-1" err="1">
                <a:solidFill>
                  <a:srgbClr val="1A3B47"/>
                </a:solidFill>
              </a:rPr>
              <a:t>Penguin</a:t>
            </a:r>
            <a:r>
              <a:rPr lang="es-ES" sz="1100" spc="-1">
                <a:solidFill>
                  <a:srgbClr val="1A3B47"/>
                </a:solidFill>
              </a:rPr>
              <a:t> </a:t>
            </a:r>
            <a:r>
              <a:rPr lang="es-ES" sz="1100" spc="-1" err="1">
                <a:solidFill>
                  <a:srgbClr val="1A3B47"/>
                </a:solidFill>
              </a:rPr>
              <a:t>Random</a:t>
            </a:r>
            <a:r>
              <a:rPr lang="es-ES" sz="1100" spc="-1">
                <a:solidFill>
                  <a:srgbClr val="1A3B47"/>
                </a:solidFill>
              </a:rPr>
              <a:t> </a:t>
            </a:r>
            <a:r>
              <a:rPr lang="es-ES" sz="1100" spc="-1" err="1">
                <a:solidFill>
                  <a:srgbClr val="1A3B47"/>
                </a:solidFill>
              </a:rPr>
              <a:t>House</a:t>
            </a:r>
            <a:endParaRPr lang="es-ES" sz="1100" spc="-1">
              <a:solidFill>
                <a:srgbClr val="1A3B47"/>
              </a:solidFill>
            </a:endParaRPr>
          </a:p>
        </p:txBody>
      </p:sp>
      <p:sp>
        <p:nvSpPr>
          <p:cNvPr id="45" name="CuadroTexto 48_2"/>
          <p:cNvSpPr/>
          <p:nvPr/>
        </p:nvSpPr>
        <p:spPr>
          <a:xfrm>
            <a:off x="4823910" y="5112466"/>
            <a:ext cx="839880" cy="5078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solidFill>
                  <a:srgbClr val="1A3B47"/>
                </a:solidFill>
                <a:ea typeface="Soho Gothic Pro Light"/>
              </a:rPr>
              <a:t>2014</a:t>
            </a:r>
            <a:endParaRPr lang="es-ES" sz="900" b="1" spc="-1">
              <a:solidFill>
                <a:srgbClr val="1A3B47"/>
              </a:solidFill>
              <a:latin typeface="Arial"/>
            </a:endParaRPr>
          </a:p>
          <a:p>
            <a:pPr>
              <a:lnSpc>
                <a:spcPct val="100000"/>
              </a:lnSpc>
            </a:pPr>
            <a:r>
              <a:rPr lang="es-ES" sz="900" b="1" spc="-1">
                <a:solidFill>
                  <a:srgbClr val="1A3B47"/>
                </a:solidFill>
                <a:ea typeface="Soho Gothic Pro Light"/>
              </a:rPr>
              <a:t>—</a:t>
            </a:r>
            <a:endParaRPr lang="es-ES" sz="900" b="1" spc="-1">
              <a:solidFill>
                <a:srgbClr val="1A3B47"/>
              </a:solidFill>
              <a:latin typeface="Arial"/>
            </a:endParaRPr>
          </a:p>
          <a:p>
            <a:pPr>
              <a:lnSpc>
                <a:spcPct val="100000"/>
              </a:lnSpc>
            </a:pPr>
            <a:r>
              <a:rPr lang="es-ES" sz="900" b="1" spc="-1">
                <a:solidFill>
                  <a:srgbClr val="1A3B47"/>
                </a:solidFill>
                <a:ea typeface="Soho Gothic Pro Light"/>
              </a:rPr>
              <a:t>2014</a:t>
            </a:r>
            <a:endParaRPr lang="es-ES" sz="900" spc="-1">
              <a:solidFill>
                <a:srgbClr val="1A3B47"/>
              </a:solidFill>
              <a:latin typeface="Arial"/>
            </a:endParaRPr>
          </a:p>
        </p:txBody>
      </p:sp>
    </p:spTree>
    <p:extLst>
      <p:ext uri="{BB962C8B-B14F-4D97-AF65-F5344CB8AC3E}">
        <p14:creationId xmlns:p14="http://schemas.microsoft.com/office/powerpoint/2010/main" val="32873999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935032"/>
            <a:ext cx="9274355" cy="492443"/>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marL="0" lvl="1" algn="just" defTabSz="914377">
              <a:buClr>
                <a:srgbClr val="1A3B47"/>
              </a:buClr>
              <a:defRPr b="0" i="0"/>
            </a:pPr>
            <a:r>
              <a:rPr lang="es-ES" sz="1400" spc="-1">
                <a:solidFill>
                  <a:srgbClr val="1A3B47"/>
                </a:solidFill>
                <a:ea typeface="Soho Gothic Pro Light"/>
              </a:rPr>
              <a:t>Ingeniero de Datos con más de </a:t>
            </a:r>
            <a:r>
              <a:rPr lang="es-ES" sz="1200">
                <a:solidFill>
                  <a:srgbClr val="1A3B47"/>
                </a:solidFill>
              </a:rPr>
              <a:t>4 años de experiencia TIC en total, 2 de ellos con Java en aplicaciones web y los 2 restantes con Scala en Spark.</a:t>
            </a:r>
          </a:p>
        </p:txBody>
      </p:sp>
      <p:sp>
        <p:nvSpPr>
          <p:cNvPr id="102" name="CuadroTexto 54_0"/>
          <p:cNvSpPr/>
          <p:nvPr/>
        </p:nvSpPr>
        <p:spPr>
          <a:xfrm>
            <a:off x="9478167" y="4859343"/>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r>
              <a:rPr lang="es-ES" sz="1200" b="1" spc="-1">
                <a:solidFill>
                  <a:srgbClr val="1A3B47"/>
                </a:solidFill>
                <a:latin typeface="Soho Gothic Pro"/>
              </a:rPr>
              <a:t>Idiomas</a:t>
            </a:r>
            <a:endParaRPr lang="es-ES" sz="1200" b="1" spc="-1">
              <a:solidFill>
                <a:srgbClr val="1A3B47"/>
              </a:solidFill>
              <a:latin typeface="Arial"/>
            </a:endParaRPr>
          </a:p>
        </p:txBody>
      </p:sp>
      <p:sp>
        <p:nvSpPr>
          <p:cNvPr id="103" name="CuadroTexto 55_0"/>
          <p:cNvSpPr/>
          <p:nvPr/>
        </p:nvSpPr>
        <p:spPr>
          <a:xfrm>
            <a:off x="9482778" y="5237395"/>
            <a:ext cx="2712240" cy="707886"/>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pc="-1">
                <a:solidFill>
                  <a:srgbClr val="1A3B47"/>
                </a:solidFill>
                <a:latin typeface="Soho Gothic Pro Light"/>
                <a:ea typeface="Soho Gothic Pro Light"/>
              </a:rPr>
              <a:t>Castellano - </a:t>
            </a:r>
            <a:r>
              <a:rPr lang="es-ES" sz="1000" spc="-1">
                <a:solidFill>
                  <a:srgbClr val="1A3B47"/>
                </a:solidFill>
                <a:latin typeface="Soho Gothic Pro Light"/>
                <a:ea typeface="Soho Gothic Pro Light"/>
              </a:rPr>
              <a:t>Nativo</a:t>
            </a:r>
          </a:p>
          <a:p>
            <a:r>
              <a:rPr lang="ca-ES" sz="1000" b="1" spc="-1">
                <a:solidFill>
                  <a:srgbClr val="1A3B47"/>
                </a:solidFill>
                <a:latin typeface="Soho Gothic Pro Light"/>
                <a:ea typeface="Soho Gothic Pro Light"/>
              </a:rPr>
              <a:t>Catalán - </a:t>
            </a:r>
            <a:r>
              <a:rPr lang="es-ES" sz="1000" b="1" spc="-1">
                <a:solidFill>
                  <a:srgbClr val="1A3B47"/>
                </a:solidFill>
                <a:ea typeface="+mn-lt"/>
                <a:cs typeface="+mn-lt"/>
              </a:rPr>
              <a:t> </a:t>
            </a:r>
            <a:r>
              <a:rPr lang="es-ES" sz="1000" spc="-1">
                <a:solidFill>
                  <a:srgbClr val="1A3B47"/>
                </a:solidFill>
                <a:ea typeface="+mn-lt"/>
                <a:cs typeface="+mn-lt"/>
              </a:rPr>
              <a:t>Nativo</a:t>
            </a:r>
            <a:r>
              <a:rPr lang="ca-ES" sz="1750">
                <a:solidFill>
                  <a:srgbClr val="1A3B47"/>
                </a:solidFill>
              </a:rPr>
              <a:t/>
            </a:r>
            <a:br>
              <a:rPr lang="ca-ES" sz="1750">
                <a:solidFill>
                  <a:srgbClr val="1A3B47"/>
                </a:solidFill>
              </a:rPr>
            </a:br>
            <a:r>
              <a:rPr lang="es-ES" sz="1000" b="1" spc="-1">
                <a:solidFill>
                  <a:srgbClr val="1A3B47"/>
                </a:solidFill>
                <a:latin typeface="Soho Gothic Pro Light"/>
                <a:ea typeface="Soho Gothic Pro Light"/>
              </a:rPr>
              <a:t>Ingles - </a:t>
            </a:r>
            <a:r>
              <a:rPr lang="es-ES" sz="1000" spc="-1">
                <a:solidFill>
                  <a:srgbClr val="1A3B47"/>
                </a:solidFill>
                <a:latin typeface="Soho Gothic Pro Light"/>
                <a:ea typeface="Soho Gothic Pro Light"/>
              </a:rPr>
              <a:t>B1</a:t>
            </a:r>
            <a:endParaRPr lang="es-ES" sz="1000" spc="-1">
              <a:solidFill>
                <a:srgbClr val="1A3B47"/>
              </a:solidFill>
              <a:latin typeface="Arial"/>
              <a:cs typeface="Arial"/>
            </a:endParaRPr>
          </a:p>
          <a:p>
            <a:endParaRPr lang="es-ES" sz="1000" spc="-1">
              <a:solidFill>
                <a:srgbClr val="FF0000"/>
              </a:solidFill>
              <a:latin typeface="Arial"/>
              <a:cs typeface="Arial"/>
            </a:endParaRPr>
          </a:p>
        </p:txBody>
      </p:sp>
      <p:sp>
        <p:nvSpPr>
          <p:cNvPr id="105" name="CuadroTexto 40_0"/>
          <p:cNvSpPr/>
          <p:nvPr/>
        </p:nvSpPr>
        <p:spPr>
          <a:xfrm>
            <a:off x="3451680" y="110520"/>
            <a:ext cx="2692800" cy="45756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r>
              <a:rPr lang="es-ES" sz="2400" spc="-1">
                <a:solidFill>
                  <a:schemeClr val="bg1"/>
                </a:solidFill>
                <a:latin typeface="Soho Gothic Pro Medium"/>
              </a:rPr>
              <a:t>Data </a:t>
            </a:r>
            <a:r>
              <a:rPr lang="es-ES" sz="2400" spc="-1" err="1">
                <a:solidFill>
                  <a:schemeClr val="bg1"/>
                </a:solidFill>
                <a:latin typeface="Soho Gothic Pro Medium"/>
              </a:rPr>
              <a:t>Engineer</a:t>
            </a:r>
            <a:endParaRPr lang="es-ES" sz="2400" spc="-1">
              <a:solidFill>
                <a:schemeClr val="bg1"/>
              </a:solidFill>
              <a:latin typeface="Aria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A.F.C.</a:t>
            </a:r>
            <a:endParaRPr lang="es-ES" sz="2000" b="0" strike="noStrike" spc="-1">
              <a:solidFill>
                <a:schemeClr val="bg1"/>
              </a:solidFill>
              <a:latin typeface="Arial"/>
            </a:endParaRPr>
          </a:p>
        </p:txBody>
      </p:sp>
      <p:sp>
        <p:nvSpPr>
          <p:cNvPr id="109" name="CuadroTexto 37_0"/>
          <p:cNvSpPr/>
          <p:nvPr/>
        </p:nvSpPr>
        <p:spPr>
          <a:xfrm>
            <a:off x="9471292" y="1442625"/>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r>
              <a:rPr lang="es-ES" sz="1200" b="1" spc="-1">
                <a:solidFill>
                  <a:srgbClr val="1A3B47"/>
                </a:solidFill>
                <a:latin typeface="Soho Gothic Pro"/>
              </a:rPr>
              <a:t>IT</a:t>
            </a:r>
            <a:endParaRPr lang="es-ES" sz="1200" b="1" spc="-1">
              <a:solidFill>
                <a:srgbClr val="1A3B47"/>
              </a:solidFill>
              <a:latin typeface="Arial"/>
            </a:endParaRPr>
          </a:p>
        </p:txBody>
      </p:sp>
      <p:sp>
        <p:nvSpPr>
          <p:cNvPr id="110" name="CuadroTexto 52_0"/>
          <p:cNvSpPr/>
          <p:nvPr/>
        </p:nvSpPr>
        <p:spPr>
          <a:xfrm>
            <a:off x="9468791" y="1715743"/>
            <a:ext cx="2739600" cy="2400657"/>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r>
              <a:rPr lang="en-US" sz="1000" b="1" spc="-1">
                <a:ea typeface="+mn-lt"/>
                <a:cs typeface="+mn-lt"/>
              </a:rPr>
              <a:t>Lenguajes: </a:t>
            </a:r>
            <a:r>
              <a:rPr lang="en-US" sz="1000" spc="-1">
                <a:ea typeface="+mn-lt"/>
                <a:cs typeface="+mn-lt"/>
              </a:rPr>
              <a:t>Scala, Java, Python, Kotlin, C++, C, Erlang, R.</a:t>
            </a:r>
            <a:endParaRPr lang="es-ES"/>
          </a:p>
          <a:p>
            <a:pPr algn="just"/>
            <a:endParaRPr lang="en-US" sz="1000" spc="-1">
              <a:ea typeface="+mn-lt"/>
              <a:cs typeface="+mn-lt"/>
            </a:endParaRPr>
          </a:p>
          <a:p>
            <a:pPr algn="just"/>
            <a:r>
              <a:rPr lang="en-US" sz="1000" b="1" spc="-1">
                <a:ea typeface="+mn-lt"/>
                <a:cs typeface="+mn-lt"/>
              </a:rPr>
              <a:t>Bases de datos:</a:t>
            </a:r>
            <a:r>
              <a:rPr lang="en-US" sz="1000" spc="-1">
                <a:ea typeface="+mn-lt"/>
                <a:cs typeface="+mn-lt"/>
              </a:rPr>
              <a:t> MongoDB, </a:t>
            </a:r>
            <a:r>
              <a:rPr lang="en-US" sz="1000" spc="-1" err="1">
                <a:ea typeface="+mn-lt"/>
                <a:cs typeface="+mn-lt"/>
              </a:rPr>
              <a:t>Hbase</a:t>
            </a:r>
            <a:r>
              <a:rPr lang="en-US" sz="1000" spc="-1">
                <a:ea typeface="+mn-lt"/>
                <a:cs typeface="+mn-lt"/>
              </a:rPr>
              <a:t>, Neo4j, Kudu, Oracle 10g y 11g, MySQL.</a:t>
            </a:r>
            <a:endParaRPr lang="en-US"/>
          </a:p>
          <a:p>
            <a:pPr algn="just"/>
            <a:endParaRPr lang="en-US" sz="1000" spc="-1">
              <a:ea typeface="+mn-lt"/>
              <a:cs typeface="+mn-lt"/>
            </a:endParaRPr>
          </a:p>
          <a:p>
            <a:pPr algn="just"/>
            <a:r>
              <a:rPr lang="en-US" sz="1000" b="1" spc="-1">
                <a:ea typeface="+mn-lt"/>
                <a:cs typeface="+mn-lt"/>
              </a:rPr>
              <a:t>Servidores web:</a:t>
            </a:r>
            <a:r>
              <a:rPr lang="en-US" sz="1000" spc="-1">
                <a:ea typeface="+mn-lt"/>
                <a:cs typeface="+mn-lt"/>
              </a:rPr>
              <a:t> Oracle WebLogic, JBoss, Apache Tomcat.</a:t>
            </a:r>
            <a:endParaRPr lang="en-US"/>
          </a:p>
          <a:p>
            <a:pPr algn="just"/>
            <a:endParaRPr lang="en-US" sz="1000" spc="-1">
              <a:ea typeface="+mn-lt"/>
              <a:cs typeface="+mn-lt"/>
            </a:endParaRPr>
          </a:p>
          <a:p>
            <a:pPr algn="just"/>
            <a:r>
              <a:rPr lang="en-US" sz="1000" b="1" spc="-1">
                <a:ea typeface="+mn-lt"/>
                <a:cs typeface="+mn-lt"/>
              </a:rPr>
              <a:t>Control de versiones</a:t>
            </a:r>
            <a:r>
              <a:rPr lang="en-US" sz="1000" spc="-1">
                <a:ea typeface="+mn-lt"/>
                <a:cs typeface="+mn-lt"/>
              </a:rPr>
              <a:t>: Github, TortoiseSVN. </a:t>
            </a:r>
            <a:endParaRPr lang="en-US">
              <a:ea typeface="+mn-lt"/>
              <a:cs typeface="+mn-lt"/>
            </a:endParaRPr>
          </a:p>
          <a:p>
            <a:pPr algn="just"/>
            <a:endParaRPr lang="en-US" sz="1000" spc="-1">
              <a:ea typeface="+mn-lt"/>
              <a:cs typeface="+mn-lt"/>
            </a:endParaRPr>
          </a:p>
          <a:p>
            <a:r>
              <a:rPr lang="en-US" sz="1000" b="1" spc="-1">
                <a:ea typeface="+mn-lt"/>
                <a:cs typeface="+mn-lt"/>
              </a:rPr>
              <a:t>Otros</a:t>
            </a:r>
            <a:r>
              <a:rPr lang="en-US" sz="1000" spc="-1">
                <a:ea typeface="+mn-lt"/>
                <a:cs typeface="+mn-lt"/>
              </a:rPr>
              <a:t>: Hibernate, JavaBeans, JSP y JSF, Spring Boot, </a:t>
            </a:r>
            <a:r>
              <a:rPr lang="en-US" sz="1000" spc="-1" err="1">
                <a:ea typeface="+mn-lt"/>
                <a:cs typeface="+mn-lt"/>
              </a:rPr>
              <a:t>FlexSim</a:t>
            </a:r>
            <a:r>
              <a:rPr lang="en-US" sz="1000" spc="-1">
                <a:ea typeface="+mn-lt"/>
                <a:cs typeface="+mn-lt"/>
              </a:rPr>
              <a:t>, Spark, Cloudera, </a:t>
            </a:r>
            <a:r>
              <a:rPr lang="en-US" sz="1000" spc="-1" err="1">
                <a:ea typeface="+mn-lt"/>
                <a:cs typeface="+mn-lt"/>
              </a:rPr>
              <a:t>conocimientos</a:t>
            </a:r>
            <a:r>
              <a:rPr lang="en-US" sz="1000" spc="-1">
                <a:ea typeface="+mn-lt"/>
                <a:cs typeface="+mn-lt"/>
              </a:rPr>
              <a:t> de </a:t>
            </a:r>
            <a:r>
              <a:rPr lang="en-US" sz="1000" spc="-1" err="1">
                <a:ea typeface="+mn-lt"/>
                <a:cs typeface="+mn-lt"/>
              </a:rPr>
              <a:t>metodologías</a:t>
            </a:r>
            <a:r>
              <a:rPr lang="en-US" sz="1000" spc="-1">
                <a:ea typeface="+mn-lt"/>
                <a:cs typeface="+mn-lt"/>
              </a:rPr>
              <a:t> Agile y </a:t>
            </a:r>
            <a:r>
              <a:rPr lang="en-US" sz="1000" spc="-1" err="1">
                <a:ea typeface="+mn-lt"/>
                <a:cs typeface="+mn-lt"/>
              </a:rPr>
              <a:t>patrones</a:t>
            </a:r>
            <a:r>
              <a:rPr lang="en-US" sz="1000" spc="-1">
                <a:ea typeface="+mn-lt"/>
                <a:cs typeface="+mn-lt"/>
              </a:rPr>
              <a:t> de </a:t>
            </a:r>
            <a:r>
              <a:rPr lang="en-US" sz="1000" spc="-1" err="1">
                <a:ea typeface="+mn-lt"/>
                <a:cs typeface="+mn-lt"/>
              </a:rPr>
              <a:t>diseño</a:t>
            </a:r>
            <a:r>
              <a:rPr lang="en-US" sz="1000" spc="-1">
                <a:ea typeface="+mn-lt"/>
                <a:cs typeface="+mn-lt"/>
              </a:rPr>
              <a:t>.</a:t>
            </a:r>
            <a:endParaRPr lang="en-US"/>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r>
              <a:rPr lang="es-ES" sz="1200" b="1" spc="-1">
                <a:solidFill>
                  <a:srgbClr val="1A3B47"/>
                </a:solidFill>
                <a:latin typeface="Soho Gothic Pro"/>
              </a:rPr>
              <a:t>Educación</a:t>
            </a:r>
            <a:endParaRPr lang="es-ES" sz="1200" b="1" spc="-1">
              <a:solidFill>
                <a:srgbClr val="1A3B47"/>
              </a:solidFill>
              <a:latin typeface="Arial"/>
            </a:endParaRPr>
          </a:p>
        </p:txBody>
      </p:sp>
      <p:sp>
        <p:nvSpPr>
          <p:cNvPr id="37" name="CuadroTexto 30_0"/>
          <p:cNvSpPr/>
          <p:nvPr/>
        </p:nvSpPr>
        <p:spPr>
          <a:xfrm>
            <a:off x="5463001" y="152640"/>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Aleix Falgueras Casals</a:t>
            </a:r>
            <a:endParaRPr lang="es-ES" sz="2000" b="0" strike="noStrike" spc="-1">
              <a:solidFill>
                <a:schemeClr val="bg1"/>
              </a:solidFill>
              <a:latin typeface="Arial"/>
            </a:endParaRPr>
          </a:p>
        </p:txBody>
      </p:sp>
      <p:sp>
        <p:nvSpPr>
          <p:cNvPr id="27" name="CuadroTexto 44_0"/>
          <p:cNvSpPr/>
          <p:nvPr/>
        </p:nvSpPr>
        <p:spPr>
          <a:xfrm>
            <a:off x="558800" y="2187593"/>
            <a:ext cx="4215600" cy="1615827"/>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r>
              <a:rPr lang="es-ES" sz="1100" b="1" spc="-1">
                <a:ea typeface="+mn-lt"/>
                <a:cs typeface="+mn-lt"/>
              </a:rPr>
              <a:t>Minsait</a:t>
            </a:r>
          </a:p>
          <a:p>
            <a:pPr algn="just"/>
            <a:r>
              <a:rPr lang="es-ES" sz="1100" spc="-1">
                <a:ea typeface="+mn-lt"/>
                <a:cs typeface="+mn-lt"/>
              </a:rPr>
              <a:t>Desarrollador Senior Scala</a:t>
            </a:r>
            <a:endParaRPr lang="es-ES" sz="1750"/>
          </a:p>
          <a:p>
            <a:pPr algn="just"/>
            <a:endParaRPr lang="es-ES" sz="1100" spc="-1">
              <a:ea typeface="+mn-lt"/>
              <a:cs typeface="+mn-lt"/>
            </a:endParaRPr>
          </a:p>
          <a:p>
            <a:pPr marL="171450" indent="-171450" algn="just">
              <a:buFont typeface="Arial"/>
              <a:buChar char="•"/>
            </a:pPr>
            <a:r>
              <a:rPr lang="es-ES" sz="1100" spc="-1">
                <a:ea typeface="+mn-lt"/>
                <a:cs typeface="+mn-lt"/>
              </a:rPr>
              <a:t>Diseño y desarrollo de procesos pipeline integrados en un sistema de</a:t>
            </a:r>
            <a:endParaRPr lang="es-ES" sz="1750">
              <a:ea typeface="+mn-lt"/>
              <a:cs typeface="+mn-lt"/>
            </a:endParaRPr>
          </a:p>
          <a:p>
            <a:pPr marL="171450" indent="-171450" algn="just">
              <a:buFont typeface="Arial"/>
              <a:buChar char="•"/>
            </a:pPr>
            <a:r>
              <a:rPr lang="es-ES" sz="1100" spc="-1">
                <a:ea typeface="+mn-lt"/>
                <a:cs typeface="+mn-lt"/>
              </a:rPr>
              <a:t>orquestación basado en actores Akka con Mongo y </a:t>
            </a:r>
            <a:r>
              <a:rPr lang="es-ES" sz="1100" spc="-1" err="1">
                <a:ea typeface="+mn-lt"/>
                <a:cs typeface="+mn-lt"/>
              </a:rPr>
              <a:t>Kudu</a:t>
            </a:r>
            <a:r>
              <a:rPr lang="es-ES" sz="1100" spc="-1">
                <a:ea typeface="+mn-lt"/>
                <a:cs typeface="+mn-lt"/>
              </a:rPr>
              <a:t> como bases de datos.</a:t>
            </a:r>
            <a:endParaRPr lang="es-ES"/>
          </a:p>
          <a:p>
            <a:pPr marL="171450" indent="-171450" algn="just">
              <a:buFont typeface="Arial"/>
              <a:buChar char="•"/>
            </a:pPr>
            <a:endParaRPr lang="es-ES" sz="1100" spc="-1">
              <a:ea typeface="+mn-lt"/>
              <a:cs typeface="+mn-lt"/>
            </a:endParaRPr>
          </a:p>
          <a:p>
            <a:pPr marL="171450" indent="-171450" algn="just">
              <a:buFont typeface="Arial"/>
              <a:buChar char="•"/>
            </a:pPr>
            <a:r>
              <a:rPr lang="es-ES" sz="1100" spc="-1">
                <a:ea typeface="+mn-lt"/>
                <a:cs typeface="+mn-lt"/>
              </a:rPr>
              <a:t>Análisis del clúster y el entorno de ejecución con Cloudera.</a:t>
            </a:r>
            <a:endParaRPr lang="es-ES" sz="1750">
              <a:ea typeface="+mn-lt"/>
              <a:cs typeface="+mn-lt"/>
            </a:endParaRPr>
          </a:p>
        </p:txBody>
      </p:sp>
      <p:sp>
        <p:nvSpPr>
          <p:cNvPr id="32" name="CuadroTexto 39_0"/>
          <p:cNvSpPr/>
          <p:nvPr/>
        </p:nvSpPr>
        <p:spPr>
          <a:xfrm>
            <a:off x="128995" y="2082675"/>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r>
              <a:rPr lang="es-ES" sz="900" b="1" spc="-1">
                <a:solidFill>
                  <a:srgbClr val="1A3B47"/>
                </a:solidFill>
                <a:latin typeface="Soho Gothic Pro Light"/>
                <a:ea typeface="Soho Gothic Pro Light"/>
              </a:rPr>
              <a:t>ACT</a:t>
            </a:r>
            <a:endParaRPr lang="es-ES" sz="900" b="1" spc="-1">
              <a:solidFill>
                <a:srgbClr val="1A3B47"/>
              </a:solidFill>
              <a:latin typeface="Arial"/>
              <a:cs typeface="Arial"/>
            </a:endParaRPr>
          </a:p>
          <a:p>
            <a:r>
              <a:rPr lang="es-ES" sz="900" b="1" spc="-1">
                <a:solidFill>
                  <a:srgbClr val="1A3B47"/>
                </a:solidFill>
                <a:latin typeface="Soho Gothic Pro Light"/>
                <a:ea typeface="Soho Gothic Pro Light"/>
              </a:rPr>
              <a:t>—</a:t>
            </a:r>
            <a:endParaRPr lang="es-ES" sz="900" b="1" spc="-1">
              <a:solidFill>
                <a:srgbClr val="1A3B47"/>
              </a:solidFill>
              <a:latin typeface="Arial"/>
              <a:cs typeface="Arial"/>
            </a:endParaRPr>
          </a:p>
          <a:p>
            <a:r>
              <a:rPr lang="es-ES" sz="900" b="1" spc="-1">
                <a:solidFill>
                  <a:srgbClr val="1A3B47"/>
                </a:solidFill>
                <a:latin typeface="Soho Gothic Pro Light"/>
              </a:rPr>
              <a:t>2019</a:t>
            </a:r>
            <a:endParaRPr lang="es-ES" sz="900" b="1" spc="-1">
              <a:solidFill>
                <a:srgbClr val="1A3B47"/>
              </a:solidFill>
              <a:latin typeface="Arial"/>
            </a:endParaRPr>
          </a:p>
          <a:p>
            <a:pPr>
              <a:lnSpc>
                <a:spcPct val="100000"/>
              </a:lnSpc>
            </a:pPr>
            <a:endParaRPr lang="es-ES" sz="900" b="0" strike="noStrike" spc="-1">
              <a:solidFill>
                <a:srgbClr val="FF0000"/>
              </a:solidFill>
              <a:latin typeface="Arial"/>
            </a:endParaRPr>
          </a:p>
        </p:txBody>
      </p:sp>
      <p:sp>
        <p:nvSpPr>
          <p:cNvPr id="42" name="CuadroTexto 44_0"/>
          <p:cNvSpPr/>
          <p:nvPr/>
        </p:nvSpPr>
        <p:spPr>
          <a:xfrm>
            <a:off x="5218338" y="2084406"/>
            <a:ext cx="3919320" cy="267740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r>
              <a:rPr lang="es-ES" sz="1100" b="1" spc="-1">
                <a:ea typeface="+mn-lt"/>
                <a:cs typeface="+mn-lt"/>
              </a:rPr>
              <a:t>Grupo SAME – C.B. Consultoría e Integración</a:t>
            </a:r>
            <a:endParaRPr lang="es-ES" sz="1750" b="1"/>
          </a:p>
          <a:p>
            <a:pPr algn="just"/>
            <a:r>
              <a:rPr lang="es-ES" sz="1100" b="1" spc="-1">
                <a:ea typeface="+mn-lt"/>
                <a:cs typeface="+mn-lt"/>
              </a:rPr>
              <a:t>Informática, S.L.</a:t>
            </a:r>
            <a:endParaRPr lang="es-ES" b="1"/>
          </a:p>
          <a:p>
            <a:pPr algn="just"/>
            <a:r>
              <a:rPr lang="es-ES" sz="1100" spc="-1">
                <a:ea typeface="+mn-lt"/>
                <a:cs typeface="+mn-lt"/>
              </a:rPr>
              <a:t>Desarrollador Senior Java full stack y otros</a:t>
            </a:r>
            <a:endParaRPr lang="es-ES" sz="1750"/>
          </a:p>
          <a:p>
            <a:pPr algn="just"/>
            <a:endParaRPr lang="es-ES"/>
          </a:p>
          <a:p>
            <a:pPr marL="171450" indent="-171450" algn="just">
              <a:buFont typeface="Arial"/>
              <a:buChar char="•"/>
            </a:pPr>
            <a:r>
              <a:rPr lang="es-ES" sz="1100" spc="-1">
                <a:ea typeface="+mn-lt"/>
                <a:cs typeface="+mn-lt"/>
              </a:rPr>
              <a:t>Refactorización y creación de aplicaciones web enteras aplicando separación por</a:t>
            </a:r>
            <a:endParaRPr lang="es-ES"/>
          </a:p>
          <a:p>
            <a:pPr marL="171450" indent="-171450" algn="just">
              <a:buFont typeface="Arial"/>
              <a:buChar char="•"/>
            </a:pPr>
            <a:r>
              <a:rPr lang="es-ES" sz="1100" spc="-1">
                <a:ea typeface="+mn-lt"/>
                <a:cs typeface="+mn-lt"/>
              </a:rPr>
              <a:t>capas, principios SOLID y patrones de diseños. Amplia experiencia con los</a:t>
            </a:r>
            <a:endParaRPr lang="es-ES"/>
          </a:p>
          <a:p>
            <a:pPr marL="171450" indent="-171450" algn="just">
              <a:buFont typeface="Arial"/>
              <a:buChar char="•"/>
            </a:pPr>
            <a:r>
              <a:rPr lang="es-ES" sz="1100" spc="-1">
                <a:ea typeface="+mn-lt"/>
                <a:cs typeface="+mn-lt"/>
              </a:rPr>
              <a:t>patrones </a:t>
            </a:r>
            <a:r>
              <a:rPr lang="es-ES" sz="1100" spc="-1" err="1">
                <a:ea typeface="+mn-lt"/>
                <a:cs typeface="+mn-lt"/>
              </a:rPr>
              <a:t>Observer</a:t>
            </a:r>
            <a:r>
              <a:rPr lang="es-ES" sz="1100" spc="-1">
                <a:ea typeface="+mn-lt"/>
                <a:cs typeface="+mn-lt"/>
              </a:rPr>
              <a:t>, </a:t>
            </a:r>
            <a:r>
              <a:rPr lang="es-ES" sz="1100" spc="-1" err="1">
                <a:ea typeface="+mn-lt"/>
                <a:cs typeface="+mn-lt"/>
              </a:rPr>
              <a:t>Template</a:t>
            </a:r>
            <a:r>
              <a:rPr lang="es-ES" sz="1100" spc="-1">
                <a:ea typeface="+mn-lt"/>
                <a:cs typeface="+mn-lt"/>
              </a:rPr>
              <a:t>, Proxy y </a:t>
            </a:r>
            <a:r>
              <a:rPr lang="es-ES" sz="1100" spc="-1" err="1">
                <a:ea typeface="+mn-lt"/>
                <a:cs typeface="+mn-lt"/>
              </a:rPr>
              <a:t>Chain</a:t>
            </a:r>
            <a:r>
              <a:rPr lang="es-ES" sz="1100" spc="-1">
                <a:ea typeface="+mn-lt"/>
                <a:cs typeface="+mn-lt"/>
              </a:rPr>
              <a:t> of </a:t>
            </a:r>
            <a:r>
              <a:rPr lang="es-ES" sz="1100" spc="-1" err="1">
                <a:ea typeface="+mn-lt"/>
                <a:cs typeface="+mn-lt"/>
              </a:rPr>
              <a:t>Responsibility</a:t>
            </a:r>
            <a:r>
              <a:rPr lang="es-ES" sz="1100" spc="-1">
                <a:ea typeface="+mn-lt"/>
                <a:cs typeface="+mn-lt"/>
              </a:rPr>
              <a:t>.</a:t>
            </a:r>
            <a:endParaRPr lang="es-ES"/>
          </a:p>
          <a:p>
            <a:pPr marL="285750" indent="-285750" algn="just">
              <a:buFont typeface="Arial"/>
              <a:buChar char="•"/>
            </a:pPr>
            <a:endParaRPr lang="es-ES"/>
          </a:p>
          <a:p>
            <a:pPr marL="171450" indent="-171450" algn="just">
              <a:buFont typeface="Arial"/>
              <a:buChar char="•"/>
            </a:pPr>
            <a:r>
              <a:rPr lang="es-ES" sz="1100" spc="-1">
                <a:ea typeface="+mn-lt"/>
                <a:cs typeface="+mn-lt"/>
              </a:rPr>
              <a:t>Análisis y resolución de problemas de servidores UNIX y Windows relacionados</a:t>
            </a:r>
            <a:endParaRPr lang="es-ES"/>
          </a:p>
          <a:p>
            <a:pPr marL="171450" indent="-171450" algn="just">
              <a:buFont typeface="Arial"/>
              <a:buChar char="•"/>
            </a:pPr>
            <a:r>
              <a:rPr lang="es-ES" sz="1100" spc="-1">
                <a:ea typeface="+mn-lt"/>
                <a:cs typeface="+mn-lt"/>
              </a:rPr>
              <a:t>con el balanceo de carga, el firewall o el DNS.</a:t>
            </a:r>
            <a:endParaRPr lang="es-ES"/>
          </a:p>
        </p:txBody>
      </p:sp>
      <p:sp>
        <p:nvSpPr>
          <p:cNvPr id="43" name="CuadroTexto 39_0"/>
          <p:cNvSpPr/>
          <p:nvPr/>
        </p:nvSpPr>
        <p:spPr>
          <a:xfrm>
            <a:off x="4836158" y="2082675"/>
            <a:ext cx="551520" cy="5078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r>
              <a:rPr lang="es-ES" sz="900" b="1" spc="-1">
                <a:solidFill>
                  <a:srgbClr val="1A3B47"/>
                </a:solidFill>
                <a:ea typeface="Soho Gothic Pro Light"/>
              </a:rPr>
              <a:t>2019—</a:t>
            </a:r>
            <a:endParaRPr lang="es-ES" sz="900" b="1" spc="-1">
              <a:solidFill>
                <a:srgbClr val="1A3B47"/>
              </a:solidFill>
              <a:latin typeface="Arial"/>
              <a:cs typeface="Arial"/>
            </a:endParaRPr>
          </a:p>
          <a:p>
            <a:r>
              <a:rPr lang="es-ES" sz="900" b="1" spc="-1">
                <a:solidFill>
                  <a:srgbClr val="1A3B47"/>
                </a:solidFill>
              </a:rPr>
              <a:t>2017</a:t>
            </a:r>
            <a:endParaRPr lang="es-ES" sz="900" spc="-1">
              <a:solidFill>
                <a:srgbClr val="1A3B47"/>
              </a:solidFill>
              <a:latin typeface="Arial"/>
            </a:endParaRPr>
          </a:p>
          <a:p>
            <a:pPr>
              <a:lnSpc>
                <a:spcPct val="100000"/>
              </a:lnSpc>
            </a:pPr>
            <a:endParaRPr lang="es-ES" sz="900" b="0" strike="noStrike" spc="-1">
              <a:solidFill>
                <a:srgbClr val="FF0000"/>
              </a:solidFill>
              <a:latin typeface="Arial"/>
            </a:endParaRPr>
          </a:p>
        </p:txBody>
      </p:sp>
      <p:sp>
        <p:nvSpPr>
          <p:cNvPr id="3" name="CuadroTexto 73_0">
            <a:extLst>
              <a:ext uri="{FF2B5EF4-FFF2-40B4-BE49-F238E27FC236}">
                <a16:creationId xmlns:a16="http://schemas.microsoft.com/office/drawing/2014/main" id="{88C56DFE-7779-4171-B1F5-FF481C2E8F14}"/>
              </a:ext>
            </a:extLst>
          </p:cNvPr>
          <p:cNvSpPr/>
          <p:nvPr/>
        </p:nvSpPr>
        <p:spPr>
          <a:xfrm>
            <a:off x="9430200" y="456480"/>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solidFill>
                  <a:srgbClr val="1A3B47"/>
                </a:solidFill>
                <a:latin typeface="Soho Gothic Pro Medium"/>
              </a:rPr>
              <a:t>2014</a:t>
            </a:r>
            <a:endParaRPr lang="es-ES" sz="900" b="0" strike="noStrike" spc="-1">
              <a:solidFill>
                <a:srgbClr val="1A3B47"/>
              </a:solidFill>
              <a:latin typeface="Arial"/>
              <a:cs typeface="Arial"/>
            </a:endParaRPr>
          </a:p>
          <a:p>
            <a:pPr>
              <a:lnSpc>
                <a:spcPct val="100000"/>
              </a:lnSpc>
            </a:pPr>
            <a:r>
              <a:rPr lang="es-ES" sz="900" b="0" strike="noStrike" spc="-1">
                <a:solidFill>
                  <a:srgbClr val="1A3B47"/>
                </a:solidFill>
                <a:latin typeface="Soho Gothic Pro Medium"/>
              </a:rPr>
              <a:t>—</a:t>
            </a:r>
            <a:endParaRPr lang="es-ES" sz="900" b="0" strike="noStrike" spc="-1">
              <a:solidFill>
                <a:srgbClr val="1A3B47"/>
              </a:solidFill>
              <a:latin typeface="Arial"/>
              <a:cs typeface="Arial"/>
            </a:endParaRPr>
          </a:p>
          <a:p>
            <a:pPr>
              <a:lnSpc>
                <a:spcPct val="100000"/>
              </a:lnSpc>
            </a:pPr>
            <a:r>
              <a:rPr lang="es-ES" sz="900" spc="-1">
                <a:solidFill>
                  <a:srgbClr val="1A3B47"/>
                </a:solidFill>
                <a:latin typeface="Soho Gothic Pro Medium"/>
              </a:rPr>
              <a:t>2019</a:t>
            </a:r>
            <a:endParaRPr lang="es-ES" sz="900" b="0" strike="noStrike" spc="-1">
              <a:solidFill>
                <a:srgbClr val="1A3B47"/>
              </a:solidFill>
              <a:latin typeface="Arial"/>
            </a:endParaRPr>
          </a:p>
        </p:txBody>
      </p:sp>
      <p:sp>
        <p:nvSpPr>
          <p:cNvPr id="4" name="CuadroTexto 70_0">
            <a:extLst>
              <a:ext uri="{FF2B5EF4-FFF2-40B4-BE49-F238E27FC236}">
                <a16:creationId xmlns:a16="http://schemas.microsoft.com/office/drawing/2014/main" id="{B8348094-0C85-4FB3-872C-5BF4BFAA1D16}"/>
              </a:ext>
            </a:extLst>
          </p:cNvPr>
          <p:cNvSpPr/>
          <p:nvPr/>
        </p:nvSpPr>
        <p:spPr>
          <a:xfrm>
            <a:off x="9827280" y="441123"/>
            <a:ext cx="2349360"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pc="-1">
                <a:ea typeface="+mn-lt"/>
                <a:cs typeface="+mn-lt"/>
              </a:rPr>
              <a:t>Grado en Ingeniería informática</a:t>
            </a:r>
            <a:endParaRPr lang="es-ES"/>
          </a:p>
          <a:p>
            <a:r>
              <a:rPr lang="es-ES" sz="1000" spc="-1" err="1">
                <a:ea typeface="+mn-lt"/>
                <a:cs typeface="+mn-lt"/>
              </a:rPr>
              <a:t>Universitat</a:t>
            </a:r>
            <a:r>
              <a:rPr lang="es-ES" sz="1000" spc="-1">
                <a:ea typeface="+mn-lt"/>
                <a:cs typeface="+mn-lt"/>
              </a:rPr>
              <a:t> </a:t>
            </a:r>
            <a:r>
              <a:rPr lang="es-ES" sz="1000" spc="-1" err="1">
                <a:ea typeface="+mn-lt"/>
                <a:cs typeface="+mn-lt"/>
              </a:rPr>
              <a:t>Politècnica</a:t>
            </a:r>
            <a:r>
              <a:rPr lang="es-ES" sz="1000" spc="-1">
                <a:ea typeface="+mn-lt"/>
                <a:cs typeface="+mn-lt"/>
              </a:rPr>
              <a:t> de Catalunya</a:t>
            </a:r>
            <a:endParaRPr lang="es-ES"/>
          </a:p>
        </p:txBody>
      </p:sp>
    </p:spTree>
    <p:extLst>
      <p:ext uri="{BB962C8B-B14F-4D97-AF65-F5344CB8AC3E}">
        <p14:creationId xmlns:p14="http://schemas.microsoft.com/office/powerpoint/2010/main" val="28777411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36946"/>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37653"/>
            <a:ext cx="8716614" cy="769441"/>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marL="0" lvl="1" algn="just" defTabSz="914377">
              <a:buClr>
                <a:srgbClr val="1A3B47"/>
              </a:buClr>
              <a:defRPr b="0" i="0"/>
            </a:pPr>
            <a:r>
              <a:rPr lang="es-ES" sz="1100" spc="-1">
                <a:ea typeface="Soho Gothic Pro Light"/>
              </a:rPr>
              <a:t>Consultor con mas de 10 años de experiencia en el sector TI planificando, desarrollando e implantado soluciones en diferentes plataformas, tecnologías y clientes del sector publico y privado.</a:t>
            </a:r>
          </a:p>
          <a:p>
            <a:pPr marL="0" lvl="1" algn="just" defTabSz="914377">
              <a:buClr>
                <a:srgbClr val="1A3B47"/>
              </a:buClr>
              <a:defRPr b="0" i="0"/>
            </a:pPr>
            <a:endParaRPr lang="es-ES" sz="1100" spc="-1">
              <a:ea typeface="Soho Gothic Pro Light"/>
            </a:endParaRPr>
          </a:p>
          <a:p>
            <a:pPr marL="0" lvl="1" algn="just" defTabSz="914377">
              <a:buClr>
                <a:srgbClr val="1A3B47"/>
              </a:buClr>
              <a:defRPr b="0" i="0"/>
            </a:pPr>
            <a:r>
              <a:rPr lang="es-ES" sz="1100" spc="-1"/>
              <a:t>El último año y medio he estado dedicado a proyectos con tecnologías Big Data para la Agencia tributaria de Cataluña</a:t>
            </a:r>
            <a:endParaRPr lang="es-ES" sz="1100"/>
          </a:p>
        </p:txBody>
      </p:sp>
      <p:sp>
        <p:nvSpPr>
          <p:cNvPr id="102" name="CuadroTexto 54_0"/>
          <p:cNvSpPr/>
          <p:nvPr/>
        </p:nvSpPr>
        <p:spPr>
          <a:xfrm>
            <a:off x="9437040" y="5333415"/>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latin typeface="Soho Gothic Pro"/>
              </a:rPr>
              <a:t>Idiomas</a:t>
            </a:r>
            <a:endParaRPr lang="es-ES" sz="1200" b="1" strike="noStrike" spc="-1">
              <a:latin typeface="Arial"/>
            </a:endParaRPr>
          </a:p>
        </p:txBody>
      </p:sp>
      <p:sp>
        <p:nvSpPr>
          <p:cNvPr id="103" name="CuadroTexto 55_0"/>
          <p:cNvSpPr/>
          <p:nvPr/>
        </p:nvSpPr>
        <p:spPr>
          <a:xfrm>
            <a:off x="9438616" y="5677676"/>
            <a:ext cx="2712240" cy="707886"/>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b="1" strike="noStrike" spc="-1">
                <a:latin typeface="Soho Gothic Pro Light"/>
                <a:ea typeface="Soho Gothic Pro Light"/>
              </a:rPr>
              <a:t>Castellano - </a:t>
            </a:r>
            <a:r>
              <a:rPr lang="es-ES" sz="1000" b="0" strike="noStrike" spc="-1">
                <a:latin typeface="Soho Gothic Pro Light"/>
                <a:ea typeface="Soho Gothic Pro Light"/>
              </a:rPr>
              <a:t>Nativo</a:t>
            </a:r>
          </a:p>
          <a:p>
            <a:r>
              <a:rPr lang="ca-ES" sz="1000" b="1" spc="-1" err="1">
                <a:latin typeface="Soho Gothic Pro Light"/>
                <a:ea typeface="Soho Gothic Pro Light"/>
              </a:rPr>
              <a:t>Catalán</a:t>
            </a:r>
            <a:r>
              <a:rPr lang="ca-ES" sz="1000" b="1" spc="-1">
                <a:latin typeface="Soho Gothic Pro Light"/>
                <a:ea typeface="Soho Gothic Pro Light"/>
              </a:rPr>
              <a:t>  - </a:t>
            </a:r>
            <a:r>
              <a:rPr lang="ca-ES" sz="1000" spc="-1" err="1">
                <a:latin typeface="Soho Gothic Pro Light"/>
                <a:ea typeface="Soho Gothic Pro Light"/>
              </a:rPr>
              <a:t>Nativo</a:t>
            </a:r>
            <a:r>
              <a:rPr lang="ca-ES"/>
              <a:t/>
            </a:r>
            <a:br>
              <a:rPr lang="ca-ES"/>
            </a:br>
            <a:r>
              <a:rPr lang="es-ES" sz="1000" b="1" spc="-1"/>
              <a:t>Gallego </a:t>
            </a:r>
            <a:r>
              <a:rPr lang="es-ES" sz="1000" spc="-1"/>
              <a:t>– C1</a:t>
            </a:r>
            <a:endParaRPr lang="es-ES" sz="1000" spc="-1">
              <a:latin typeface="Arial"/>
            </a:endParaRPr>
          </a:p>
          <a:p>
            <a:pPr>
              <a:lnSpc>
                <a:spcPct val="100000"/>
              </a:lnSpc>
            </a:pPr>
            <a:r>
              <a:rPr lang="es-ES" sz="1000" b="1" strike="noStrike" spc="-1">
                <a:latin typeface="Soho Gothic Pro Light"/>
                <a:ea typeface="Soho Gothic Pro Light"/>
              </a:rPr>
              <a:t>Ingles - </a:t>
            </a:r>
            <a:r>
              <a:rPr lang="es-ES" sz="1000" b="0" strike="noStrike" spc="-1">
                <a:latin typeface="Soho Gothic Pro Light"/>
                <a:ea typeface="Soho Gothic Pro Light"/>
              </a:rPr>
              <a:t>B1</a:t>
            </a:r>
          </a:p>
        </p:txBody>
      </p:sp>
      <p:sp>
        <p:nvSpPr>
          <p:cNvPr id="105" name="CuadroTexto 40_0"/>
          <p:cNvSpPr/>
          <p:nvPr/>
        </p:nvSpPr>
        <p:spPr>
          <a:xfrm>
            <a:off x="3451680" y="110520"/>
            <a:ext cx="2692800" cy="45756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400" b="0" strike="noStrike" spc="-1">
                <a:solidFill>
                  <a:schemeClr val="bg1"/>
                </a:solidFill>
                <a:latin typeface="Soho Gothic Pro Medium"/>
              </a:rPr>
              <a:t>Data </a:t>
            </a:r>
            <a:r>
              <a:rPr lang="es-ES" sz="2400" b="0" strike="noStrike" spc="-1" err="1">
                <a:solidFill>
                  <a:schemeClr val="bg1"/>
                </a:solidFill>
                <a:latin typeface="Soho Gothic Pro Medium"/>
              </a:rPr>
              <a:t>Engineer</a:t>
            </a:r>
            <a:endParaRPr lang="es-ES" sz="2400" b="0" strike="noStrike" spc="-1">
              <a:solidFill>
                <a:schemeClr val="bg1"/>
              </a:solidFill>
              <a:latin typeface="Aria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R.S.L.</a:t>
            </a:r>
            <a:endParaRPr lang="es-ES" sz="2000" b="0" strike="noStrike" spc="-1">
              <a:solidFill>
                <a:schemeClr val="bg1"/>
              </a:solidFill>
              <a:latin typeface="Arial"/>
            </a:endParaRPr>
          </a:p>
        </p:txBody>
      </p:sp>
      <p:sp>
        <p:nvSpPr>
          <p:cNvPr id="109" name="CuadroTexto 37_0"/>
          <p:cNvSpPr/>
          <p:nvPr/>
        </p:nvSpPr>
        <p:spPr>
          <a:xfrm>
            <a:off x="9437040" y="2800825"/>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latin typeface="Soho Gothic Pro"/>
              </a:rPr>
              <a:t>IT</a:t>
            </a:r>
            <a:endParaRPr lang="es-ES" sz="1200" b="1" strike="noStrike" spc="-1">
              <a:latin typeface="Arial"/>
            </a:endParaRPr>
          </a:p>
        </p:txBody>
      </p:sp>
      <p:sp>
        <p:nvSpPr>
          <p:cNvPr id="110" name="CuadroTexto 52_0"/>
          <p:cNvSpPr/>
          <p:nvPr/>
        </p:nvSpPr>
        <p:spPr>
          <a:xfrm>
            <a:off x="9411256" y="3050810"/>
            <a:ext cx="2739600" cy="1631216"/>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n-US" sz="1000" b="1" strike="noStrike" spc="-1">
                <a:latin typeface="Soho Gothic Pro Light"/>
                <a:ea typeface="Soho Gothic Pro Light"/>
              </a:rPr>
              <a:t>Programming languages</a:t>
            </a:r>
            <a:r>
              <a:rPr lang="en-US" sz="1000" b="0" strike="noStrike" spc="-1">
                <a:latin typeface="Soho Gothic Pro Light"/>
                <a:ea typeface="Soho Gothic Pro Light"/>
              </a:rPr>
              <a:t>: </a:t>
            </a:r>
            <a:r>
              <a:rPr lang="en-US" sz="1000" i="1" spc="-1">
                <a:ea typeface="Soho Gothic Pro Light"/>
              </a:rPr>
              <a:t>Java, Scala, PL/SQL, PHP, JavaScript</a:t>
            </a:r>
          </a:p>
          <a:p>
            <a:r>
              <a:rPr lang="en-US" sz="1000" b="1" spc="-1">
                <a:ea typeface="Soho Gothic Pro Light"/>
              </a:rPr>
              <a:t>Linux Scripting: </a:t>
            </a:r>
            <a:r>
              <a:rPr lang="en-US" sz="1000" spc="-1">
                <a:ea typeface="Soho Gothic Pro Light"/>
              </a:rPr>
              <a:t>Bash-shell, Perl, Python</a:t>
            </a:r>
          </a:p>
          <a:p>
            <a:r>
              <a:rPr lang="en-US" sz="1000" b="1" i="1" spc="-1">
                <a:ea typeface="Soho Gothic Pro Light"/>
              </a:rPr>
              <a:t>Databases:</a:t>
            </a:r>
            <a:r>
              <a:rPr lang="en-US" sz="1000" i="1" spc="-1">
                <a:ea typeface="Soho Gothic Pro Light"/>
              </a:rPr>
              <a:t> Oracle, </a:t>
            </a:r>
            <a:r>
              <a:rPr lang="en-US" sz="1000" i="1" spc="-1" err="1">
                <a:ea typeface="Soho Gothic Pro Light"/>
              </a:rPr>
              <a:t>MySql</a:t>
            </a:r>
            <a:r>
              <a:rPr lang="en-US" sz="1000" i="1" spc="-1">
                <a:ea typeface="Soho Gothic Pro Light"/>
              </a:rPr>
              <a:t>, </a:t>
            </a:r>
            <a:r>
              <a:rPr lang="en-US" sz="1000" i="1" spc="-1" err="1">
                <a:ea typeface="Soho Gothic Pro Light"/>
              </a:rPr>
              <a:t>SQLServer</a:t>
            </a:r>
            <a:r>
              <a:rPr lang="en-US" sz="1000" i="1" spc="-1">
                <a:ea typeface="Soho Gothic Pro Light"/>
              </a:rPr>
              <a:t>, MongoDB, Kudu, Impala</a:t>
            </a:r>
          </a:p>
          <a:p>
            <a:r>
              <a:rPr lang="en-US" sz="1000" b="1" i="1" spc="-1">
                <a:ea typeface="Soho Gothic Pro Light"/>
              </a:rPr>
              <a:t>Big Data (</a:t>
            </a:r>
            <a:r>
              <a:rPr lang="en-US" sz="1000" b="1" i="1" spc="-1" err="1">
                <a:ea typeface="Soho Gothic Pro Light"/>
              </a:rPr>
              <a:t>tecnología</a:t>
            </a:r>
            <a:r>
              <a:rPr lang="en-US" sz="1000" b="1" i="1" spc="-1">
                <a:ea typeface="Soho Gothic Pro Light"/>
              </a:rPr>
              <a:t>):</a:t>
            </a:r>
            <a:r>
              <a:rPr lang="en-US" sz="1000" i="1" spc="-1">
                <a:ea typeface="Soho Gothic Pro Light"/>
              </a:rPr>
              <a:t> Hadoop, MongoDB, kudu, impala, Scala, Spark</a:t>
            </a:r>
          </a:p>
          <a:p>
            <a:r>
              <a:rPr lang="en-US" sz="1000" b="1" i="1" spc="-1">
                <a:ea typeface="Soho Gothic Pro Light"/>
              </a:rPr>
              <a:t>Web:</a:t>
            </a:r>
            <a:r>
              <a:rPr lang="en-US" sz="1000" i="1" spc="-1">
                <a:ea typeface="Soho Gothic Pro Light"/>
              </a:rPr>
              <a:t> HTML, CSS, JavaScript, Apache-Tomcat, Spring Framework, AJAX, JSP, PHP, </a:t>
            </a:r>
            <a:r>
              <a:rPr lang="en-US" sz="1000" i="1" spc="-1" err="1">
                <a:ea typeface="Soho Gothic Pro Light"/>
              </a:rPr>
              <a:t>Jquery</a:t>
            </a:r>
            <a:endParaRPr lang="en-US" sz="1000" i="1" spc="-1">
              <a:ea typeface="Soho Gothic Pro Light"/>
            </a:endParaRPr>
          </a:p>
          <a:p>
            <a:r>
              <a:rPr lang="en-US" sz="1000" b="1" i="1" spc="-1">
                <a:ea typeface="Soho Gothic Pro Light"/>
              </a:rPr>
              <a:t>SCM: </a:t>
            </a:r>
            <a:r>
              <a:rPr lang="en-US" sz="1000" i="1" spc="-1" err="1">
                <a:ea typeface="Soho Gothic Pro Light"/>
              </a:rPr>
              <a:t>Git,SVN</a:t>
            </a:r>
            <a:endParaRPr lang="en-US" sz="1000" i="1" spc="-1">
              <a:ea typeface="Soho Gothic Pro Light"/>
            </a:endParaRPr>
          </a:p>
        </p:txBody>
      </p:sp>
      <p:sp>
        <p:nvSpPr>
          <p:cNvPr id="111" name="CuadroTexto 50_0"/>
          <p:cNvSpPr/>
          <p:nvPr/>
        </p:nvSpPr>
        <p:spPr>
          <a:xfrm>
            <a:off x="9458017" y="2155375"/>
            <a:ext cx="265104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spc="-1">
                <a:latin typeface="Soho Gothic Pro Light"/>
                <a:ea typeface="Soho Gothic Pro Light"/>
              </a:rPr>
              <a:t>2019</a:t>
            </a:r>
            <a:r>
              <a:rPr lang="es-ES" sz="1000" b="0" strike="noStrike" spc="-1">
                <a:latin typeface="Soho Gothic Pro Light"/>
                <a:ea typeface="Soho Gothic Pro Light"/>
              </a:rPr>
              <a:t> - </a:t>
            </a:r>
            <a:r>
              <a:rPr lang="es-ES" sz="1000" spc="-1">
                <a:ea typeface="Soho Gothic Pro Light"/>
              </a:rPr>
              <a:t>Metodologías ágiles de desarrollo</a:t>
            </a:r>
          </a:p>
          <a:p>
            <a:pPr>
              <a:lnSpc>
                <a:spcPct val="100000"/>
              </a:lnSpc>
            </a:pPr>
            <a:r>
              <a:rPr lang="es-ES" sz="1000" spc="-1">
                <a:ea typeface="Soho Gothic Pro Light"/>
              </a:rPr>
              <a:t>2017 - </a:t>
            </a:r>
            <a:r>
              <a:rPr lang="es-ES" sz="1000" spc="-1" err="1">
                <a:ea typeface="Soho Gothic Pro Light"/>
              </a:rPr>
              <a:t>Prog</a:t>
            </a:r>
            <a:r>
              <a:rPr lang="es-ES" sz="1000" spc="-1">
                <a:ea typeface="Soho Gothic Pro Light"/>
              </a:rPr>
              <a:t>. HTML5 c/ JavaScript&amp;CSS3</a:t>
            </a:r>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latin typeface="Soho Gothic Pro"/>
              </a:rPr>
              <a:t>Educación</a:t>
            </a:r>
            <a:endParaRPr lang="es-ES" sz="1200" b="1" strike="noStrike" spc="-1">
              <a:latin typeface="Arial"/>
            </a:endParaRPr>
          </a:p>
        </p:txBody>
      </p:sp>
      <p:sp>
        <p:nvSpPr>
          <p:cNvPr id="113" name="CuadroTexto 70_0"/>
          <p:cNvSpPr/>
          <p:nvPr/>
        </p:nvSpPr>
        <p:spPr>
          <a:xfrm>
            <a:off x="9827280" y="1030546"/>
            <a:ext cx="2349360" cy="553998"/>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t>CFGS Técnico superior en Desarrollo de aplicaciones informáticas</a:t>
            </a:r>
          </a:p>
          <a:p>
            <a:r>
              <a:rPr lang="es-ES" sz="1000" spc="-1"/>
              <a:t>IES </a:t>
            </a:r>
            <a:r>
              <a:rPr lang="es-ES" sz="1000" spc="-1" err="1"/>
              <a:t>Provençana</a:t>
            </a:r>
            <a:endParaRPr lang="es-ES" sz="1000" spc="-1"/>
          </a:p>
        </p:txBody>
      </p:sp>
      <p:sp>
        <p:nvSpPr>
          <p:cNvPr id="114" name="CuadroTexto 73_0"/>
          <p:cNvSpPr/>
          <p:nvPr/>
        </p:nvSpPr>
        <p:spPr>
          <a:xfrm>
            <a:off x="9430519" y="1012377"/>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latin typeface="Soho Gothic Pro Medium"/>
              </a:rPr>
              <a:t>2002</a:t>
            </a:r>
            <a:endParaRPr lang="es-ES" sz="900" b="0" strike="noStrike" spc="-1">
              <a:latin typeface="Arial"/>
            </a:endParaRPr>
          </a:p>
          <a:p>
            <a:pPr>
              <a:lnSpc>
                <a:spcPct val="100000"/>
              </a:lnSpc>
            </a:pPr>
            <a:r>
              <a:rPr lang="es-ES" sz="900" b="0" strike="noStrike" spc="-1">
                <a:latin typeface="Soho Gothic Pro Medium"/>
              </a:rPr>
              <a:t>—</a:t>
            </a:r>
            <a:endParaRPr lang="es-ES" sz="900" b="0" strike="noStrike" spc="-1">
              <a:latin typeface="Arial"/>
            </a:endParaRPr>
          </a:p>
          <a:p>
            <a:pPr>
              <a:lnSpc>
                <a:spcPct val="100000"/>
              </a:lnSpc>
            </a:pPr>
            <a:r>
              <a:rPr lang="es-ES" sz="900" spc="-1">
                <a:latin typeface="Soho Gothic Pro Medium"/>
              </a:rPr>
              <a:t>2000</a:t>
            </a:r>
            <a:endParaRPr lang="es-ES" sz="900" b="0" strike="noStrike" spc="-1">
              <a:latin typeface="Arial"/>
            </a:endParaRPr>
          </a:p>
        </p:txBody>
      </p:sp>
      <p:sp>
        <p:nvSpPr>
          <p:cNvPr id="117" name="CuadroTexto 33_0"/>
          <p:cNvSpPr/>
          <p:nvPr/>
        </p:nvSpPr>
        <p:spPr>
          <a:xfrm>
            <a:off x="9447480" y="1841604"/>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latin typeface="Soho Gothic Pro Light"/>
              </a:rPr>
              <a:t>Cursos Relevantes</a:t>
            </a:r>
            <a:endParaRPr lang="es-ES" sz="1200" b="1" strike="noStrike" spc="-1">
              <a:latin typeface="Arial"/>
            </a:endParaRPr>
          </a:p>
        </p:txBody>
      </p:sp>
      <p:sp>
        <p:nvSpPr>
          <p:cNvPr id="37" name="CuadroTexto 30_0"/>
          <p:cNvSpPr/>
          <p:nvPr/>
        </p:nvSpPr>
        <p:spPr>
          <a:xfrm>
            <a:off x="5463001" y="152640"/>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Rubén Salgado Llamas</a:t>
            </a:r>
            <a:endParaRPr lang="es-ES" sz="2000" b="0" strike="noStrike" spc="-1">
              <a:solidFill>
                <a:schemeClr val="bg1"/>
              </a:solidFill>
              <a:latin typeface="Arial"/>
            </a:endParaRPr>
          </a:p>
        </p:txBody>
      </p:sp>
      <p:sp>
        <p:nvSpPr>
          <p:cNvPr id="27" name="CuadroTexto 44_0"/>
          <p:cNvSpPr/>
          <p:nvPr/>
        </p:nvSpPr>
        <p:spPr>
          <a:xfrm>
            <a:off x="685800" y="1752615"/>
            <a:ext cx="4215600" cy="1107996"/>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lnSpc>
                <a:spcPct val="100000"/>
              </a:lnSpc>
            </a:pPr>
            <a:r>
              <a:rPr lang="es-ES" sz="1100" b="1" strike="noStrike" spc="-1" err="1">
                <a:latin typeface="Soho Gothic Pro Light"/>
                <a:ea typeface="Soho Gothic Pro Light"/>
              </a:rPr>
              <a:t>Minsait</a:t>
            </a:r>
            <a:r>
              <a:rPr lang="es-ES" sz="1100" b="1" strike="noStrike" spc="-1">
                <a:latin typeface="Soho Gothic Pro Light"/>
                <a:ea typeface="Soho Gothic Pro Light"/>
              </a:rPr>
              <a: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0" strike="noStrike" spc="-1">
              <a:latin typeface="Arial"/>
              <a:cs typeface="Arial"/>
            </a:endParaRPr>
          </a:p>
          <a:p>
            <a:pPr algn="just">
              <a:lnSpc>
                <a:spcPct val="100000"/>
              </a:lnSpc>
            </a:pPr>
            <a:r>
              <a:rPr lang="es-ES" sz="1100" spc="-1">
                <a:latin typeface="Soho Gothic Pro Light"/>
                <a:ea typeface="Soho Gothic Pro Light"/>
              </a:rPr>
              <a:t>Ingeniero de Datos</a:t>
            </a:r>
            <a:endParaRPr lang="es-ES" sz="1100" b="0" strike="noStrike" spc="-1">
              <a:latin typeface="Arial"/>
              <a:cs typeface="Arial"/>
            </a:endParaRPr>
          </a:p>
          <a:p>
            <a:pPr algn="just">
              <a:lnSpc>
                <a:spcPct val="100000"/>
              </a:lnSpc>
            </a:pPr>
            <a:endParaRPr lang="es-ES" sz="1100" b="0" strike="noStrike" spc="-1">
              <a:latin typeface="Arial"/>
              <a:cs typeface="Arial"/>
            </a:endParaRPr>
          </a:p>
          <a:p>
            <a:pPr marL="170815" indent="-170815" algn="just">
              <a:buClr>
                <a:srgbClr val="1A3B47"/>
              </a:buClr>
              <a:buFont typeface="Arial,Sans-Serif"/>
              <a:buChar char="•"/>
            </a:pPr>
            <a:r>
              <a:rPr lang="es-ES" sz="1100" spc="-1"/>
              <a:t>Proyecto de Censos para la agencia tributaria de Cataluña</a:t>
            </a:r>
          </a:p>
          <a:p>
            <a:pPr marL="170815" indent="-170815" algn="just">
              <a:buClr>
                <a:srgbClr val="1A3B47"/>
              </a:buClr>
              <a:buFont typeface="Arial,Sans-Serif"/>
              <a:buChar char="•"/>
            </a:pPr>
            <a:r>
              <a:rPr lang="es-ES" sz="1100" spc="-1"/>
              <a:t>Diseño, desarrollo, e implantación de soluciones con tecnologías Big Data</a:t>
            </a:r>
          </a:p>
        </p:txBody>
      </p:sp>
      <p:sp>
        <p:nvSpPr>
          <p:cNvPr id="28" name="CuadroTexto 45_2"/>
          <p:cNvSpPr/>
          <p:nvPr/>
        </p:nvSpPr>
        <p:spPr>
          <a:xfrm>
            <a:off x="5312879" y="4716013"/>
            <a:ext cx="4007341" cy="937264"/>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algn="just"/>
            <a:r>
              <a:rPr lang="es-ES" sz="1100" b="1" spc="-1">
                <a:ea typeface="+mn-lt"/>
                <a:cs typeface="+mn-lt"/>
              </a:rPr>
              <a:t>C.B. Consultoría e Integración Informática, S.L.</a:t>
            </a:r>
            <a:endParaRPr lang="es-ES" sz="1750" b="1"/>
          </a:p>
          <a:p>
            <a:pPr algn="just"/>
            <a:r>
              <a:rPr lang="es-ES" sz="1100" spc="-1">
                <a:ea typeface="Soho Gothic Pro Light"/>
              </a:rPr>
              <a:t>Desarrollador Web</a:t>
            </a:r>
          </a:p>
          <a:p>
            <a:pPr algn="just">
              <a:lnSpc>
                <a:spcPct val="100000"/>
              </a:lnSpc>
            </a:pPr>
            <a:endParaRPr lang="es-ES" sz="1100" spc="-1">
              <a:latin typeface="Arial"/>
              <a:cs typeface="Arial"/>
            </a:endParaRPr>
          </a:p>
          <a:p>
            <a:pPr marL="170815" indent="-170815" algn="just">
              <a:buClr>
                <a:srgbClr val="1A3B47"/>
              </a:buClr>
              <a:buFont typeface="Arial,Sans-Serif"/>
              <a:buChar char="•"/>
            </a:pPr>
            <a:r>
              <a:rPr lang="es-ES" sz="1100" spc="-1"/>
              <a:t>Desarrollo Web para varios cliente en diferentes tecnologías:</a:t>
            </a:r>
            <a:endParaRPr lang="es-ES" sz="1750"/>
          </a:p>
          <a:p>
            <a:pPr marL="627380" lvl="1" indent="-170815" algn="just">
              <a:buClr>
                <a:srgbClr val="1A3B47"/>
              </a:buClr>
              <a:buFont typeface="Arial,Sans-Serif"/>
              <a:buChar char="•"/>
            </a:pPr>
            <a:r>
              <a:rPr lang="es-ES" sz="1100" spc="-1"/>
              <a:t>PHP, JSP, CSS, JS, AJAX,  </a:t>
            </a:r>
            <a:r>
              <a:rPr lang="es-ES" sz="1100" spc="-1" err="1"/>
              <a:t>Struts</a:t>
            </a:r>
            <a:r>
              <a:rPr lang="es-ES" sz="1100" spc="-1"/>
              <a:t>, Spring, PL/SQL, etc.</a:t>
            </a:r>
          </a:p>
        </p:txBody>
      </p:sp>
      <p:sp>
        <p:nvSpPr>
          <p:cNvPr id="29" name="CuadroTexto 48_2"/>
          <p:cNvSpPr/>
          <p:nvPr/>
        </p:nvSpPr>
        <p:spPr>
          <a:xfrm>
            <a:off x="4901400" y="4718296"/>
            <a:ext cx="839880" cy="5078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t>2009</a:t>
            </a:r>
            <a:endParaRPr lang="es-ES" sz="900" b="1" spc="-1">
              <a:latin typeface="Arial"/>
              <a:cs typeface="Arial"/>
            </a:endParaRPr>
          </a:p>
          <a:p>
            <a:pPr>
              <a:lnSpc>
                <a:spcPct val="100000"/>
              </a:lnSpc>
            </a:pPr>
            <a:r>
              <a:rPr lang="es-ES" sz="900" b="1" spc="-1">
                <a:ea typeface="Soho Gothic Pro Light"/>
              </a:rPr>
              <a:t>—</a:t>
            </a:r>
            <a:endParaRPr lang="es-ES" sz="900" b="1" spc="-1">
              <a:latin typeface="Arial"/>
              <a:cs typeface="Arial"/>
            </a:endParaRPr>
          </a:p>
          <a:p>
            <a:pPr>
              <a:lnSpc>
                <a:spcPct val="100000"/>
              </a:lnSpc>
            </a:pPr>
            <a:r>
              <a:rPr lang="es-ES" sz="900" b="1" spc="-1"/>
              <a:t>2007</a:t>
            </a:r>
            <a:endParaRPr lang="es-ES"/>
          </a:p>
        </p:txBody>
      </p:sp>
      <p:sp>
        <p:nvSpPr>
          <p:cNvPr id="32" name="CuadroTexto 39_0"/>
          <p:cNvSpPr/>
          <p:nvPr/>
        </p:nvSpPr>
        <p:spPr>
          <a:xfrm>
            <a:off x="240120" y="1719135"/>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trike="noStrike" spc="-1">
                <a:latin typeface="Soho Gothic Pro Light"/>
                <a:ea typeface="Soho Gothic Pro Light"/>
              </a:rPr>
              <a:t>ACT</a:t>
            </a:r>
            <a:endParaRPr lang="es-ES" sz="900" b="1" strike="noStrike" spc="-1">
              <a:latin typeface="Arial"/>
              <a:cs typeface="Arial"/>
            </a:endParaRPr>
          </a:p>
          <a:p>
            <a:pPr>
              <a:lnSpc>
                <a:spcPct val="100000"/>
              </a:lnSpc>
            </a:pPr>
            <a:r>
              <a:rPr lang="es-ES" sz="900" b="1" strike="noStrike" spc="-1">
                <a:latin typeface="Soho Gothic Pro Light"/>
                <a:ea typeface="Soho Gothic Pro Light"/>
              </a:rPr>
              <a:t>—</a:t>
            </a:r>
            <a:endParaRPr lang="es-ES" sz="900" b="1" strike="noStrike" spc="-1">
              <a:latin typeface="Arial"/>
              <a:cs typeface="Arial"/>
            </a:endParaRPr>
          </a:p>
          <a:p>
            <a:pPr>
              <a:lnSpc>
                <a:spcPct val="100000"/>
              </a:lnSpc>
            </a:pPr>
            <a:r>
              <a:rPr lang="es-ES" sz="900" b="1" spc="-1">
                <a:latin typeface="Soho Gothic Pro Light"/>
              </a:rPr>
              <a:t>2019</a:t>
            </a:r>
            <a:endParaRPr lang="es-ES" sz="900" b="1" strike="noStrike" spc="-1">
              <a:latin typeface="Arial"/>
            </a:endParaRPr>
          </a:p>
          <a:p>
            <a:pPr>
              <a:lnSpc>
                <a:spcPct val="100000"/>
              </a:lnSpc>
            </a:pPr>
            <a:endParaRPr lang="es-ES" sz="900" b="0" strike="noStrike" spc="-1">
              <a:solidFill>
                <a:srgbClr val="FF0000"/>
              </a:solidFill>
              <a:latin typeface="Arial"/>
            </a:endParaRPr>
          </a:p>
        </p:txBody>
      </p:sp>
      <p:sp>
        <p:nvSpPr>
          <p:cNvPr id="38" name="CuadroTexto 44_0"/>
          <p:cNvSpPr/>
          <p:nvPr/>
        </p:nvSpPr>
        <p:spPr>
          <a:xfrm>
            <a:off x="677333" y="2938013"/>
            <a:ext cx="4215600" cy="1277273"/>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lnSpc>
                <a:spcPct val="100000"/>
              </a:lnSpc>
            </a:pPr>
            <a:r>
              <a:rPr lang="es-ES" sz="1100" b="1" spc="-1">
                <a:ea typeface="+mn-lt"/>
                <a:cs typeface="+mn-lt"/>
              </a:rPr>
              <a:t>Minsait </a:t>
            </a:r>
            <a:r>
              <a:rPr lang="es-ES" sz="1100" b="1" spc="-1" err="1">
                <a:ea typeface="+mn-lt"/>
                <a:cs typeface="+mn-lt"/>
              </a:rPr>
              <a:t>by</a:t>
            </a:r>
            <a:r>
              <a:rPr lang="es-ES" sz="1100" b="1" spc="-1">
                <a:ea typeface="+mn-lt"/>
                <a:cs typeface="+mn-lt"/>
              </a:rPr>
              <a:t> Indra (Barcelona, España)</a:t>
            </a:r>
          </a:p>
          <a:p>
            <a:pPr algn="just"/>
            <a:r>
              <a:rPr lang="es-ES" sz="1100" spc="-1">
                <a:ea typeface="+mn-lt"/>
                <a:cs typeface="+mn-lt"/>
              </a:rPr>
              <a:t>Consultor CA </a:t>
            </a:r>
            <a:r>
              <a:rPr lang="es-ES" sz="1100" spc="-1" err="1">
                <a:ea typeface="+mn-lt"/>
                <a:cs typeface="+mn-lt"/>
              </a:rPr>
              <a:t>Clarity</a:t>
            </a:r>
            <a:r>
              <a:rPr lang="es-ES" sz="1100" spc="-1">
                <a:ea typeface="+mn-lt"/>
                <a:cs typeface="+mn-lt"/>
              </a:rPr>
              <a:t> Project &amp; Portfolio Management</a:t>
            </a:r>
          </a:p>
          <a:p>
            <a:pPr algn="just">
              <a:lnSpc>
                <a:spcPct val="100000"/>
              </a:lnSpc>
            </a:pPr>
            <a:endParaRPr lang="es-ES" sz="1100" b="0" strike="noStrike" spc="-1">
              <a:solidFill>
                <a:srgbClr val="FF0000"/>
              </a:solidFill>
              <a:latin typeface="Arial"/>
            </a:endParaRPr>
          </a:p>
          <a:p>
            <a:pPr marL="170815" indent="-170815" algn="just">
              <a:buClr>
                <a:srgbClr val="1A3B47"/>
              </a:buClr>
              <a:buFont typeface="Arial,Sans-Serif"/>
              <a:buChar char="•"/>
            </a:pPr>
            <a:r>
              <a:rPr lang="es-ES" sz="1100" spc="-1">
                <a:ea typeface="+mn-lt"/>
                <a:cs typeface="+mn-lt"/>
              </a:rPr>
              <a:t>Diseño de soluciones a medida</a:t>
            </a:r>
          </a:p>
          <a:p>
            <a:pPr marL="170815" indent="-170815" algn="just">
              <a:buClr>
                <a:srgbClr val="1A3B47"/>
              </a:buClr>
              <a:buFont typeface="Arial,Sans-Serif"/>
              <a:buChar char="•"/>
            </a:pPr>
            <a:r>
              <a:rPr lang="es-ES" sz="1100" spc="-1">
                <a:ea typeface="+mn-lt"/>
                <a:cs typeface="+mn-lt"/>
              </a:rPr>
              <a:t>Desarrollador de evolutivos a medida para CA </a:t>
            </a:r>
            <a:r>
              <a:rPr lang="es-ES" sz="1100" spc="-1" err="1">
                <a:ea typeface="+mn-lt"/>
                <a:cs typeface="+mn-lt"/>
              </a:rPr>
              <a:t>Clarity</a:t>
            </a:r>
            <a:r>
              <a:rPr lang="es-ES" sz="1100" spc="-1">
                <a:ea typeface="+mn-lt"/>
                <a:cs typeface="+mn-lt"/>
              </a:rPr>
              <a:t> PPM</a:t>
            </a:r>
          </a:p>
          <a:p>
            <a:pPr marL="170815" indent="-170815" algn="just">
              <a:buClr>
                <a:srgbClr val="1A3B47"/>
              </a:buClr>
              <a:buFont typeface="Arial,Sans-Serif"/>
              <a:buChar char="•"/>
            </a:pPr>
            <a:r>
              <a:rPr lang="es-ES" sz="1100" spc="-1">
                <a:ea typeface="+mn-lt"/>
                <a:cs typeface="+mn-lt"/>
              </a:rPr>
              <a:t>Migraciones CA </a:t>
            </a:r>
            <a:r>
              <a:rPr lang="es-ES" sz="1100" spc="-1" err="1">
                <a:ea typeface="+mn-lt"/>
                <a:cs typeface="+mn-lt"/>
              </a:rPr>
              <a:t>Clarity</a:t>
            </a:r>
            <a:r>
              <a:rPr lang="es-ES" sz="1100" spc="-1">
                <a:ea typeface="+mn-lt"/>
                <a:cs typeface="+mn-lt"/>
              </a:rPr>
              <a:t> PPM</a:t>
            </a:r>
            <a:endParaRPr lang="es-ES"/>
          </a:p>
          <a:p>
            <a:pPr marL="170815" indent="-170815" algn="just">
              <a:buClr>
                <a:srgbClr val="1A3B47"/>
              </a:buClr>
              <a:buFont typeface="Arial,Sans-Serif"/>
              <a:buChar char="•"/>
            </a:pPr>
            <a:r>
              <a:rPr lang="es-ES" sz="1100" spc="-1"/>
              <a:t>Clientes: </a:t>
            </a:r>
            <a:r>
              <a:rPr lang="es-ES" sz="1100" spc="-1" err="1">
                <a:ea typeface="+mn-lt"/>
                <a:cs typeface="+mn-lt"/>
              </a:rPr>
              <a:t>Banc</a:t>
            </a:r>
            <a:r>
              <a:rPr lang="es-ES" sz="1100" spc="-1">
                <a:ea typeface="+mn-lt"/>
                <a:cs typeface="+mn-lt"/>
              </a:rPr>
              <a:t> Sabadell, Mango, CTTI </a:t>
            </a:r>
            <a:endParaRPr lang="es-ES" sz="1100" spc="-1"/>
          </a:p>
        </p:txBody>
      </p:sp>
      <p:sp>
        <p:nvSpPr>
          <p:cNvPr id="39" name="CuadroTexto 39_0"/>
          <p:cNvSpPr/>
          <p:nvPr/>
        </p:nvSpPr>
        <p:spPr>
          <a:xfrm>
            <a:off x="231653" y="2940296"/>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latin typeface="Soho Gothic Pro Light"/>
              </a:rPr>
              <a:t>2019</a:t>
            </a:r>
            <a:endParaRPr lang="es-ES" sz="900" b="1" strike="noStrike" spc="-1">
              <a:latin typeface="Arial"/>
              <a:cs typeface="Arial"/>
            </a:endParaRPr>
          </a:p>
          <a:p>
            <a:pPr>
              <a:lnSpc>
                <a:spcPct val="100000"/>
              </a:lnSpc>
            </a:pPr>
            <a:r>
              <a:rPr lang="es-ES" sz="900" b="1" strike="noStrike" spc="-1">
                <a:latin typeface="Soho Gothic Pro Light"/>
                <a:ea typeface="Soho Gothic Pro Light"/>
              </a:rPr>
              <a:t>—</a:t>
            </a:r>
            <a:endParaRPr lang="es-ES" sz="900" b="1" strike="noStrike" spc="-1">
              <a:latin typeface="Arial"/>
              <a:cs typeface="Arial"/>
            </a:endParaRPr>
          </a:p>
          <a:p>
            <a:pPr>
              <a:lnSpc>
                <a:spcPct val="100000"/>
              </a:lnSpc>
            </a:pPr>
            <a:r>
              <a:rPr lang="es-ES" sz="900" b="1" spc="-1">
                <a:latin typeface="Soho Gothic Pro Light"/>
              </a:rPr>
              <a:t>2015</a:t>
            </a:r>
            <a:endParaRPr lang="es-ES" sz="900" b="1" strike="noStrike" spc="-1">
              <a:latin typeface="Arial"/>
            </a:endParaRPr>
          </a:p>
          <a:p>
            <a:pPr>
              <a:lnSpc>
                <a:spcPct val="100000"/>
              </a:lnSpc>
            </a:pPr>
            <a:endParaRPr lang="es-ES" sz="900" b="0" strike="noStrike" spc="-1">
              <a:solidFill>
                <a:srgbClr val="FF0000"/>
              </a:solidFill>
              <a:latin typeface="Arial"/>
            </a:endParaRPr>
          </a:p>
        </p:txBody>
      </p:sp>
      <p:sp>
        <p:nvSpPr>
          <p:cNvPr id="42" name="CuadroTexto 44_0"/>
          <p:cNvSpPr/>
          <p:nvPr/>
        </p:nvSpPr>
        <p:spPr>
          <a:xfrm>
            <a:off x="709107" y="4543199"/>
            <a:ext cx="3919320" cy="144655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r>
              <a:rPr lang="es-ES" sz="1100" b="1" spc="-1">
                <a:latin typeface="Soho Gothic Pro Light"/>
              </a:rPr>
              <a:t>C.B. Consultoría e Integración Informática, S.L.</a:t>
            </a:r>
            <a:endParaRPr lang="es-ES" sz="1100" spc="-1">
              <a:ea typeface="+mn-lt"/>
              <a:cs typeface="+mn-lt"/>
            </a:endParaRPr>
          </a:p>
          <a:p>
            <a:pPr algn="just"/>
            <a:r>
              <a:rPr lang="es-ES" sz="1100" spc="-1">
                <a:latin typeface="Soho Gothic Pro Light"/>
              </a:rPr>
              <a:t>Consultor ITSM (HP </a:t>
            </a:r>
            <a:r>
              <a:rPr lang="es-ES" sz="1100" spc="-1" err="1">
                <a:latin typeface="Soho Gothic Pro Light"/>
              </a:rPr>
              <a:t>Openview</a:t>
            </a:r>
            <a:r>
              <a:rPr lang="es-ES" sz="1100" spc="-1">
                <a:latin typeface="Soho Gothic Pro Light"/>
              </a:rPr>
              <a:t>)</a:t>
            </a:r>
            <a:endParaRPr lang="es-ES" sz="1100" b="0" strike="noStrike" spc="-1">
              <a:latin typeface="Arial"/>
              <a:cs typeface="Arial"/>
            </a:endParaRPr>
          </a:p>
          <a:p>
            <a:pPr algn="just">
              <a:lnSpc>
                <a:spcPct val="100000"/>
              </a:lnSpc>
            </a:pPr>
            <a:endParaRPr lang="es-ES" sz="1100" b="0" strike="noStrike" spc="-1">
              <a:latin typeface="Arial"/>
              <a:cs typeface="Arial"/>
            </a:endParaRPr>
          </a:p>
          <a:p>
            <a:pPr marL="170815" indent="-170815" algn="just">
              <a:buClr>
                <a:srgbClr val="1A3B47"/>
              </a:buClr>
              <a:buFont typeface="Arial,Sans-Serif"/>
              <a:buChar char="•"/>
            </a:pPr>
            <a:r>
              <a:rPr lang="es-ES" sz="1100" spc="-1"/>
              <a:t>Administración de entornos de monitorización con herramientas HP </a:t>
            </a:r>
            <a:r>
              <a:rPr lang="es-ES" sz="1100" spc="-1" err="1"/>
              <a:t>Openview</a:t>
            </a:r>
            <a:endParaRPr lang="es-ES" sz="1100" spc="-1"/>
          </a:p>
          <a:p>
            <a:pPr marL="627380" lvl="1" indent="-170815" algn="just">
              <a:buClr>
                <a:srgbClr val="1A3B47"/>
              </a:buClr>
              <a:buFont typeface="Arial,Sans-Serif"/>
              <a:buChar char="•"/>
            </a:pPr>
            <a:r>
              <a:rPr lang="es-ES" sz="1100" spc="-1"/>
              <a:t>HP Business </a:t>
            </a:r>
            <a:r>
              <a:rPr lang="es-ES" sz="1100" spc="-1" err="1"/>
              <a:t>Service</a:t>
            </a:r>
            <a:r>
              <a:rPr lang="es-ES" sz="1100" spc="-1"/>
              <a:t> Management</a:t>
            </a:r>
          </a:p>
          <a:p>
            <a:pPr marL="628015" indent="-171450" algn="just">
              <a:buClr>
                <a:srgbClr val="1A3B47"/>
              </a:buClr>
              <a:buFont typeface="Arial"/>
              <a:buChar char="•"/>
            </a:pPr>
            <a:r>
              <a:rPr lang="es-ES" sz="1100" spc="-1"/>
              <a:t>HP </a:t>
            </a:r>
            <a:r>
              <a:rPr lang="es-ES" sz="1100" spc="-1">
                <a:ea typeface="+mn-lt"/>
                <a:cs typeface="+mn-lt"/>
              </a:rPr>
              <a:t>Business </a:t>
            </a:r>
            <a:r>
              <a:rPr lang="es-ES" sz="1100" spc="-1" err="1">
                <a:ea typeface="+mn-lt"/>
                <a:cs typeface="+mn-lt"/>
              </a:rPr>
              <a:t>Process</a:t>
            </a:r>
            <a:r>
              <a:rPr lang="es-ES" sz="1100" spc="-1">
                <a:ea typeface="+mn-lt"/>
                <a:cs typeface="+mn-lt"/>
              </a:rPr>
              <a:t> Management</a:t>
            </a:r>
          </a:p>
          <a:p>
            <a:pPr marL="628015" indent="-171450" algn="just">
              <a:buClr>
                <a:srgbClr val="1A3B47"/>
              </a:buClr>
              <a:buFont typeface="Arial"/>
              <a:buChar char="•"/>
            </a:pPr>
            <a:r>
              <a:rPr lang="es-ES" sz="1100" spc="-1"/>
              <a:t>HP </a:t>
            </a:r>
            <a:r>
              <a:rPr lang="es-ES" sz="1100" spc="-1" err="1"/>
              <a:t>SiteScope</a:t>
            </a:r>
            <a:endParaRPr lang="es-ES" sz="1100" spc="-1"/>
          </a:p>
        </p:txBody>
      </p:sp>
      <p:sp>
        <p:nvSpPr>
          <p:cNvPr id="43" name="CuadroTexto 39_0"/>
          <p:cNvSpPr/>
          <p:nvPr/>
        </p:nvSpPr>
        <p:spPr>
          <a:xfrm>
            <a:off x="256220" y="4513135"/>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ea typeface="Soho Gothic Pro Light"/>
              </a:rPr>
              <a:t>2015</a:t>
            </a:r>
            <a:endParaRPr lang="es-ES" sz="900" b="1" spc="-1">
              <a:latin typeface="Arial"/>
              <a:cs typeface="Arial"/>
            </a:endParaRPr>
          </a:p>
          <a:p>
            <a:pPr>
              <a:lnSpc>
                <a:spcPct val="100000"/>
              </a:lnSpc>
            </a:pPr>
            <a:r>
              <a:rPr lang="es-ES" sz="900" b="1" spc="-1">
                <a:ea typeface="Soho Gothic Pro Light"/>
              </a:rPr>
              <a:t>—</a:t>
            </a:r>
            <a:endParaRPr lang="es-ES" sz="900" b="1" spc="-1">
              <a:latin typeface="Arial"/>
              <a:cs typeface="Arial"/>
            </a:endParaRPr>
          </a:p>
          <a:p>
            <a:pPr>
              <a:lnSpc>
                <a:spcPct val="100000"/>
              </a:lnSpc>
            </a:pPr>
            <a:r>
              <a:rPr lang="es-ES" sz="900" b="1" spc="-1">
                <a:ea typeface="Soho Gothic Pro Light"/>
              </a:rPr>
              <a:t>2010</a:t>
            </a:r>
            <a:endParaRPr lang="es-ES" sz="900" spc="-1">
              <a:latin typeface="Arial"/>
            </a:endParaRPr>
          </a:p>
          <a:p>
            <a:pPr>
              <a:lnSpc>
                <a:spcPct val="100000"/>
              </a:lnSpc>
            </a:pPr>
            <a:endParaRPr lang="es-ES" sz="900" b="0" strike="noStrike" spc="-1">
              <a:solidFill>
                <a:srgbClr val="FF0000"/>
              </a:solidFill>
              <a:latin typeface="Arial"/>
            </a:endParaRPr>
          </a:p>
        </p:txBody>
      </p:sp>
      <p:sp>
        <p:nvSpPr>
          <p:cNvPr id="30" name="CuadroTexto 73_0">
            <a:extLst>
              <a:ext uri="{FF2B5EF4-FFF2-40B4-BE49-F238E27FC236}">
                <a16:creationId xmlns:a16="http://schemas.microsoft.com/office/drawing/2014/main" id="{76B4B8A5-FA4A-44D2-83AB-E67993EEB5DF}"/>
              </a:ext>
            </a:extLst>
          </p:cNvPr>
          <p:cNvSpPr/>
          <p:nvPr/>
        </p:nvSpPr>
        <p:spPr>
          <a:xfrm>
            <a:off x="9432720" y="471466"/>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latin typeface="Soho Gothic Pro Medium"/>
              </a:rPr>
              <a:t>2007</a:t>
            </a:r>
            <a:endParaRPr lang="es-ES" sz="900" b="0" strike="noStrike" spc="-1">
              <a:latin typeface="Arial"/>
            </a:endParaRPr>
          </a:p>
          <a:p>
            <a:pPr>
              <a:lnSpc>
                <a:spcPct val="100000"/>
              </a:lnSpc>
            </a:pPr>
            <a:r>
              <a:rPr lang="es-ES" sz="900" b="0" strike="noStrike" spc="-1">
                <a:latin typeface="Soho Gothic Pro Medium"/>
              </a:rPr>
              <a:t>—</a:t>
            </a:r>
            <a:endParaRPr lang="es-ES" sz="900" b="0" strike="noStrike" spc="-1">
              <a:latin typeface="Arial"/>
            </a:endParaRPr>
          </a:p>
          <a:p>
            <a:pPr>
              <a:lnSpc>
                <a:spcPct val="100000"/>
              </a:lnSpc>
            </a:pPr>
            <a:r>
              <a:rPr lang="es-ES" sz="900" spc="-1">
                <a:latin typeface="Soho Gothic Pro Medium"/>
              </a:rPr>
              <a:t>2002</a:t>
            </a:r>
            <a:endParaRPr lang="es-ES" sz="900" b="0" strike="noStrike" spc="-1">
              <a:latin typeface="Arial"/>
            </a:endParaRPr>
          </a:p>
        </p:txBody>
      </p:sp>
      <p:sp>
        <p:nvSpPr>
          <p:cNvPr id="31" name="CuadroTexto 70_0">
            <a:extLst>
              <a:ext uri="{FF2B5EF4-FFF2-40B4-BE49-F238E27FC236}">
                <a16:creationId xmlns:a16="http://schemas.microsoft.com/office/drawing/2014/main" id="{521BFB56-4FE8-4182-BA0C-7318295E9AE4}"/>
              </a:ext>
            </a:extLst>
          </p:cNvPr>
          <p:cNvSpPr/>
          <p:nvPr/>
        </p:nvSpPr>
        <p:spPr>
          <a:xfrm>
            <a:off x="9827280" y="464810"/>
            <a:ext cx="2425560" cy="553998"/>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t>Ingeniero Técnico  Informática</a:t>
            </a:r>
          </a:p>
          <a:p>
            <a:r>
              <a:rPr lang="es-ES" sz="1000" spc="-1"/>
              <a:t>Facultad de informática de Barcelona - UPC</a:t>
            </a:r>
          </a:p>
        </p:txBody>
      </p:sp>
      <p:sp>
        <p:nvSpPr>
          <p:cNvPr id="33" name="CuadroTexto 45_2">
            <a:extLst>
              <a:ext uri="{FF2B5EF4-FFF2-40B4-BE49-F238E27FC236}">
                <a16:creationId xmlns:a16="http://schemas.microsoft.com/office/drawing/2014/main" id="{60EA8698-DD08-44F3-8A55-218E1ED11A7B}"/>
              </a:ext>
            </a:extLst>
          </p:cNvPr>
          <p:cNvSpPr/>
          <p:nvPr/>
        </p:nvSpPr>
        <p:spPr>
          <a:xfrm>
            <a:off x="5253612" y="3098103"/>
            <a:ext cx="4007341" cy="1445096"/>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algn="just"/>
            <a:r>
              <a:rPr lang="es-ES" sz="1100" b="1" spc="-1">
                <a:ea typeface="+mn-lt"/>
                <a:cs typeface="+mn-lt"/>
              </a:rPr>
              <a:t>C.B. Consultoría e Integración Informática, S.L.</a:t>
            </a:r>
            <a:endParaRPr lang="es-ES" sz="1750" b="1"/>
          </a:p>
          <a:p>
            <a:pPr algn="just"/>
            <a:r>
              <a:rPr lang="es-ES" sz="1100" spc="-1"/>
              <a:t>Consultor ITSM (HP </a:t>
            </a:r>
            <a:r>
              <a:rPr lang="es-ES" sz="1100" spc="-1">
                <a:ea typeface="+mn-lt"/>
                <a:cs typeface="+mn-lt"/>
              </a:rPr>
              <a:t>Project &amp; Portfolio Management</a:t>
            </a:r>
            <a:r>
              <a:rPr lang="es-ES" sz="1100" spc="-1"/>
              <a:t>)</a:t>
            </a:r>
            <a:endParaRPr lang="es-ES"/>
          </a:p>
          <a:p>
            <a:pPr algn="just">
              <a:lnSpc>
                <a:spcPct val="100000"/>
              </a:lnSpc>
            </a:pPr>
            <a:endParaRPr lang="es-ES" sz="1100" spc="-1">
              <a:latin typeface="Arial"/>
              <a:cs typeface="Arial"/>
            </a:endParaRPr>
          </a:p>
          <a:p>
            <a:pPr marL="170815" indent="-170815" algn="just">
              <a:buClr>
                <a:srgbClr val="1A3B47"/>
              </a:buClr>
              <a:buFont typeface="Arial,Sans-Serif"/>
              <a:buChar char="•"/>
            </a:pPr>
            <a:r>
              <a:rPr lang="es-ES" sz="1100" spc="-1"/>
              <a:t>Técnico en la herramienta HP PPM</a:t>
            </a:r>
          </a:p>
          <a:p>
            <a:pPr marL="170815" indent="-170815" algn="just">
              <a:buClr>
                <a:srgbClr val="1A3B47"/>
              </a:buClr>
              <a:buFont typeface="Arial,Sans-Serif"/>
              <a:buChar char="•"/>
            </a:pPr>
            <a:r>
              <a:rPr lang="es-ES" sz="1100" spc="-1"/>
              <a:t>Desarrollo de evolutivos</a:t>
            </a:r>
          </a:p>
          <a:p>
            <a:pPr marL="170815" indent="-170815" algn="just">
              <a:buClr>
                <a:srgbClr val="1A3B47"/>
              </a:buClr>
              <a:buFont typeface="Arial,Sans-Serif"/>
              <a:buChar char="•"/>
            </a:pPr>
            <a:r>
              <a:rPr lang="es-ES" sz="1100" spc="-1"/>
              <a:t>Diseño de soluciones</a:t>
            </a:r>
          </a:p>
          <a:p>
            <a:pPr marL="170815" indent="-170815" algn="just">
              <a:buClr>
                <a:srgbClr val="1A3B47"/>
              </a:buClr>
              <a:buFont typeface="Arial,Sans-Serif"/>
              <a:buChar char="•"/>
            </a:pPr>
            <a:r>
              <a:rPr lang="es-ES" sz="1100" spc="-1"/>
              <a:t>Migraciones HP PPM</a:t>
            </a:r>
          </a:p>
          <a:p>
            <a:pPr marL="170815" indent="-170815" algn="just">
              <a:buClr>
                <a:srgbClr val="1A3B47"/>
              </a:buClr>
              <a:buFont typeface="Arial,Sans-Serif"/>
              <a:buChar char="•"/>
            </a:pPr>
            <a:r>
              <a:rPr lang="es-ES" sz="1100" spc="-1"/>
              <a:t>Clientes: </a:t>
            </a:r>
            <a:r>
              <a:rPr lang="es-ES" sz="1100" spc="-1" err="1"/>
              <a:t>Banc</a:t>
            </a:r>
            <a:r>
              <a:rPr lang="es-ES" sz="1100" spc="-1"/>
              <a:t> Sabadell, Gas Natural</a:t>
            </a:r>
          </a:p>
        </p:txBody>
      </p:sp>
      <p:sp>
        <p:nvSpPr>
          <p:cNvPr id="34" name="CuadroTexto 48_2">
            <a:extLst>
              <a:ext uri="{FF2B5EF4-FFF2-40B4-BE49-F238E27FC236}">
                <a16:creationId xmlns:a16="http://schemas.microsoft.com/office/drawing/2014/main" id="{ACB4C92A-D919-4DB4-9240-2392CEB546E8}"/>
              </a:ext>
            </a:extLst>
          </p:cNvPr>
          <p:cNvSpPr/>
          <p:nvPr/>
        </p:nvSpPr>
        <p:spPr>
          <a:xfrm>
            <a:off x="4892933" y="3100386"/>
            <a:ext cx="839880" cy="5078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t>2010</a:t>
            </a:r>
            <a:endParaRPr lang="es-ES" sz="900" b="1" spc="-1">
              <a:latin typeface="Arial"/>
              <a:cs typeface="Arial"/>
            </a:endParaRPr>
          </a:p>
          <a:p>
            <a:pPr>
              <a:lnSpc>
                <a:spcPct val="100000"/>
              </a:lnSpc>
            </a:pPr>
            <a:r>
              <a:rPr lang="es-ES" sz="900" b="1" spc="-1">
                <a:ea typeface="Soho Gothic Pro Light"/>
              </a:rPr>
              <a:t>—</a:t>
            </a:r>
            <a:endParaRPr lang="es-ES" sz="900" b="1" spc="-1">
              <a:latin typeface="Arial"/>
              <a:cs typeface="Arial"/>
            </a:endParaRPr>
          </a:p>
          <a:p>
            <a:pPr>
              <a:lnSpc>
                <a:spcPct val="100000"/>
              </a:lnSpc>
            </a:pPr>
            <a:r>
              <a:rPr lang="es-ES" sz="900" b="1" spc="-1"/>
              <a:t>2009</a:t>
            </a:r>
            <a:endParaRPr lang="es-ES"/>
          </a:p>
        </p:txBody>
      </p:sp>
      <p:sp>
        <p:nvSpPr>
          <p:cNvPr id="35" name="CuadroTexto 44_0"/>
          <p:cNvSpPr/>
          <p:nvPr/>
        </p:nvSpPr>
        <p:spPr>
          <a:xfrm>
            <a:off x="5257000" y="1842102"/>
            <a:ext cx="3919320" cy="76944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marL="170815" indent="-170815" algn="just">
              <a:buClr>
                <a:srgbClr val="1A3B47"/>
              </a:buClr>
              <a:buFont typeface="Arial,Sans-Serif"/>
              <a:buChar char="•"/>
            </a:pPr>
            <a:r>
              <a:rPr lang="es-ES" sz="1100" spc="-1"/>
              <a:t>Clientes: </a:t>
            </a:r>
            <a:r>
              <a:rPr lang="es-ES" sz="1100" spc="-1" err="1"/>
              <a:t>Seat</a:t>
            </a:r>
            <a:r>
              <a:rPr lang="es-ES" sz="1100" spc="-1"/>
              <a:t>, CTTI,  Gas Natural</a:t>
            </a:r>
          </a:p>
          <a:p>
            <a:pPr marL="170815" indent="-170815" algn="just">
              <a:buClr>
                <a:srgbClr val="1A3B47"/>
              </a:buClr>
              <a:buFont typeface="Arial,Sans-Serif"/>
              <a:buChar char="•"/>
            </a:pPr>
            <a:r>
              <a:rPr lang="es-ES" sz="1100" spc="-1"/>
              <a:t>Desarrollo scripts de monitorización en diversos lenguajes </a:t>
            </a:r>
          </a:p>
          <a:p>
            <a:pPr marL="627380" lvl="1" indent="-170815" algn="just">
              <a:buClr>
                <a:srgbClr val="1A3B47"/>
              </a:buClr>
              <a:buFont typeface="Arial,Sans-Serif"/>
              <a:buChar char="•"/>
            </a:pPr>
            <a:r>
              <a:rPr lang="es-ES" sz="1100" spc="-1"/>
              <a:t>Shell, Perl, Python, Java, etc.</a:t>
            </a:r>
          </a:p>
          <a:p>
            <a:pPr marL="170815" indent="-170815" algn="just">
              <a:buClr>
                <a:srgbClr val="1A3B47"/>
              </a:buClr>
              <a:buFont typeface="Arial,Sans-Serif"/>
              <a:buChar char="•"/>
            </a:pPr>
            <a:r>
              <a:rPr lang="es-ES" sz="1100" spc="-1"/>
              <a:t>Proyecto de implantación HP BSM en CTTI</a:t>
            </a:r>
          </a:p>
        </p:txBody>
      </p:sp>
    </p:spTree>
    <p:extLst>
      <p:ext uri="{BB962C8B-B14F-4D97-AF65-F5344CB8AC3E}">
        <p14:creationId xmlns:p14="http://schemas.microsoft.com/office/powerpoint/2010/main" val="13662641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36946"/>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262966" y="727884"/>
            <a:ext cx="8716614" cy="461665"/>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marL="0" lvl="1" algn="just" defTabSz="914377">
              <a:buClr>
                <a:srgbClr val="1A3B47"/>
              </a:buClr>
              <a:defRPr b="0" i="0"/>
            </a:pPr>
            <a:r>
              <a:rPr lang="es-ES" sz="1200">
                <a:solidFill>
                  <a:srgbClr val="1A3B47"/>
                </a:solidFill>
              </a:rPr>
              <a:t>Data </a:t>
            </a:r>
            <a:r>
              <a:rPr lang="es-ES" sz="1200" err="1">
                <a:solidFill>
                  <a:srgbClr val="1A3B47"/>
                </a:solidFill>
              </a:rPr>
              <a:t>Engineer</a:t>
            </a:r>
            <a:r>
              <a:rPr lang="es-ES" sz="1200">
                <a:solidFill>
                  <a:srgbClr val="1A3B47"/>
                </a:solidFill>
              </a:rPr>
              <a:t> con más de 2 años de experiencia en consultoría, implementación y mantenimiento de proyectos de análisis de datos, mediante </a:t>
            </a:r>
            <a:r>
              <a:rPr lang="es-ES" sz="1200" err="1">
                <a:solidFill>
                  <a:srgbClr val="1A3B47"/>
                </a:solidFill>
              </a:rPr>
              <a:t>Elastic</a:t>
            </a:r>
            <a:r>
              <a:rPr lang="es-ES" sz="1200">
                <a:solidFill>
                  <a:srgbClr val="1A3B47"/>
                </a:solidFill>
              </a:rPr>
              <a:t> </a:t>
            </a:r>
            <a:r>
              <a:rPr lang="es-ES" sz="1200" err="1">
                <a:solidFill>
                  <a:srgbClr val="1A3B47"/>
                </a:solidFill>
              </a:rPr>
              <a:t>Stack</a:t>
            </a:r>
            <a:r>
              <a:rPr lang="es-ES" sz="1200">
                <a:solidFill>
                  <a:srgbClr val="1A3B47"/>
                </a:solidFill>
              </a:rPr>
              <a:t>. </a:t>
            </a:r>
          </a:p>
        </p:txBody>
      </p:sp>
      <p:sp>
        <p:nvSpPr>
          <p:cNvPr id="102" name="CuadroTexto 54_0"/>
          <p:cNvSpPr/>
          <p:nvPr/>
        </p:nvSpPr>
        <p:spPr>
          <a:xfrm>
            <a:off x="9427271" y="4678877"/>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latin typeface="Soho Gothic Pro"/>
              </a:rPr>
              <a:t>Idiomas</a:t>
            </a:r>
            <a:endParaRPr lang="es-ES" sz="1200" b="1" strike="noStrike" spc="-1">
              <a:latin typeface="Arial"/>
            </a:endParaRPr>
          </a:p>
        </p:txBody>
      </p:sp>
      <p:sp>
        <p:nvSpPr>
          <p:cNvPr id="103" name="CuadroTexto 55_0"/>
          <p:cNvSpPr/>
          <p:nvPr/>
        </p:nvSpPr>
        <p:spPr>
          <a:xfrm>
            <a:off x="9419078" y="4984061"/>
            <a:ext cx="2712240" cy="553998"/>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r>
              <a:rPr lang="es-ES" sz="1000" b="1" strike="noStrike" spc="-1">
                <a:solidFill>
                  <a:srgbClr val="1A3B47"/>
                </a:solidFill>
                <a:latin typeface="Soho Gothic Pro Light"/>
                <a:ea typeface="Soho Gothic Pro Light"/>
              </a:rPr>
              <a:t>Castellano - Nativo</a:t>
            </a:r>
            <a:r>
              <a:rPr lang="ca-ES" sz="1750" b="1"/>
              <a:t/>
            </a:r>
            <a:br>
              <a:rPr lang="ca-ES" sz="1750" b="1"/>
            </a:br>
            <a:r>
              <a:rPr lang="es-ES" sz="1000" b="1" spc="-1">
                <a:solidFill>
                  <a:srgbClr val="1A3B47"/>
                </a:solidFill>
              </a:rPr>
              <a:t>Gallego – C1</a:t>
            </a:r>
            <a:endParaRPr lang="es-ES" sz="1000" b="1" spc="-1">
              <a:solidFill>
                <a:srgbClr val="1A3B47"/>
              </a:solidFill>
              <a:latin typeface="Arial"/>
              <a:cs typeface="Arial"/>
            </a:endParaRPr>
          </a:p>
          <a:p>
            <a:pPr>
              <a:lnSpc>
                <a:spcPct val="100000"/>
              </a:lnSpc>
            </a:pPr>
            <a:r>
              <a:rPr lang="es-ES" sz="1000" b="1" strike="noStrike" spc="-1">
                <a:solidFill>
                  <a:srgbClr val="1A3B47"/>
                </a:solidFill>
                <a:latin typeface="Soho Gothic Pro Light"/>
                <a:ea typeface="Soho Gothic Pro Light"/>
              </a:rPr>
              <a:t>Ingles - B1</a:t>
            </a:r>
          </a:p>
        </p:txBody>
      </p:sp>
      <p:sp>
        <p:nvSpPr>
          <p:cNvPr id="105" name="CuadroTexto 40_0"/>
          <p:cNvSpPr/>
          <p:nvPr/>
        </p:nvSpPr>
        <p:spPr>
          <a:xfrm>
            <a:off x="3451680" y="110520"/>
            <a:ext cx="2692800" cy="45756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r>
              <a:rPr lang="es-ES" sz="2400" spc="-1">
                <a:solidFill>
                  <a:schemeClr val="bg1"/>
                </a:solidFill>
                <a:ea typeface="+mn-lt"/>
                <a:cs typeface="+mn-lt"/>
              </a:rPr>
              <a:t>Data </a:t>
            </a:r>
            <a:r>
              <a:rPr lang="es-ES" sz="2400" spc="-1" err="1">
                <a:solidFill>
                  <a:schemeClr val="bg1"/>
                </a:solidFill>
                <a:ea typeface="+mn-lt"/>
                <a:cs typeface="+mn-lt"/>
              </a:rPr>
              <a:t>Engineer</a:t>
            </a:r>
            <a:endParaRPr lang="es-ES" err="1">
              <a:solidFill>
                <a:schemeClr val="bg1"/>
              </a:solidFil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M.O.M..</a:t>
            </a:r>
            <a:endParaRPr lang="es-ES" sz="2000" b="0" strike="noStrike" spc="-1">
              <a:solidFill>
                <a:schemeClr val="bg1"/>
              </a:solidFill>
              <a:latin typeface="Arial"/>
            </a:endParaRPr>
          </a:p>
        </p:txBody>
      </p:sp>
      <p:sp>
        <p:nvSpPr>
          <p:cNvPr id="109" name="CuadroTexto 37_0"/>
          <p:cNvSpPr/>
          <p:nvPr/>
        </p:nvSpPr>
        <p:spPr>
          <a:xfrm>
            <a:off x="9446809" y="3152517"/>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latin typeface="Soho Gothic Pro"/>
              </a:rPr>
              <a:t>IT</a:t>
            </a:r>
            <a:endParaRPr lang="es-ES" sz="1200" b="1" strike="noStrike" spc="-1">
              <a:latin typeface="Arial"/>
            </a:endParaRPr>
          </a:p>
        </p:txBody>
      </p:sp>
      <p:sp>
        <p:nvSpPr>
          <p:cNvPr id="110" name="CuadroTexto 52_0"/>
          <p:cNvSpPr/>
          <p:nvPr/>
        </p:nvSpPr>
        <p:spPr>
          <a:xfrm>
            <a:off x="9430794" y="3422041"/>
            <a:ext cx="2739600" cy="1015663"/>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n-US" sz="1000" b="1" strike="noStrike" spc="-1">
                <a:solidFill>
                  <a:srgbClr val="1A3B47"/>
                </a:solidFill>
                <a:latin typeface="Soho Gothic Pro Light"/>
                <a:ea typeface="Soho Gothic Pro Light"/>
              </a:rPr>
              <a:t>Programming languages</a:t>
            </a:r>
            <a:r>
              <a:rPr lang="en-US" sz="1000" b="0" strike="noStrike" spc="-1">
                <a:solidFill>
                  <a:srgbClr val="1A3B47"/>
                </a:solidFill>
                <a:latin typeface="Soho Gothic Pro Light"/>
                <a:ea typeface="Soho Gothic Pro Light"/>
              </a:rPr>
              <a:t>:</a:t>
            </a:r>
            <a:r>
              <a:rPr lang="en-US" sz="1000" spc="-1">
                <a:solidFill>
                  <a:srgbClr val="1A3B47"/>
                </a:solidFill>
                <a:latin typeface="Soho Gothic Pro Light"/>
                <a:ea typeface="Soho Gothic Pro Light"/>
              </a:rPr>
              <a:t> </a:t>
            </a:r>
            <a:r>
              <a:rPr lang="en-US" sz="1000" spc="-1">
                <a:solidFill>
                  <a:srgbClr val="1A3B47"/>
                </a:solidFill>
                <a:ea typeface="Soho Gothic Pro Light"/>
              </a:rPr>
              <a:t> </a:t>
            </a:r>
            <a:r>
              <a:rPr lang="en-US" sz="1000" i="1" spc="-1">
                <a:solidFill>
                  <a:srgbClr val="1A3B47"/>
                </a:solidFill>
                <a:ea typeface="Soho Gothic Pro Light"/>
              </a:rPr>
              <a:t>PHP, JavaScript</a:t>
            </a:r>
          </a:p>
          <a:p>
            <a:r>
              <a:rPr lang="en-US" sz="1000" b="1" spc="-1">
                <a:solidFill>
                  <a:srgbClr val="1A3B47"/>
                </a:solidFill>
                <a:ea typeface="Soho Gothic Pro Light"/>
              </a:rPr>
              <a:t>Linux Scripting: </a:t>
            </a:r>
            <a:r>
              <a:rPr lang="en-US" sz="1000" spc="-1">
                <a:solidFill>
                  <a:srgbClr val="1A3B47"/>
                </a:solidFill>
                <a:ea typeface="Soho Gothic Pro Light"/>
              </a:rPr>
              <a:t>Bash-shell, Python</a:t>
            </a:r>
          </a:p>
          <a:p>
            <a:r>
              <a:rPr lang="en-US" sz="1000" b="1" i="1" spc="-1">
                <a:solidFill>
                  <a:srgbClr val="1A3B47"/>
                </a:solidFill>
                <a:ea typeface="Soho Gothic Pro Light"/>
              </a:rPr>
              <a:t>Databases:</a:t>
            </a:r>
            <a:r>
              <a:rPr lang="en-US" sz="1000" i="1" spc="-1">
                <a:solidFill>
                  <a:srgbClr val="1A3B47"/>
                </a:solidFill>
                <a:ea typeface="Soho Gothic Pro Light"/>
              </a:rPr>
              <a:t>  </a:t>
            </a:r>
            <a:r>
              <a:rPr lang="en-US" sz="1000" i="1" spc="-1" err="1">
                <a:solidFill>
                  <a:srgbClr val="1A3B47"/>
                </a:solidFill>
                <a:ea typeface="Soho Gothic Pro Light"/>
              </a:rPr>
              <a:t>MySql</a:t>
            </a:r>
            <a:endParaRPr lang="en-US" sz="1000" i="1" spc="-1">
              <a:solidFill>
                <a:srgbClr val="1A3B47"/>
              </a:solidFill>
              <a:ea typeface="Soho Gothic Pro Light"/>
            </a:endParaRPr>
          </a:p>
          <a:p>
            <a:r>
              <a:rPr lang="en-US" sz="1000" b="1" i="1" spc="-1">
                <a:solidFill>
                  <a:srgbClr val="1A3B47"/>
                </a:solidFill>
                <a:ea typeface="Soho Gothic Pro Light"/>
              </a:rPr>
              <a:t>Big Data (</a:t>
            </a:r>
            <a:r>
              <a:rPr lang="en-US" sz="1000" b="1" i="1" spc="-1" err="1">
                <a:solidFill>
                  <a:srgbClr val="1A3B47"/>
                </a:solidFill>
                <a:ea typeface="Soho Gothic Pro Light"/>
              </a:rPr>
              <a:t>tecnología</a:t>
            </a:r>
            <a:r>
              <a:rPr lang="en-US" sz="1000" b="1" i="1" spc="-1">
                <a:solidFill>
                  <a:srgbClr val="1A3B47"/>
                </a:solidFill>
                <a:ea typeface="Soho Gothic Pro Light"/>
              </a:rPr>
              <a:t>):</a:t>
            </a:r>
            <a:r>
              <a:rPr lang="en-US" sz="1000" i="1" spc="-1">
                <a:solidFill>
                  <a:srgbClr val="1A3B47"/>
                </a:solidFill>
                <a:ea typeface="Soho Gothic Pro Light"/>
              </a:rPr>
              <a:t> Elastic Stack</a:t>
            </a:r>
            <a:endParaRPr lang="en-US" sz="1000" i="1" spc="-1">
              <a:solidFill>
                <a:srgbClr val="1A3B47"/>
              </a:solidFill>
            </a:endParaRPr>
          </a:p>
          <a:p>
            <a:r>
              <a:rPr lang="en-US" sz="1000" b="1" i="1" spc="-1">
                <a:solidFill>
                  <a:srgbClr val="1A3B47"/>
                </a:solidFill>
                <a:ea typeface="Soho Gothic Pro Light"/>
              </a:rPr>
              <a:t>Web:</a:t>
            </a:r>
            <a:r>
              <a:rPr lang="en-US" sz="1000" i="1" spc="-1">
                <a:solidFill>
                  <a:srgbClr val="1A3B47"/>
                </a:solidFill>
                <a:ea typeface="Soho Gothic Pro Light"/>
              </a:rPr>
              <a:t> HTML, CSS, JavaScript,  PHP</a:t>
            </a:r>
          </a:p>
          <a:p>
            <a:r>
              <a:rPr lang="en-US" sz="1000" b="1" i="1" spc="-1">
                <a:solidFill>
                  <a:srgbClr val="1A3B47"/>
                </a:solidFill>
                <a:ea typeface="Soho Gothic Pro Light"/>
              </a:rPr>
              <a:t>SCM: </a:t>
            </a:r>
            <a:r>
              <a:rPr lang="en-US" sz="1000" i="1" spc="-1">
                <a:solidFill>
                  <a:srgbClr val="1A3B47"/>
                </a:solidFill>
                <a:ea typeface="Soho Gothic Pro Light"/>
              </a:rPr>
              <a:t>Git</a:t>
            </a:r>
          </a:p>
        </p:txBody>
      </p:sp>
      <p:sp>
        <p:nvSpPr>
          <p:cNvPr id="111" name="CuadroTexto 50_0"/>
          <p:cNvSpPr/>
          <p:nvPr/>
        </p:nvSpPr>
        <p:spPr>
          <a:xfrm>
            <a:off x="9448248" y="2155375"/>
            <a:ext cx="2660809" cy="707886"/>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solidFill>
                  <a:srgbClr val="1A3B47"/>
                </a:solidFill>
                <a:ea typeface="+mn-lt"/>
                <a:cs typeface="+mn-lt"/>
              </a:rPr>
              <a:t>2019</a:t>
            </a:r>
            <a:r>
              <a:rPr lang="es-ES" sz="1000" b="0" strike="noStrike" spc="-1">
                <a:solidFill>
                  <a:srgbClr val="1A3B47"/>
                </a:solidFill>
                <a:ea typeface="+mn-lt"/>
                <a:cs typeface="+mn-lt"/>
              </a:rPr>
              <a:t> </a:t>
            </a:r>
            <a:r>
              <a:rPr lang="es-ES" sz="1000" spc="-1">
                <a:solidFill>
                  <a:srgbClr val="1A3B47"/>
                </a:solidFill>
                <a:ea typeface="+mn-lt"/>
                <a:cs typeface="+mn-lt"/>
              </a:rPr>
              <a:t>| </a:t>
            </a:r>
            <a:r>
              <a:rPr lang="es-ES" sz="1000" b="1" spc="-1">
                <a:solidFill>
                  <a:srgbClr val="1A3B47"/>
                </a:solidFill>
                <a:ea typeface="+mn-lt"/>
                <a:cs typeface="+mn-lt"/>
              </a:rPr>
              <a:t>DevOps </a:t>
            </a:r>
            <a:r>
              <a:rPr lang="es-ES" sz="1000" b="1" spc="-1" err="1">
                <a:solidFill>
                  <a:srgbClr val="1A3B47"/>
                </a:solidFill>
                <a:ea typeface="+mn-lt"/>
                <a:cs typeface="+mn-lt"/>
              </a:rPr>
              <a:t>Fundaments</a:t>
            </a:r>
            <a:r>
              <a:rPr lang="es-ES" sz="1000" spc="-1">
                <a:solidFill>
                  <a:srgbClr val="1A3B47"/>
                </a:solidFill>
                <a:ea typeface="+mn-lt"/>
                <a:cs typeface="+mn-lt"/>
              </a:rPr>
              <a:t> (15h)</a:t>
            </a:r>
            <a:endParaRPr lang="es-ES" sz="1000" spc="-1">
              <a:ea typeface="+mn-lt"/>
              <a:cs typeface="+mn-lt"/>
            </a:endParaRPr>
          </a:p>
          <a:p>
            <a:r>
              <a:rPr lang="es-ES" sz="1000" spc="-1">
                <a:solidFill>
                  <a:srgbClr val="1A3B47"/>
                </a:solidFill>
                <a:ea typeface="+mn-lt"/>
                <a:cs typeface="+mn-lt"/>
              </a:rPr>
              <a:t>2019 | </a:t>
            </a:r>
            <a:r>
              <a:rPr lang="es-ES" sz="1000" b="1" spc="-1">
                <a:solidFill>
                  <a:srgbClr val="1A3B47"/>
                </a:solidFill>
                <a:ea typeface="+mn-lt"/>
                <a:cs typeface="+mn-lt"/>
              </a:rPr>
              <a:t>Docker &amp; </a:t>
            </a:r>
            <a:r>
              <a:rPr lang="es-ES" sz="1000" b="1" spc="-1" err="1">
                <a:solidFill>
                  <a:srgbClr val="1A3B47"/>
                </a:solidFill>
                <a:ea typeface="+mn-lt"/>
                <a:cs typeface="+mn-lt"/>
              </a:rPr>
              <a:t>Kubernetes</a:t>
            </a:r>
            <a:r>
              <a:rPr lang="es-ES" sz="1000" spc="-1">
                <a:solidFill>
                  <a:srgbClr val="1A3B47"/>
                </a:solidFill>
                <a:ea typeface="+mn-lt"/>
                <a:cs typeface="+mn-lt"/>
              </a:rPr>
              <a:t> (25h)</a:t>
            </a:r>
          </a:p>
          <a:p>
            <a:r>
              <a:rPr lang="es-ES" sz="1000" spc="-1">
                <a:solidFill>
                  <a:srgbClr val="1A3B47"/>
                </a:solidFill>
                <a:ea typeface="+mn-lt"/>
                <a:cs typeface="+mn-lt"/>
              </a:rPr>
              <a:t>2019| </a:t>
            </a:r>
            <a:r>
              <a:rPr lang="es-ES" sz="1000" b="1" spc="-1" err="1">
                <a:solidFill>
                  <a:srgbClr val="1A3B47"/>
                </a:solidFill>
                <a:ea typeface="+mn-lt"/>
                <a:cs typeface="+mn-lt"/>
              </a:rPr>
              <a:t>Elasctic</a:t>
            </a:r>
            <a:r>
              <a:rPr lang="es-ES" sz="1000" b="1" spc="-1">
                <a:solidFill>
                  <a:srgbClr val="1A3B47"/>
                </a:solidFill>
                <a:ea typeface="+mn-lt"/>
                <a:cs typeface="+mn-lt"/>
              </a:rPr>
              <a:t> </a:t>
            </a:r>
            <a:r>
              <a:rPr lang="es-ES" sz="1000" b="1" spc="-1" err="1">
                <a:solidFill>
                  <a:srgbClr val="1A3B47"/>
                </a:solidFill>
                <a:ea typeface="+mn-lt"/>
                <a:cs typeface="+mn-lt"/>
              </a:rPr>
              <a:t>Stack</a:t>
            </a:r>
            <a:r>
              <a:rPr lang="es-ES" sz="1000" b="1" spc="-1">
                <a:solidFill>
                  <a:srgbClr val="1A3B47"/>
                </a:solidFill>
                <a:ea typeface="+mn-lt"/>
                <a:cs typeface="+mn-lt"/>
              </a:rPr>
              <a:t> 7. </a:t>
            </a:r>
            <a:r>
              <a:rPr lang="es-ES" sz="1000" b="1" spc="-1" err="1">
                <a:solidFill>
                  <a:srgbClr val="1A3B47"/>
                </a:solidFill>
                <a:ea typeface="+mn-lt"/>
                <a:cs typeface="+mn-lt"/>
              </a:rPr>
              <a:t>Beats</a:t>
            </a:r>
            <a:r>
              <a:rPr lang="es-ES" sz="1000" b="1" spc="-1">
                <a:solidFill>
                  <a:srgbClr val="1A3B47"/>
                </a:solidFill>
                <a:ea typeface="+mn-lt"/>
                <a:cs typeface="+mn-lt"/>
              </a:rPr>
              <a:t>, </a:t>
            </a:r>
            <a:r>
              <a:rPr lang="es-ES" sz="1000" b="1" spc="-1" err="1">
                <a:solidFill>
                  <a:srgbClr val="1A3B47"/>
                </a:solidFill>
                <a:ea typeface="+mn-lt"/>
                <a:cs typeface="+mn-lt"/>
              </a:rPr>
              <a:t>Logstash</a:t>
            </a:r>
            <a:r>
              <a:rPr lang="es-ES" sz="1000" b="1" spc="-1">
                <a:solidFill>
                  <a:srgbClr val="1A3B47"/>
                </a:solidFill>
                <a:ea typeface="+mn-lt"/>
                <a:cs typeface="+mn-lt"/>
              </a:rPr>
              <a:t>, </a:t>
            </a:r>
            <a:r>
              <a:rPr lang="es-ES" sz="1000" b="1" spc="-1" err="1">
                <a:solidFill>
                  <a:srgbClr val="1A3B47"/>
                </a:solidFill>
                <a:ea typeface="+mn-lt"/>
                <a:cs typeface="+mn-lt"/>
              </a:rPr>
              <a:t>Elasticsearch</a:t>
            </a:r>
            <a:r>
              <a:rPr lang="es-ES" sz="1000" b="1" spc="-1">
                <a:solidFill>
                  <a:srgbClr val="1A3B47"/>
                </a:solidFill>
                <a:ea typeface="+mn-lt"/>
                <a:cs typeface="+mn-lt"/>
              </a:rPr>
              <a:t>, </a:t>
            </a:r>
            <a:r>
              <a:rPr lang="es-ES" sz="1000" b="1" spc="-1" err="1">
                <a:solidFill>
                  <a:srgbClr val="1A3B47"/>
                </a:solidFill>
                <a:ea typeface="+mn-lt"/>
                <a:cs typeface="+mn-lt"/>
              </a:rPr>
              <a:t>kibana</a:t>
            </a:r>
            <a:r>
              <a:rPr lang="es-ES" sz="1000" spc="-1">
                <a:solidFill>
                  <a:srgbClr val="1A3B47"/>
                </a:solidFill>
                <a:ea typeface="+mn-lt"/>
                <a:cs typeface="+mn-lt"/>
              </a:rPr>
              <a:t>. (17h)</a:t>
            </a:r>
          </a:p>
        </p:txBody>
      </p:sp>
      <p:sp>
        <p:nvSpPr>
          <p:cNvPr id="112" name="CuadroTexto 56_0"/>
          <p:cNvSpPr/>
          <p:nvPr/>
        </p:nvSpPr>
        <p:spPr>
          <a:xfrm>
            <a:off x="9445892" y="166877"/>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latin typeface="Soho Gothic Pro"/>
              </a:rPr>
              <a:t>Educación</a:t>
            </a:r>
            <a:endParaRPr lang="es-ES" sz="1200" b="1" strike="noStrike" spc="-1">
              <a:latin typeface="Arial"/>
            </a:endParaRPr>
          </a:p>
        </p:txBody>
      </p:sp>
      <p:sp>
        <p:nvSpPr>
          <p:cNvPr id="113" name="CuadroTexto 70_0"/>
          <p:cNvSpPr/>
          <p:nvPr/>
        </p:nvSpPr>
        <p:spPr>
          <a:xfrm>
            <a:off x="9807742" y="444392"/>
            <a:ext cx="2349360"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pc="-1">
                <a:ea typeface="+mn-lt"/>
                <a:cs typeface="+mn-lt"/>
              </a:rPr>
              <a:t>Ingeniería Informática.</a:t>
            </a:r>
            <a:endParaRPr lang="es-ES" b="1">
              <a:ea typeface="+mn-lt"/>
              <a:cs typeface="+mn-lt"/>
            </a:endParaRPr>
          </a:p>
          <a:p>
            <a:r>
              <a:rPr lang="es-ES" sz="1000" spc="-1">
                <a:ea typeface="+mn-lt"/>
                <a:cs typeface="+mn-lt"/>
              </a:rPr>
              <a:t>UOC (</a:t>
            </a:r>
            <a:r>
              <a:rPr lang="es-ES" sz="1000" spc="-1" err="1">
                <a:ea typeface="+mn-lt"/>
                <a:cs typeface="+mn-lt"/>
              </a:rPr>
              <a:t>Universitat</a:t>
            </a:r>
            <a:r>
              <a:rPr lang="es-ES" sz="1000" spc="-1">
                <a:ea typeface="+mn-lt"/>
                <a:cs typeface="+mn-lt"/>
              </a:rPr>
              <a:t> Oberta de Catalunya)</a:t>
            </a:r>
            <a:endParaRPr lang="es-ES"/>
          </a:p>
        </p:txBody>
      </p:sp>
      <p:sp>
        <p:nvSpPr>
          <p:cNvPr id="114" name="CuadroTexto 73_0"/>
          <p:cNvSpPr/>
          <p:nvPr/>
        </p:nvSpPr>
        <p:spPr>
          <a:xfrm>
            <a:off x="9430519" y="1012377"/>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solidFill>
                  <a:srgbClr val="1A3B47"/>
                </a:solidFill>
                <a:latin typeface="Soho Gothic Pro Medium"/>
              </a:rPr>
              <a:t>2011</a:t>
            </a:r>
            <a:endParaRPr lang="es-ES" sz="900" b="1" strike="noStrike" spc="-1">
              <a:solidFill>
                <a:srgbClr val="1A3B47"/>
              </a:solidFill>
              <a:latin typeface="Arial"/>
              <a:cs typeface="Arial"/>
            </a:endParaRPr>
          </a:p>
          <a:p>
            <a:pPr>
              <a:lnSpc>
                <a:spcPct val="100000"/>
              </a:lnSpc>
            </a:pPr>
            <a:r>
              <a:rPr lang="es-ES" sz="900" b="1" strike="noStrike" spc="-1">
                <a:solidFill>
                  <a:srgbClr val="1A3B47"/>
                </a:solidFill>
                <a:latin typeface="Soho Gothic Pro Medium"/>
              </a:rPr>
              <a:t>—</a:t>
            </a:r>
            <a:endParaRPr lang="es-ES" sz="900" b="1" strike="noStrike" spc="-1">
              <a:solidFill>
                <a:srgbClr val="1A3B47"/>
              </a:solidFill>
              <a:latin typeface="Arial"/>
              <a:cs typeface="Arial"/>
            </a:endParaRPr>
          </a:p>
          <a:p>
            <a:pPr>
              <a:lnSpc>
                <a:spcPct val="100000"/>
              </a:lnSpc>
            </a:pPr>
            <a:r>
              <a:rPr lang="es-ES" sz="900" b="1" spc="-1">
                <a:solidFill>
                  <a:srgbClr val="1A3B47"/>
                </a:solidFill>
                <a:latin typeface="Soho Gothic Pro Medium"/>
              </a:rPr>
              <a:t>2009</a:t>
            </a:r>
            <a:endParaRPr lang="es-ES" sz="900" b="1" strike="noStrike" spc="-1">
              <a:solidFill>
                <a:srgbClr val="1A3B47"/>
              </a:solidFill>
              <a:latin typeface="Arial"/>
            </a:endParaRPr>
          </a:p>
        </p:txBody>
      </p:sp>
      <p:sp>
        <p:nvSpPr>
          <p:cNvPr id="117" name="CuadroTexto 33_0"/>
          <p:cNvSpPr/>
          <p:nvPr/>
        </p:nvSpPr>
        <p:spPr>
          <a:xfrm>
            <a:off x="9447480" y="189045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latin typeface="Soho Gothic Pro Light"/>
              </a:rPr>
              <a:t>Cursos Relevantes</a:t>
            </a:r>
            <a:endParaRPr lang="es-ES" sz="1200" b="1" strike="noStrike" spc="-1">
              <a:latin typeface="Arial"/>
            </a:endParaRPr>
          </a:p>
        </p:txBody>
      </p:sp>
      <p:sp>
        <p:nvSpPr>
          <p:cNvPr id="37" name="CuadroTexto 30_0"/>
          <p:cNvSpPr/>
          <p:nvPr/>
        </p:nvSpPr>
        <p:spPr>
          <a:xfrm>
            <a:off x="5463001" y="152640"/>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Marcos Oliva Morales</a:t>
            </a:r>
            <a:endParaRPr lang="es-ES" sz="2000" b="0" strike="noStrike" spc="-1">
              <a:solidFill>
                <a:schemeClr val="bg1"/>
              </a:solidFill>
              <a:latin typeface="Arial"/>
            </a:endParaRPr>
          </a:p>
        </p:txBody>
      </p:sp>
      <p:sp>
        <p:nvSpPr>
          <p:cNvPr id="27" name="CuadroTexto 44_0"/>
          <p:cNvSpPr/>
          <p:nvPr/>
        </p:nvSpPr>
        <p:spPr>
          <a:xfrm>
            <a:off x="676031" y="1586538"/>
            <a:ext cx="4215600" cy="1615827"/>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r>
              <a:rPr lang="es-ES" sz="1100" b="1" strike="noStrike" spc="-1" err="1">
                <a:solidFill>
                  <a:srgbClr val="1A3B47"/>
                </a:solidFill>
                <a:ea typeface="+mn-lt"/>
                <a:cs typeface="+mn-lt"/>
              </a:rPr>
              <a:t>Minsait</a:t>
            </a:r>
            <a:r>
              <a:rPr lang="es-ES" sz="1100" b="1" spc="-1">
                <a:solidFill>
                  <a:srgbClr val="1A3B47"/>
                </a:solidFill>
                <a:ea typeface="+mn-lt"/>
                <a:cs typeface="+mn-lt"/>
              </a:rPr>
              <a:t> </a:t>
            </a:r>
            <a:r>
              <a:rPr lang="es-ES" sz="1100" b="1" strike="noStrike" spc="-1" err="1">
                <a:solidFill>
                  <a:srgbClr val="1A3B47"/>
                </a:solidFill>
                <a:ea typeface="+mn-lt"/>
                <a:cs typeface="+mn-lt"/>
              </a:rPr>
              <a:t>by</a:t>
            </a:r>
            <a:r>
              <a:rPr lang="es-ES" sz="1100" b="1" spc="-1">
                <a:solidFill>
                  <a:srgbClr val="1A3B47"/>
                </a:solidFill>
                <a:ea typeface="+mn-lt"/>
                <a:cs typeface="+mn-lt"/>
              </a:rPr>
              <a:t> </a:t>
            </a:r>
            <a:r>
              <a:rPr lang="es-ES" sz="1100" b="1" strike="noStrike" spc="-1">
                <a:solidFill>
                  <a:srgbClr val="1A3B47"/>
                </a:solidFill>
                <a:ea typeface="+mn-lt"/>
                <a:cs typeface="+mn-lt"/>
              </a:rPr>
              <a:t>Indra (Barcelona, España)</a:t>
            </a:r>
          </a:p>
          <a:p>
            <a:pPr algn="just"/>
            <a:r>
              <a:rPr lang="es-ES" sz="1100" spc="-1">
                <a:solidFill>
                  <a:srgbClr val="1A3B47"/>
                </a:solidFill>
                <a:ea typeface="+mn-lt"/>
                <a:cs typeface="+mn-lt"/>
              </a:rPr>
              <a:t>Big Data </a:t>
            </a:r>
            <a:r>
              <a:rPr lang="es-ES" sz="1100" spc="-1" err="1">
                <a:solidFill>
                  <a:srgbClr val="1A3B47"/>
                </a:solidFill>
                <a:ea typeface="+mn-lt"/>
                <a:cs typeface="+mn-lt"/>
              </a:rPr>
              <a:t>Consultant</a:t>
            </a:r>
            <a:endParaRPr lang="es-ES" err="1"/>
          </a:p>
          <a:p>
            <a:pPr algn="just"/>
            <a:endParaRPr lang="es-ES" sz="1100" spc="-1">
              <a:solidFill>
                <a:srgbClr val="1A3B47"/>
              </a:solidFill>
              <a:ea typeface="+mn-lt"/>
              <a:cs typeface="+mn-lt"/>
            </a:endParaRPr>
          </a:p>
          <a:p>
            <a:pPr marL="171450" indent="-171450" algn="just">
              <a:buFont typeface="Arial"/>
              <a:buChar char="•"/>
            </a:pPr>
            <a:r>
              <a:rPr lang="es-ES" sz="1000" spc="-1">
                <a:ea typeface="+mn-lt"/>
                <a:cs typeface="+mn-lt"/>
              </a:rPr>
              <a:t>Consultoría, instalación de </a:t>
            </a:r>
            <a:r>
              <a:rPr lang="es-ES" sz="1000" i="1" spc="-1" err="1">
                <a:ea typeface="+mn-lt"/>
                <a:cs typeface="+mn-lt"/>
              </a:rPr>
              <a:t>shippers</a:t>
            </a:r>
            <a:r>
              <a:rPr lang="es-ES" sz="1000" spc="-1">
                <a:ea typeface="+mn-lt"/>
                <a:cs typeface="+mn-lt"/>
              </a:rPr>
              <a:t>, desarrollo de </a:t>
            </a:r>
            <a:r>
              <a:rPr lang="es-ES" sz="1000" i="1" spc="-1" err="1">
                <a:ea typeface="+mn-lt"/>
                <a:cs typeface="+mn-lt"/>
              </a:rPr>
              <a:t>parsings</a:t>
            </a:r>
            <a:r>
              <a:rPr lang="es-ES" sz="1000" spc="-1">
                <a:ea typeface="+mn-lt"/>
                <a:cs typeface="+mn-lt"/>
              </a:rPr>
              <a:t>, configuración de índices, creación de visualizaciones y </a:t>
            </a:r>
            <a:r>
              <a:rPr lang="es-ES" sz="1000" i="1" spc="-1" err="1">
                <a:ea typeface="+mn-lt"/>
                <a:cs typeface="+mn-lt"/>
              </a:rPr>
              <a:t>dashboards</a:t>
            </a:r>
            <a:r>
              <a:rPr lang="es-ES" sz="1000" spc="-1">
                <a:ea typeface="+mn-lt"/>
                <a:cs typeface="+mn-lt"/>
              </a:rPr>
              <a:t>.</a:t>
            </a:r>
          </a:p>
          <a:p>
            <a:pPr marL="171450" indent="-171450" algn="just">
              <a:buFont typeface="Arial"/>
              <a:buChar char="•"/>
            </a:pPr>
            <a:endParaRPr lang="es-ES" sz="1000" spc="-1">
              <a:ea typeface="+mn-lt"/>
              <a:cs typeface="+mn-lt"/>
            </a:endParaRPr>
          </a:p>
          <a:p>
            <a:pPr marL="171450" indent="-171450" algn="just">
              <a:buFont typeface="Arial"/>
              <a:buChar char="•"/>
            </a:pPr>
            <a:r>
              <a:rPr lang="es-ES" sz="1000" spc="-1">
                <a:ea typeface="+mn-lt"/>
                <a:cs typeface="+mn-lt"/>
              </a:rPr>
              <a:t>Cliente: Banca March.</a:t>
            </a:r>
          </a:p>
          <a:p>
            <a:pPr marL="171450" indent="-171450" algn="just">
              <a:buFont typeface="Arial"/>
              <a:buChar char="•"/>
            </a:pPr>
            <a:endParaRPr lang="es-ES" sz="1100" spc="-1">
              <a:ea typeface="+mn-lt"/>
              <a:cs typeface="+mn-lt"/>
            </a:endParaRPr>
          </a:p>
          <a:p>
            <a:pPr algn="just">
              <a:buClr>
                <a:srgbClr val="1A3B47"/>
              </a:buClr>
            </a:pPr>
            <a:endParaRPr lang="es-ES" sz="1100" spc="-1">
              <a:solidFill>
                <a:srgbClr val="FF0000"/>
              </a:solidFill>
            </a:endParaRPr>
          </a:p>
        </p:txBody>
      </p:sp>
      <p:sp>
        <p:nvSpPr>
          <p:cNvPr id="32" name="CuadroTexto 39_0"/>
          <p:cNvSpPr/>
          <p:nvPr/>
        </p:nvSpPr>
        <p:spPr>
          <a:xfrm>
            <a:off x="259658" y="1592135"/>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trike="noStrike" spc="-1">
                <a:latin typeface="Soho Gothic Pro Light"/>
                <a:ea typeface="Soho Gothic Pro Light"/>
              </a:rPr>
              <a:t>ACT</a:t>
            </a:r>
            <a:endParaRPr lang="es-ES" sz="900" b="1" strike="noStrike" spc="-1">
              <a:latin typeface="Arial"/>
              <a:cs typeface="Arial"/>
            </a:endParaRPr>
          </a:p>
          <a:p>
            <a:pPr>
              <a:lnSpc>
                <a:spcPct val="100000"/>
              </a:lnSpc>
            </a:pPr>
            <a:r>
              <a:rPr lang="es-ES" sz="900" b="1" strike="noStrike" spc="-1">
                <a:latin typeface="Soho Gothic Pro Light"/>
                <a:ea typeface="Soho Gothic Pro Light"/>
              </a:rPr>
              <a:t>—</a:t>
            </a:r>
            <a:endParaRPr lang="es-ES" sz="900" b="1" strike="noStrike" spc="-1">
              <a:latin typeface="Arial"/>
              <a:cs typeface="Arial"/>
            </a:endParaRPr>
          </a:p>
          <a:p>
            <a:pPr>
              <a:lnSpc>
                <a:spcPct val="100000"/>
              </a:lnSpc>
            </a:pPr>
            <a:r>
              <a:rPr lang="es-ES" sz="900" b="1" spc="-1">
                <a:latin typeface="Soho Gothic Pro Light"/>
              </a:rPr>
              <a:t>2021</a:t>
            </a:r>
            <a:endParaRPr lang="es-ES" sz="900" b="1" strike="noStrike" spc="-1">
              <a:latin typeface="Arial"/>
            </a:endParaRPr>
          </a:p>
          <a:p>
            <a:pPr>
              <a:lnSpc>
                <a:spcPct val="100000"/>
              </a:lnSpc>
            </a:pPr>
            <a:endParaRPr lang="es-ES" sz="900" b="0" strike="noStrike" spc="-1">
              <a:solidFill>
                <a:srgbClr val="FF0000"/>
              </a:solidFill>
              <a:latin typeface="Arial"/>
            </a:endParaRPr>
          </a:p>
        </p:txBody>
      </p:sp>
      <p:sp>
        <p:nvSpPr>
          <p:cNvPr id="38" name="CuadroTexto 44_0"/>
          <p:cNvSpPr/>
          <p:nvPr/>
        </p:nvSpPr>
        <p:spPr>
          <a:xfrm>
            <a:off x="677333" y="3231090"/>
            <a:ext cx="4205831" cy="2908489"/>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r>
              <a:rPr lang="es-ES" sz="1100" b="1" spc="-1">
                <a:solidFill>
                  <a:srgbClr val="1A3B47"/>
                </a:solidFill>
                <a:ea typeface="+mn-lt"/>
                <a:cs typeface="+mn-lt"/>
              </a:rPr>
              <a:t>SIVSA Soluciones (Vigo, España)</a:t>
            </a:r>
          </a:p>
          <a:p>
            <a:pPr algn="just"/>
            <a:r>
              <a:rPr lang="es-ES" sz="1100" spc="-1">
                <a:ea typeface="+mn-lt"/>
                <a:cs typeface="+mn-lt"/>
              </a:rPr>
              <a:t>Big Data </a:t>
            </a:r>
            <a:r>
              <a:rPr lang="es-ES" sz="1100" spc="-1" err="1">
                <a:ea typeface="+mn-lt"/>
                <a:cs typeface="+mn-lt"/>
              </a:rPr>
              <a:t>Engineer</a:t>
            </a:r>
            <a:r>
              <a:rPr lang="es-ES" sz="1100" spc="-1">
                <a:ea typeface="+mn-lt"/>
                <a:cs typeface="+mn-lt"/>
              </a:rPr>
              <a:t> </a:t>
            </a:r>
            <a:r>
              <a:rPr lang="es-ES" sz="800" spc="-1">
                <a:ea typeface="+mn-lt"/>
                <a:cs typeface="+mn-lt"/>
              </a:rPr>
              <a:t>para </a:t>
            </a:r>
            <a:r>
              <a:rPr lang="es-ES" sz="800" spc="-1" err="1">
                <a:ea typeface="+mn-lt"/>
                <a:cs typeface="+mn-lt"/>
              </a:rPr>
              <a:t>Stellantis</a:t>
            </a:r>
            <a:r>
              <a:rPr lang="es-ES" sz="800" spc="-1">
                <a:ea typeface="+mn-lt"/>
                <a:cs typeface="+mn-lt"/>
              </a:rPr>
              <a:t> NV</a:t>
            </a:r>
          </a:p>
          <a:p>
            <a:pPr marL="171450" indent="-171450" algn="just">
              <a:lnSpc>
                <a:spcPct val="100000"/>
              </a:lnSpc>
              <a:buFont typeface="Arial"/>
              <a:buChar char="•"/>
            </a:pPr>
            <a:endParaRPr lang="es-ES" sz="1000" spc="-1">
              <a:ea typeface="+mn-lt"/>
              <a:cs typeface="+mn-lt"/>
            </a:endParaRPr>
          </a:p>
          <a:p>
            <a:pPr marL="171450" indent="-171450" algn="just">
              <a:buFont typeface="Arial"/>
              <a:buChar char="•"/>
            </a:pPr>
            <a:r>
              <a:rPr lang="es-ES" sz="1000" spc="-1">
                <a:ea typeface="+mn-lt"/>
                <a:cs typeface="+mn-lt"/>
              </a:rPr>
              <a:t>Soporte de nivel 3 (resolución de incidentes) de </a:t>
            </a:r>
            <a:r>
              <a:rPr lang="es-ES" sz="1000" spc="-1" err="1">
                <a:ea typeface="+mn-lt"/>
                <a:cs typeface="+mn-lt"/>
              </a:rPr>
              <a:t>Elastic</a:t>
            </a:r>
            <a:r>
              <a:rPr lang="es-ES" sz="1000" spc="-1">
                <a:ea typeface="+mn-lt"/>
                <a:cs typeface="+mn-lt"/>
              </a:rPr>
              <a:t> </a:t>
            </a:r>
            <a:r>
              <a:rPr lang="es-ES" sz="1000" spc="-1" err="1">
                <a:ea typeface="+mn-lt"/>
                <a:cs typeface="+mn-lt"/>
              </a:rPr>
              <a:t>Stack</a:t>
            </a:r>
            <a:r>
              <a:rPr lang="es-ES" sz="1000" spc="-1">
                <a:ea typeface="+mn-lt"/>
                <a:cs typeface="+mn-lt"/>
              </a:rPr>
              <a:t>.</a:t>
            </a:r>
          </a:p>
          <a:p>
            <a:pPr marL="171450" indent="-171450" algn="just">
              <a:buFont typeface="Arial"/>
              <a:buChar char="•"/>
            </a:pPr>
            <a:r>
              <a:rPr lang="es-ES" sz="1000" spc="-1">
                <a:ea typeface="+mn-lt"/>
                <a:cs typeface="+mn-lt"/>
              </a:rPr>
              <a:t>Instalación y configuración de </a:t>
            </a:r>
            <a:r>
              <a:rPr lang="es-ES" sz="1000" i="1" spc="-1" err="1">
                <a:ea typeface="+mn-lt"/>
                <a:cs typeface="+mn-lt"/>
              </a:rPr>
              <a:t>shippers</a:t>
            </a:r>
            <a:r>
              <a:rPr lang="es-ES" sz="1000" spc="-1">
                <a:ea typeface="+mn-lt"/>
                <a:cs typeface="+mn-lt"/>
              </a:rPr>
              <a:t> para la recogida de datos a través de </a:t>
            </a:r>
            <a:r>
              <a:rPr lang="es-ES" sz="1000" spc="-1" err="1">
                <a:ea typeface="+mn-lt"/>
                <a:cs typeface="+mn-lt"/>
              </a:rPr>
              <a:t>Logstash</a:t>
            </a:r>
            <a:r>
              <a:rPr lang="es-ES" sz="1000" spc="-1">
                <a:ea typeface="+mn-lt"/>
                <a:cs typeface="+mn-lt"/>
              </a:rPr>
              <a:t> y </a:t>
            </a:r>
            <a:r>
              <a:rPr lang="es-ES" sz="1000" spc="-1" err="1">
                <a:ea typeface="+mn-lt"/>
                <a:cs typeface="+mn-lt"/>
              </a:rPr>
              <a:t>Beats</a:t>
            </a:r>
            <a:r>
              <a:rPr lang="es-ES" sz="1000" spc="-1">
                <a:ea typeface="+mn-lt"/>
                <a:cs typeface="+mn-lt"/>
              </a:rPr>
              <a:t>.</a:t>
            </a:r>
          </a:p>
          <a:p>
            <a:pPr marL="171450" indent="-171450" algn="just">
              <a:buClr>
                <a:srgbClr val="1A3B47"/>
              </a:buClr>
              <a:buFont typeface="Arial"/>
              <a:buChar char="•"/>
            </a:pPr>
            <a:r>
              <a:rPr lang="es-ES" sz="1000" spc="-1">
                <a:ea typeface="+mn-lt"/>
                <a:cs typeface="+mn-lt"/>
              </a:rPr>
              <a:t>Desarrollo de filtros para la obtención de datos mediante </a:t>
            </a:r>
            <a:r>
              <a:rPr lang="es-ES" sz="1000" spc="-1" err="1">
                <a:ea typeface="+mn-lt"/>
                <a:cs typeface="+mn-lt"/>
              </a:rPr>
              <a:t>Logstash</a:t>
            </a:r>
            <a:r>
              <a:rPr lang="es-ES" sz="1000" spc="-1">
                <a:ea typeface="+mn-lt"/>
                <a:cs typeface="+mn-lt"/>
              </a:rPr>
              <a:t>.</a:t>
            </a:r>
          </a:p>
          <a:p>
            <a:pPr marL="171450" indent="-171450" algn="just">
              <a:buClr>
                <a:srgbClr val="1A3B47"/>
              </a:buClr>
              <a:buFont typeface="Arial"/>
              <a:buChar char="•"/>
            </a:pPr>
            <a:r>
              <a:rPr lang="es-ES" sz="1000" spc="-1">
                <a:ea typeface="+mn-lt"/>
                <a:cs typeface="+mn-lt"/>
              </a:rPr>
              <a:t>Configuración de indexación de datos y gestión de índices en </a:t>
            </a:r>
            <a:r>
              <a:rPr lang="es-ES" sz="1000" spc="-1" err="1">
                <a:ea typeface="+mn-lt"/>
                <a:cs typeface="+mn-lt"/>
              </a:rPr>
              <a:t>Elasticsearch</a:t>
            </a:r>
            <a:r>
              <a:rPr lang="es-ES" sz="1000" spc="-1">
                <a:ea typeface="+mn-lt"/>
                <a:cs typeface="+mn-lt"/>
              </a:rPr>
              <a:t> mediante el cliente Cerebro.</a:t>
            </a:r>
          </a:p>
          <a:p>
            <a:pPr marL="171450" indent="-171450" algn="just">
              <a:buClr>
                <a:srgbClr val="1A3B47"/>
              </a:buClr>
              <a:buFont typeface="Arial"/>
              <a:buChar char="•"/>
            </a:pPr>
            <a:r>
              <a:rPr lang="es-ES" sz="1000" spc="-1">
                <a:ea typeface="+mn-lt"/>
                <a:cs typeface="+mn-lt"/>
              </a:rPr>
              <a:t>Creación de visualizaciones, paneles de visualizaciones, </a:t>
            </a:r>
            <a:r>
              <a:rPr lang="es-ES" sz="1000" i="1" spc="-1" err="1">
                <a:ea typeface="+mn-lt"/>
                <a:cs typeface="+mn-lt"/>
              </a:rPr>
              <a:t>watchers</a:t>
            </a:r>
            <a:r>
              <a:rPr lang="es-ES" sz="1000" spc="-1">
                <a:ea typeface="+mn-lt"/>
                <a:cs typeface="+mn-lt"/>
              </a:rPr>
              <a:t>, gestión de usuarios, espacios de trabajo, etc.</a:t>
            </a:r>
          </a:p>
          <a:p>
            <a:pPr marL="171450" indent="-171450" algn="just">
              <a:buClr>
                <a:srgbClr val="1A3B47"/>
              </a:buClr>
              <a:buFont typeface="Arial"/>
              <a:buChar char="•"/>
            </a:pPr>
            <a:r>
              <a:rPr lang="es-ES" sz="1000" spc="-1">
                <a:ea typeface="+mn-lt"/>
                <a:cs typeface="+mn-lt"/>
              </a:rPr>
              <a:t>en </a:t>
            </a:r>
            <a:r>
              <a:rPr lang="es-ES" sz="1000" spc="-1" err="1">
                <a:ea typeface="+mn-lt"/>
                <a:cs typeface="+mn-lt"/>
              </a:rPr>
              <a:t>Kibana</a:t>
            </a:r>
            <a:r>
              <a:rPr lang="es-ES" sz="1000" spc="-1">
                <a:ea typeface="+mn-lt"/>
                <a:cs typeface="+mn-lt"/>
              </a:rPr>
              <a:t>.</a:t>
            </a:r>
          </a:p>
          <a:p>
            <a:pPr marL="171450" indent="-171450" algn="just">
              <a:buClr>
                <a:srgbClr val="1A3B47"/>
              </a:buClr>
              <a:buFont typeface="Arial"/>
              <a:buChar char="•"/>
            </a:pPr>
            <a:r>
              <a:rPr lang="es-ES" sz="1000" spc="-1">
                <a:ea typeface="+mn-lt"/>
                <a:cs typeface="+mn-lt"/>
              </a:rPr>
              <a:t>Configuración y aplicación de políticas de retención de datos mediante ILM.</a:t>
            </a:r>
          </a:p>
          <a:p>
            <a:pPr marL="171450" indent="-171450" algn="just">
              <a:buClr>
                <a:srgbClr val="1A3B47"/>
              </a:buClr>
              <a:buFont typeface="Arial"/>
              <a:buChar char="•"/>
            </a:pPr>
            <a:r>
              <a:rPr lang="es-ES" sz="1000" spc="-1">
                <a:ea typeface="+mn-lt"/>
                <a:cs typeface="+mn-lt"/>
              </a:rPr>
              <a:t>Análisis y resolución de incidencias relacionadas con </a:t>
            </a:r>
            <a:r>
              <a:rPr lang="es-ES" sz="1000" spc="-1" err="1">
                <a:ea typeface="+mn-lt"/>
                <a:cs typeface="+mn-lt"/>
              </a:rPr>
              <a:t>Elastic</a:t>
            </a:r>
            <a:r>
              <a:rPr lang="es-ES" sz="1000" spc="-1">
                <a:ea typeface="+mn-lt"/>
                <a:cs typeface="+mn-lt"/>
              </a:rPr>
              <a:t> </a:t>
            </a:r>
            <a:r>
              <a:rPr lang="es-ES" sz="1000" spc="-1" err="1">
                <a:ea typeface="+mn-lt"/>
                <a:cs typeface="+mn-lt"/>
              </a:rPr>
              <a:t>Stack</a:t>
            </a:r>
            <a:r>
              <a:rPr lang="es-ES" sz="1000" spc="-1">
                <a:ea typeface="+mn-lt"/>
                <a:cs typeface="+mn-lt"/>
              </a:rPr>
              <a:t>.</a:t>
            </a:r>
          </a:p>
          <a:p>
            <a:pPr marL="171450" indent="-171450" algn="just">
              <a:buClr>
                <a:srgbClr val="1A3B47"/>
              </a:buClr>
              <a:buFont typeface="Arial"/>
              <a:buChar char="•"/>
            </a:pPr>
            <a:r>
              <a:rPr lang="es-ES" sz="1000" spc="-1">
                <a:ea typeface="+mn-lt"/>
                <a:cs typeface="+mn-lt"/>
              </a:rPr>
              <a:t>Programación de </a:t>
            </a:r>
            <a:r>
              <a:rPr lang="es-ES" sz="1000" spc="-1" err="1">
                <a:ea typeface="+mn-lt"/>
                <a:cs typeface="+mn-lt"/>
              </a:rPr>
              <a:t>Bash</a:t>
            </a:r>
            <a:r>
              <a:rPr lang="es-ES" sz="1000" spc="-1">
                <a:ea typeface="+mn-lt"/>
                <a:cs typeface="+mn-lt"/>
              </a:rPr>
              <a:t> </a:t>
            </a:r>
            <a:r>
              <a:rPr lang="es-ES" sz="1000" i="1" spc="-1">
                <a:ea typeface="+mn-lt"/>
                <a:cs typeface="+mn-lt"/>
              </a:rPr>
              <a:t>scripts</a:t>
            </a:r>
            <a:r>
              <a:rPr lang="es-ES" sz="1000" spc="-1">
                <a:ea typeface="+mn-lt"/>
                <a:cs typeface="+mn-lt"/>
              </a:rPr>
              <a:t>.</a:t>
            </a:r>
          </a:p>
          <a:p>
            <a:pPr marL="171450" indent="-171450" algn="just">
              <a:buClr>
                <a:srgbClr val="1A3B47"/>
              </a:buClr>
              <a:buFont typeface="Arial"/>
              <a:buChar char="•"/>
            </a:pPr>
            <a:r>
              <a:rPr lang="es-ES" sz="1000" spc="-1">
                <a:ea typeface="+mn-lt"/>
                <a:cs typeface="+mn-lt"/>
              </a:rPr>
              <a:t>Despliegue de aplicaciones mediante la confección de Ansible </a:t>
            </a:r>
            <a:r>
              <a:rPr lang="es-ES" sz="1000" i="1" spc="-1" err="1">
                <a:ea typeface="+mn-lt"/>
                <a:cs typeface="+mn-lt"/>
              </a:rPr>
              <a:t>playbooks</a:t>
            </a:r>
            <a:r>
              <a:rPr lang="es-ES" sz="1000" spc="-1">
                <a:ea typeface="+mn-lt"/>
                <a:cs typeface="+mn-lt"/>
              </a:rPr>
              <a:t>.</a:t>
            </a:r>
          </a:p>
          <a:p>
            <a:pPr marL="170815" indent="-170815" algn="just">
              <a:buClr>
                <a:srgbClr val="1A3B47"/>
              </a:buClr>
              <a:buFont typeface="Arial,Sans-Serif"/>
              <a:buChar char="•"/>
            </a:pPr>
            <a:endParaRPr lang="es-ES" sz="1100" spc="-1">
              <a:solidFill>
                <a:srgbClr val="FF0000"/>
              </a:solidFill>
            </a:endParaRPr>
          </a:p>
        </p:txBody>
      </p:sp>
      <p:sp>
        <p:nvSpPr>
          <p:cNvPr id="39" name="CuadroTexto 39_0"/>
          <p:cNvSpPr/>
          <p:nvPr/>
        </p:nvSpPr>
        <p:spPr>
          <a:xfrm>
            <a:off x="260960" y="3233373"/>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solidFill>
                  <a:srgbClr val="1A3B47"/>
                </a:solidFill>
                <a:latin typeface="Soho Gothic Pro Light"/>
              </a:rPr>
              <a:t>2021</a:t>
            </a:r>
            <a:endParaRPr lang="es-ES" sz="900" b="1" strike="noStrike" spc="-1">
              <a:solidFill>
                <a:srgbClr val="1A3B47"/>
              </a:solidFill>
              <a:latin typeface="Arial"/>
              <a:cs typeface="Arial"/>
            </a:endParaRPr>
          </a:p>
          <a:p>
            <a:pPr>
              <a:lnSpc>
                <a:spcPct val="100000"/>
              </a:lnSpc>
            </a:pPr>
            <a:r>
              <a:rPr lang="es-ES" sz="900" b="1" strike="noStrike" spc="-1">
                <a:solidFill>
                  <a:srgbClr val="1A3B47"/>
                </a:solidFill>
                <a:latin typeface="Soho Gothic Pro Light"/>
                <a:ea typeface="Soho Gothic Pro Light"/>
              </a:rPr>
              <a:t>—</a:t>
            </a:r>
            <a:endParaRPr lang="es-ES" sz="900" b="1" strike="noStrike" spc="-1">
              <a:solidFill>
                <a:srgbClr val="1A3B47"/>
              </a:solidFill>
              <a:latin typeface="Arial"/>
              <a:cs typeface="Arial"/>
            </a:endParaRPr>
          </a:p>
          <a:p>
            <a:pPr>
              <a:lnSpc>
                <a:spcPct val="100000"/>
              </a:lnSpc>
            </a:pPr>
            <a:r>
              <a:rPr lang="es-ES" sz="900" b="1" spc="-1">
                <a:solidFill>
                  <a:srgbClr val="1A3B47"/>
                </a:solidFill>
                <a:latin typeface="Soho Gothic Pro Light"/>
              </a:rPr>
              <a:t>2019</a:t>
            </a:r>
            <a:endParaRPr lang="es-ES" sz="900" b="1" strike="noStrike" spc="-1">
              <a:solidFill>
                <a:srgbClr val="1A3B47"/>
              </a:solidFill>
              <a:latin typeface="Arial"/>
            </a:endParaRPr>
          </a:p>
          <a:p>
            <a:pPr>
              <a:lnSpc>
                <a:spcPct val="100000"/>
              </a:lnSpc>
            </a:pPr>
            <a:endParaRPr lang="es-ES" sz="900" b="0" strike="noStrike" spc="-1">
              <a:solidFill>
                <a:srgbClr val="FF0000"/>
              </a:solidFill>
              <a:latin typeface="Arial"/>
            </a:endParaRPr>
          </a:p>
        </p:txBody>
      </p:sp>
      <p:sp>
        <p:nvSpPr>
          <p:cNvPr id="30" name="CuadroTexto 73_0">
            <a:extLst>
              <a:ext uri="{FF2B5EF4-FFF2-40B4-BE49-F238E27FC236}">
                <a16:creationId xmlns:a16="http://schemas.microsoft.com/office/drawing/2014/main" id="{76B4B8A5-FA4A-44D2-83AB-E67993EEB5DF}"/>
              </a:ext>
            </a:extLst>
          </p:cNvPr>
          <p:cNvSpPr/>
          <p:nvPr/>
        </p:nvSpPr>
        <p:spPr>
          <a:xfrm>
            <a:off x="9432720" y="471466"/>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solidFill>
                  <a:srgbClr val="1A3B47"/>
                </a:solidFill>
                <a:latin typeface="Soho Gothic Pro Medium"/>
              </a:rPr>
              <a:t>ACT</a:t>
            </a:r>
            <a:endParaRPr lang="es-ES" sz="900" b="1" strike="noStrike" spc="-1">
              <a:solidFill>
                <a:srgbClr val="1A3B47"/>
              </a:solidFill>
              <a:latin typeface="Arial"/>
              <a:cs typeface="Arial"/>
            </a:endParaRPr>
          </a:p>
          <a:p>
            <a:pPr>
              <a:lnSpc>
                <a:spcPct val="100000"/>
              </a:lnSpc>
            </a:pPr>
            <a:r>
              <a:rPr lang="es-ES" sz="900" b="1" strike="noStrike" spc="-1">
                <a:solidFill>
                  <a:srgbClr val="1A3B47"/>
                </a:solidFill>
                <a:latin typeface="Soho Gothic Pro Medium"/>
              </a:rPr>
              <a:t>—</a:t>
            </a:r>
            <a:endParaRPr lang="es-ES" sz="900" b="1" strike="noStrike" spc="-1">
              <a:solidFill>
                <a:srgbClr val="1A3B47"/>
              </a:solidFill>
              <a:latin typeface="Arial"/>
              <a:cs typeface="Arial"/>
            </a:endParaRPr>
          </a:p>
          <a:p>
            <a:pPr>
              <a:lnSpc>
                <a:spcPct val="100000"/>
              </a:lnSpc>
            </a:pPr>
            <a:r>
              <a:rPr lang="es-ES" sz="900" b="1" spc="-1">
                <a:solidFill>
                  <a:srgbClr val="1A3B47"/>
                </a:solidFill>
                <a:latin typeface="Soho Gothic Pro Medium"/>
              </a:rPr>
              <a:t>2019</a:t>
            </a:r>
            <a:endParaRPr lang="es-ES" sz="900" b="1" strike="noStrike" spc="-1">
              <a:solidFill>
                <a:srgbClr val="1A3B47"/>
              </a:solidFill>
              <a:latin typeface="Arial"/>
              <a:cs typeface="Arial"/>
            </a:endParaRPr>
          </a:p>
        </p:txBody>
      </p:sp>
      <p:sp>
        <p:nvSpPr>
          <p:cNvPr id="31" name="CuadroTexto 70_0">
            <a:extLst>
              <a:ext uri="{FF2B5EF4-FFF2-40B4-BE49-F238E27FC236}">
                <a16:creationId xmlns:a16="http://schemas.microsoft.com/office/drawing/2014/main" id="{521BFB56-4FE8-4182-BA0C-7318295E9AE4}"/>
              </a:ext>
            </a:extLst>
          </p:cNvPr>
          <p:cNvSpPr/>
          <p:nvPr/>
        </p:nvSpPr>
        <p:spPr>
          <a:xfrm>
            <a:off x="9807742" y="982580"/>
            <a:ext cx="2425560" cy="553998"/>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pc="-1">
                <a:ea typeface="+mn-lt"/>
                <a:cs typeface="+mn-lt"/>
              </a:rPr>
              <a:t>Técnico Superior en Administración </a:t>
            </a:r>
            <a:br>
              <a:rPr lang="es-ES" sz="1000" b="1" spc="-1">
                <a:ea typeface="+mn-lt"/>
                <a:cs typeface="+mn-lt"/>
              </a:rPr>
            </a:br>
            <a:r>
              <a:rPr lang="es-ES" sz="1000" b="1" spc="-1">
                <a:ea typeface="+mn-lt"/>
                <a:cs typeface="+mn-lt"/>
              </a:rPr>
              <a:t>de Sistemas Informáticos.</a:t>
            </a:r>
          </a:p>
          <a:p>
            <a:r>
              <a:rPr lang="es-ES" sz="1000" spc="-1">
                <a:ea typeface="+mn-lt"/>
                <a:cs typeface="+mn-lt"/>
              </a:rPr>
              <a:t>IES </a:t>
            </a:r>
            <a:r>
              <a:rPr lang="es-ES" sz="1000" spc="-1" err="1">
                <a:ea typeface="+mn-lt"/>
                <a:cs typeface="+mn-lt"/>
              </a:rPr>
              <a:t>Teis</a:t>
            </a:r>
            <a:r>
              <a:rPr lang="es-ES" sz="1000" spc="-1">
                <a:ea typeface="+mn-lt"/>
                <a:cs typeface="+mn-lt"/>
              </a:rPr>
              <a:t>, Vigo</a:t>
            </a:r>
            <a:endParaRPr lang="es-ES"/>
          </a:p>
        </p:txBody>
      </p:sp>
      <p:sp>
        <p:nvSpPr>
          <p:cNvPr id="33" name="CuadroTexto 45_2">
            <a:extLst>
              <a:ext uri="{FF2B5EF4-FFF2-40B4-BE49-F238E27FC236}">
                <a16:creationId xmlns:a16="http://schemas.microsoft.com/office/drawing/2014/main" id="{60EA8698-DD08-44F3-8A55-218E1ED11A7B}"/>
              </a:ext>
            </a:extLst>
          </p:cNvPr>
          <p:cNvSpPr/>
          <p:nvPr/>
        </p:nvSpPr>
        <p:spPr>
          <a:xfrm>
            <a:off x="5312227" y="1583872"/>
            <a:ext cx="4007341" cy="2122204"/>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algn="just"/>
            <a:r>
              <a:rPr lang="es-ES" sz="1100" b="1" spc="-1">
                <a:ea typeface="+mn-lt"/>
                <a:cs typeface="+mn-lt"/>
              </a:rPr>
              <a:t>Autónomo</a:t>
            </a:r>
            <a:endParaRPr lang="es-ES" b="1"/>
          </a:p>
          <a:p>
            <a:pPr algn="just"/>
            <a:r>
              <a:rPr lang="es-ES" sz="1100" spc="-1">
                <a:solidFill>
                  <a:srgbClr val="1A3B47"/>
                </a:solidFill>
              </a:rPr>
              <a:t>Consultor y técnico Informático</a:t>
            </a:r>
          </a:p>
          <a:p>
            <a:pPr algn="just">
              <a:lnSpc>
                <a:spcPct val="100000"/>
              </a:lnSpc>
            </a:pPr>
            <a:endParaRPr lang="es-ES" sz="1100" spc="-1">
              <a:solidFill>
                <a:srgbClr val="FF0000"/>
              </a:solidFill>
              <a:latin typeface="Arial"/>
              <a:cs typeface="Arial"/>
            </a:endParaRPr>
          </a:p>
          <a:p>
            <a:pPr marL="171450" indent="-171450" algn="just">
              <a:buFont typeface="Arial"/>
              <a:buChar char="•"/>
            </a:pPr>
            <a:r>
              <a:rPr lang="es-ES" sz="800" spc="-1">
                <a:ea typeface="+mn-lt"/>
                <a:cs typeface="+mn-lt"/>
              </a:rPr>
              <a:t>Dirección Administrativa y Técnica.</a:t>
            </a:r>
            <a:endParaRPr lang="es-ES" sz="800">
              <a:ea typeface="+mn-lt"/>
              <a:cs typeface="+mn-lt"/>
            </a:endParaRPr>
          </a:p>
          <a:p>
            <a:pPr marL="171450" indent="-171450" algn="just">
              <a:buFont typeface="Arial"/>
              <a:buChar char="•"/>
            </a:pPr>
            <a:r>
              <a:rPr lang="es-ES" sz="800" spc="-1">
                <a:ea typeface="+mn-lt"/>
                <a:cs typeface="+mn-lt"/>
              </a:rPr>
              <a:t>Desarrollo Web, </a:t>
            </a:r>
            <a:r>
              <a:rPr lang="es-ES" sz="800" spc="-1" err="1">
                <a:ea typeface="+mn-lt"/>
                <a:cs typeface="+mn-lt"/>
              </a:rPr>
              <a:t>Prestashop</a:t>
            </a:r>
            <a:r>
              <a:rPr lang="es-ES" sz="800" spc="-1">
                <a:ea typeface="+mn-lt"/>
                <a:cs typeface="+mn-lt"/>
              </a:rPr>
              <a:t> y </a:t>
            </a:r>
            <a:r>
              <a:rPr lang="es-ES" sz="800" spc="-1" err="1">
                <a:ea typeface="+mn-lt"/>
                <a:cs typeface="+mn-lt"/>
              </a:rPr>
              <a:t>Wordpress</a:t>
            </a:r>
            <a:r>
              <a:rPr lang="es-ES" sz="800" spc="-1">
                <a:ea typeface="+mn-lt"/>
                <a:cs typeface="+mn-lt"/>
              </a:rPr>
              <a:t>.</a:t>
            </a:r>
            <a:endParaRPr lang="es-ES" sz="800">
              <a:ea typeface="+mn-lt"/>
              <a:cs typeface="+mn-lt"/>
            </a:endParaRPr>
          </a:p>
          <a:p>
            <a:pPr marL="171450" indent="-171450" algn="just">
              <a:buFont typeface="Arial"/>
              <a:buChar char="•"/>
            </a:pPr>
            <a:r>
              <a:rPr lang="es-ES" sz="800" spc="-1">
                <a:ea typeface="+mn-lt"/>
                <a:cs typeface="+mn-lt"/>
              </a:rPr>
              <a:t>Diseño y creación de campañas de SEM (</a:t>
            </a:r>
            <a:r>
              <a:rPr lang="es-ES" sz="800" spc="-1" err="1">
                <a:ea typeface="+mn-lt"/>
                <a:cs typeface="+mn-lt"/>
              </a:rPr>
              <a:t>Adwords-Certification</a:t>
            </a:r>
            <a:r>
              <a:rPr lang="es-ES" sz="800" spc="-1">
                <a:ea typeface="+mn-lt"/>
                <a:cs typeface="+mn-lt"/>
              </a:rPr>
              <a:t> 2015, Facebook </a:t>
            </a:r>
            <a:r>
              <a:rPr lang="es-ES" sz="800" spc="-1" err="1">
                <a:ea typeface="+mn-lt"/>
                <a:cs typeface="+mn-lt"/>
              </a:rPr>
              <a:t>Ads</a:t>
            </a:r>
            <a:r>
              <a:rPr lang="es-ES" sz="800" spc="-1">
                <a:ea typeface="+mn-lt"/>
                <a:cs typeface="+mn-lt"/>
              </a:rPr>
              <a:t>).</a:t>
            </a:r>
            <a:endParaRPr lang="es-ES" sz="800">
              <a:ea typeface="+mn-lt"/>
              <a:cs typeface="+mn-lt"/>
            </a:endParaRPr>
          </a:p>
          <a:p>
            <a:pPr marL="171450" indent="-171450" algn="just">
              <a:buFont typeface="Arial"/>
              <a:buChar char="•"/>
            </a:pPr>
            <a:r>
              <a:rPr lang="es-ES" sz="800" spc="-1">
                <a:ea typeface="+mn-lt"/>
                <a:cs typeface="+mn-lt"/>
              </a:rPr>
              <a:t>Diseño y aplicación de estrategias de SEO (</a:t>
            </a:r>
            <a:r>
              <a:rPr lang="es-ES" sz="800" spc="-1" err="1">
                <a:ea typeface="+mn-lt"/>
                <a:cs typeface="+mn-lt"/>
              </a:rPr>
              <a:t>On</a:t>
            </a:r>
            <a:r>
              <a:rPr lang="es-ES" sz="800" spc="-1">
                <a:ea typeface="+mn-lt"/>
                <a:cs typeface="+mn-lt"/>
              </a:rPr>
              <a:t>-Page y Off-Page).</a:t>
            </a:r>
            <a:endParaRPr lang="es-ES" sz="800">
              <a:ea typeface="+mn-lt"/>
              <a:cs typeface="+mn-lt"/>
            </a:endParaRPr>
          </a:p>
          <a:p>
            <a:pPr marL="171450" indent="-171450" algn="just">
              <a:buFont typeface="Arial"/>
              <a:buChar char="•"/>
            </a:pPr>
            <a:r>
              <a:rPr lang="es-ES" sz="800" spc="-1">
                <a:ea typeface="+mn-lt"/>
                <a:cs typeface="+mn-lt"/>
              </a:rPr>
              <a:t>Campañas de Email Marketing.</a:t>
            </a:r>
            <a:endParaRPr lang="es-ES" sz="800">
              <a:ea typeface="+mn-lt"/>
              <a:cs typeface="+mn-lt"/>
            </a:endParaRPr>
          </a:p>
          <a:p>
            <a:pPr marL="171450" indent="-171450" algn="just">
              <a:buFont typeface="Arial"/>
              <a:buChar char="•"/>
            </a:pPr>
            <a:r>
              <a:rPr lang="es-ES" sz="800" spc="-1">
                <a:ea typeface="+mn-lt"/>
                <a:cs typeface="+mn-lt"/>
              </a:rPr>
              <a:t>Diseño de Logotipos (Photoshop and </a:t>
            </a:r>
            <a:r>
              <a:rPr lang="es-ES" sz="800" spc="-1" err="1">
                <a:ea typeface="+mn-lt"/>
                <a:cs typeface="+mn-lt"/>
              </a:rPr>
              <a:t>Illustrator</a:t>
            </a:r>
            <a:r>
              <a:rPr lang="es-ES" sz="800" spc="-1">
                <a:ea typeface="+mn-lt"/>
                <a:cs typeface="+mn-lt"/>
              </a:rPr>
              <a:t>).</a:t>
            </a:r>
            <a:endParaRPr lang="es-ES" sz="800">
              <a:ea typeface="+mn-lt"/>
              <a:cs typeface="+mn-lt"/>
            </a:endParaRPr>
          </a:p>
          <a:p>
            <a:pPr marL="171450" indent="-171450" algn="just">
              <a:buFont typeface="Arial"/>
              <a:buChar char="•"/>
            </a:pPr>
            <a:r>
              <a:rPr lang="es-ES" sz="800" spc="-1">
                <a:ea typeface="+mn-lt"/>
                <a:cs typeface="+mn-lt"/>
              </a:rPr>
              <a:t>Administración de Servidores Apache.</a:t>
            </a:r>
            <a:endParaRPr lang="es-ES" sz="800">
              <a:ea typeface="+mn-lt"/>
              <a:cs typeface="+mn-lt"/>
            </a:endParaRPr>
          </a:p>
          <a:p>
            <a:pPr marL="171450" indent="-171450" algn="just">
              <a:buFont typeface="Arial"/>
              <a:buChar char="•"/>
            </a:pPr>
            <a:r>
              <a:rPr lang="es-ES" sz="800" spc="-1">
                <a:ea typeface="+mn-lt"/>
                <a:cs typeface="+mn-lt"/>
              </a:rPr>
              <a:t>Configuración de VPS (Virtual </a:t>
            </a:r>
            <a:r>
              <a:rPr lang="es-ES" sz="800" spc="-1" err="1">
                <a:ea typeface="+mn-lt"/>
                <a:cs typeface="+mn-lt"/>
              </a:rPr>
              <a:t>Private</a:t>
            </a:r>
            <a:r>
              <a:rPr lang="es-ES" sz="800" spc="-1">
                <a:ea typeface="+mn-lt"/>
                <a:cs typeface="+mn-lt"/>
              </a:rPr>
              <a:t> Server).</a:t>
            </a:r>
            <a:endParaRPr lang="es-ES" sz="800">
              <a:ea typeface="+mn-lt"/>
              <a:cs typeface="+mn-lt"/>
            </a:endParaRPr>
          </a:p>
          <a:p>
            <a:pPr marL="171450" indent="-171450" algn="just">
              <a:buFont typeface="Arial"/>
              <a:buChar char="•"/>
            </a:pPr>
            <a:r>
              <a:rPr lang="es-ES" sz="800" spc="-1">
                <a:ea typeface="+mn-lt"/>
                <a:cs typeface="+mn-lt"/>
              </a:rPr>
              <a:t>Instalación, configuración y administración de Servidores GNU/Linux (Ubuntu/Debian).</a:t>
            </a:r>
            <a:endParaRPr lang="es-ES" sz="800">
              <a:ea typeface="+mn-lt"/>
              <a:cs typeface="+mn-lt"/>
            </a:endParaRPr>
          </a:p>
          <a:p>
            <a:pPr marL="171450" indent="-171450" algn="just">
              <a:buFont typeface="Arial"/>
              <a:buChar char="•"/>
            </a:pPr>
            <a:r>
              <a:rPr lang="es-ES" sz="800" spc="-1">
                <a:ea typeface="+mn-lt"/>
                <a:cs typeface="+mn-lt"/>
              </a:rPr>
              <a:t>Diseño e implementación de redes locales.</a:t>
            </a:r>
            <a:endParaRPr lang="es-ES" sz="800">
              <a:ea typeface="+mn-lt"/>
              <a:cs typeface="+mn-lt"/>
            </a:endParaRPr>
          </a:p>
          <a:p>
            <a:pPr marL="171450" indent="-171450" algn="just">
              <a:buFont typeface="Arial"/>
              <a:buChar char="•"/>
            </a:pPr>
            <a:r>
              <a:rPr lang="es-ES" sz="800" spc="-1">
                <a:ea typeface="+mn-lt"/>
                <a:cs typeface="+mn-lt"/>
              </a:rPr>
              <a:t>Asistencia Remota a clientes.</a:t>
            </a:r>
            <a:endParaRPr lang="es-ES" sz="800">
              <a:ea typeface="+mn-lt"/>
              <a:cs typeface="+mn-lt"/>
            </a:endParaRPr>
          </a:p>
          <a:p>
            <a:pPr algn="just"/>
            <a:endParaRPr lang="es-ES" sz="1100" spc="-1">
              <a:ea typeface="+mn-lt"/>
              <a:cs typeface="+mn-lt"/>
            </a:endParaRPr>
          </a:p>
        </p:txBody>
      </p:sp>
      <p:sp>
        <p:nvSpPr>
          <p:cNvPr id="34" name="CuadroTexto 48_2">
            <a:extLst>
              <a:ext uri="{FF2B5EF4-FFF2-40B4-BE49-F238E27FC236}">
                <a16:creationId xmlns:a16="http://schemas.microsoft.com/office/drawing/2014/main" id="{ACB4C92A-D919-4DB4-9240-2392CEB546E8}"/>
              </a:ext>
            </a:extLst>
          </p:cNvPr>
          <p:cNvSpPr/>
          <p:nvPr/>
        </p:nvSpPr>
        <p:spPr>
          <a:xfrm>
            <a:off x="4892933" y="1595924"/>
            <a:ext cx="839880" cy="5078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r>
              <a:rPr lang="es-ES" sz="900" b="1" spc="-1">
                <a:solidFill>
                  <a:srgbClr val="1A3B47"/>
                </a:solidFill>
              </a:rPr>
              <a:t>2017</a:t>
            </a:r>
            <a:endParaRPr lang="es-ES" sz="900" b="1" spc="-1">
              <a:solidFill>
                <a:srgbClr val="1A3B47"/>
              </a:solidFill>
              <a:latin typeface="Arial"/>
              <a:cs typeface="Arial"/>
            </a:endParaRPr>
          </a:p>
          <a:p>
            <a:pPr>
              <a:lnSpc>
                <a:spcPct val="100000"/>
              </a:lnSpc>
            </a:pPr>
            <a:r>
              <a:rPr lang="es-ES" sz="900" b="1" spc="-1">
                <a:solidFill>
                  <a:srgbClr val="1A3B47"/>
                </a:solidFill>
                <a:ea typeface="Soho Gothic Pro Light"/>
              </a:rPr>
              <a:t>—</a:t>
            </a:r>
            <a:endParaRPr lang="es-ES" sz="900" b="1" spc="-1">
              <a:solidFill>
                <a:srgbClr val="1A3B47"/>
              </a:solidFill>
              <a:latin typeface="Arial"/>
              <a:cs typeface="Arial"/>
            </a:endParaRPr>
          </a:p>
          <a:p>
            <a:pPr>
              <a:lnSpc>
                <a:spcPct val="100000"/>
              </a:lnSpc>
            </a:pPr>
            <a:r>
              <a:rPr lang="es-ES" sz="900" b="1" spc="-1">
                <a:solidFill>
                  <a:srgbClr val="1A3B47"/>
                </a:solidFill>
              </a:rPr>
              <a:t>2015</a:t>
            </a:r>
            <a:endParaRPr lang="es-ES">
              <a:solidFill>
                <a:srgbClr val="1A3B47"/>
              </a:solidFill>
            </a:endParaRPr>
          </a:p>
        </p:txBody>
      </p:sp>
      <p:sp>
        <p:nvSpPr>
          <p:cNvPr id="36" name="CuadroTexto 45_2">
            <a:extLst>
              <a:ext uri="{FF2B5EF4-FFF2-40B4-BE49-F238E27FC236}">
                <a16:creationId xmlns:a16="http://schemas.microsoft.com/office/drawing/2014/main" id="{95DE3030-B065-41AE-B987-11AD1576DA87}"/>
              </a:ext>
            </a:extLst>
          </p:cNvPr>
          <p:cNvSpPr/>
          <p:nvPr/>
        </p:nvSpPr>
        <p:spPr>
          <a:xfrm>
            <a:off x="5312226" y="3830795"/>
            <a:ext cx="4007341" cy="1506651"/>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algn="just"/>
            <a:r>
              <a:rPr lang="es-ES" sz="1100" b="1" spc="-1">
                <a:ea typeface="+mn-lt"/>
                <a:cs typeface="+mn-lt"/>
              </a:rPr>
              <a:t>Online Marketing Factory S.L</a:t>
            </a:r>
          </a:p>
          <a:p>
            <a:pPr algn="just"/>
            <a:r>
              <a:rPr lang="es-ES" sz="1100" spc="-1">
                <a:solidFill>
                  <a:srgbClr val="1A3B47"/>
                </a:solidFill>
              </a:rPr>
              <a:t>Técnico Informático</a:t>
            </a:r>
          </a:p>
          <a:p>
            <a:pPr algn="just">
              <a:lnSpc>
                <a:spcPct val="100000"/>
              </a:lnSpc>
            </a:pPr>
            <a:endParaRPr lang="es-ES" sz="1100" spc="-1">
              <a:solidFill>
                <a:srgbClr val="FF0000"/>
              </a:solidFill>
              <a:latin typeface="Arial"/>
              <a:cs typeface="Arial"/>
            </a:endParaRPr>
          </a:p>
          <a:p>
            <a:pPr marL="171450" indent="-171450" algn="just">
              <a:buFont typeface="Arial"/>
              <a:buChar char="•"/>
            </a:pPr>
            <a:r>
              <a:rPr lang="es-ES" sz="800" spc="-1">
                <a:ea typeface="+mn-lt"/>
                <a:cs typeface="+mn-lt"/>
              </a:rPr>
              <a:t>Desarrollo Web (</a:t>
            </a:r>
            <a:r>
              <a:rPr lang="es-ES" sz="800" spc="-1" err="1">
                <a:ea typeface="+mn-lt"/>
                <a:cs typeface="+mn-lt"/>
              </a:rPr>
              <a:t>Wordpress</a:t>
            </a:r>
            <a:r>
              <a:rPr lang="es-ES" sz="800" spc="-1">
                <a:ea typeface="+mn-lt"/>
                <a:cs typeface="+mn-lt"/>
              </a:rPr>
              <a:t>, </a:t>
            </a:r>
            <a:r>
              <a:rPr lang="es-ES" sz="800" spc="-1" err="1">
                <a:ea typeface="+mn-lt"/>
                <a:cs typeface="+mn-lt"/>
              </a:rPr>
              <a:t>Prestashop</a:t>
            </a:r>
            <a:r>
              <a:rPr lang="es-ES" sz="800" spc="-1">
                <a:ea typeface="+mn-lt"/>
                <a:cs typeface="+mn-lt"/>
              </a:rPr>
              <a:t>).</a:t>
            </a:r>
          </a:p>
          <a:p>
            <a:pPr marL="171450" indent="-171450" algn="just">
              <a:buFont typeface="Arial"/>
              <a:buChar char="•"/>
            </a:pPr>
            <a:r>
              <a:rPr lang="es-ES" sz="800" spc="-1">
                <a:ea typeface="+mn-lt"/>
                <a:cs typeface="+mn-lt"/>
              </a:rPr>
              <a:t>Programación en PHP</a:t>
            </a:r>
          </a:p>
          <a:p>
            <a:pPr marL="171450" indent="-171450" algn="just">
              <a:buFont typeface="Arial"/>
              <a:buChar char="•"/>
            </a:pPr>
            <a:r>
              <a:rPr lang="es-ES" sz="800" spc="-1">
                <a:ea typeface="+mn-lt"/>
                <a:cs typeface="+mn-lt"/>
              </a:rPr>
              <a:t>Diseño y creación de campañas de SEM</a:t>
            </a:r>
          </a:p>
          <a:p>
            <a:pPr marL="171450" indent="-171450" algn="just">
              <a:buFont typeface="Arial"/>
              <a:buChar char="•"/>
            </a:pPr>
            <a:r>
              <a:rPr lang="es-ES" sz="800" spc="-1">
                <a:ea typeface="+mn-lt"/>
                <a:cs typeface="+mn-lt"/>
              </a:rPr>
              <a:t>Diseño y aplicación de estrategias de SEO (</a:t>
            </a:r>
            <a:r>
              <a:rPr lang="es-ES" sz="800" spc="-1" err="1">
                <a:ea typeface="+mn-lt"/>
                <a:cs typeface="+mn-lt"/>
              </a:rPr>
              <a:t>On</a:t>
            </a:r>
            <a:r>
              <a:rPr lang="es-ES" sz="800" spc="-1">
                <a:ea typeface="+mn-lt"/>
                <a:cs typeface="+mn-lt"/>
              </a:rPr>
              <a:t>-Page y Off-Page).</a:t>
            </a:r>
          </a:p>
          <a:p>
            <a:pPr algn="just">
              <a:buFont typeface="Arial"/>
              <a:buChar char="•"/>
            </a:pPr>
            <a:endParaRPr lang="es-ES" sz="800" spc="-1"/>
          </a:p>
          <a:p>
            <a:pPr marL="171450" indent="-171450" algn="just">
              <a:buFont typeface="Arial"/>
              <a:buChar char="•"/>
            </a:pPr>
            <a:endParaRPr lang="es-ES" sz="800" spc="-1">
              <a:ea typeface="+mn-lt"/>
              <a:cs typeface="+mn-lt"/>
            </a:endParaRPr>
          </a:p>
          <a:p>
            <a:pPr algn="just"/>
            <a:endParaRPr lang="es-ES" sz="1100" spc="-1">
              <a:ea typeface="+mn-lt"/>
              <a:cs typeface="+mn-lt"/>
            </a:endParaRPr>
          </a:p>
        </p:txBody>
      </p:sp>
      <p:sp>
        <p:nvSpPr>
          <p:cNvPr id="40" name="CuadroTexto 39_0">
            <a:extLst>
              <a:ext uri="{FF2B5EF4-FFF2-40B4-BE49-F238E27FC236}">
                <a16:creationId xmlns:a16="http://schemas.microsoft.com/office/drawing/2014/main" id="{77A64F96-B7B6-43F5-A9B8-0F976A7E0413}"/>
              </a:ext>
            </a:extLst>
          </p:cNvPr>
          <p:cNvSpPr/>
          <p:nvPr/>
        </p:nvSpPr>
        <p:spPr>
          <a:xfrm>
            <a:off x="4900042" y="3878135"/>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latin typeface="Soho Gothic Pro Light"/>
              </a:rPr>
              <a:t>2015</a:t>
            </a:r>
            <a:endParaRPr lang="es-ES" sz="900" b="1" strike="noStrike" spc="-1">
              <a:latin typeface="Arial"/>
              <a:cs typeface="Arial"/>
            </a:endParaRPr>
          </a:p>
          <a:p>
            <a:pPr>
              <a:lnSpc>
                <a:spcPct val="100000"/>
              </a:lnSpc>
            </a:pPr>
            <a:r>
              <a:rPr lang="es-ES" sz="900" b="1" strike="noStrike" spc="-1">
                <a:latin typeface="Soho Gothic Pro Light"/>
                <a:ea typeface="Soho Gothic Pro Light"/>
              </a:rPr>
              <a:t>—</a:t>
            </a:r>
            <a:endParaRPr lang="es-ES" sz="900" b="1" strike="noStrike" spc="-1">
              <a:latin typeface="Arial"/>
              <a:cs typeface="Arial"/>
            </a:endParaRPr>
          </a:p>
          <a:p>
            <a:r>
              <a:rPr lang="es-ES" sz="900" b="1" spc="-1">
                <a:latin typeface="Soho Gothic Pro Light"/>
              </a:rPr>
              <a:t>2013</a:t>
            </a:r>
            <a:endParaRPr lang="es-ES" sz="900" b="1" strike="noStrike" spc="-1">
              <a:latin typeface="Arial"/>
            </a:endParaRPr>
          </a:p>
          <a:p>
            <a:pPr>
              <a:lnSpc>
                <a:spcPct val="100000"/>
              </a:lnSpc>
            </a:pPr>
            <a:endParaRPr lang="es-ES" sz="900" b="0" strike="noStrike" spc="-1">
              <a:solidFill>
                <a:srgbClr val="FF0000"/>
              </a:solidFill>
              <a:latin typeface="Arial"/>
            </a:endParaRPr>
          </a:p>
        </p:txBody>
      </p:sp>
      <p:sp>
        <p:nvSpPr>
          <p:cNvPr id="41" name="CuadroTexto 45_2">
            <a:extLst>
              <a:ext uri="{FF2B5EF4-FFF2-40B4-BE49-F238E27FC236}">
                <a16:creationId xmlns:a16="http://schemas.microsoft.com/office/drawing/2014/main" id="{DD30E2FC-9A06-4E9E-A866-76F22435A5C9}"/>
              </a:ext>
            </a:extLst>
          </p:cNvPr>
          <p:cNvSpPr/>
          <p:nvPr/>
        </p:nvSpPr>
        <p:spPr>
          <a:xfrm>
            <a:off x="5312226" y="4983564"/>
            <a:ext cx="4007341" cy="1506651"/>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algn="just"/>
            <a:r>
              <a:rPr lang="es-ES" sz="1100" b="1" spc="-1">
                <a:ea typeface="+mn-lt"/>
                <a:cs typeface="+mn-lt"/>
              </a:rPr>
              <a:t>SISCOM S.L</a:t>
            </a:r>
          </a:p>
          <a:p>
            <a:pPr algn="just"/>
            <a:r>
              <a:rPr lang="es-ES" sz="1100" spc="-1">
                <a:solidFill>
                  <a:srgbClr val="1A3B47"/>
                </a:solidFill>
              </a:rPr>
              <a:t>Técnico Informático</a:t>
            </a:r>
          </a:p>
          <a:p>
            <a:pPr algn="just">
              <a:lnSpc>
                <a:spcPct val="100000"/>
              </a:lnSpc>
            </a:pPr>
            <a:endParaRPr lang="es-ES" sz="1100" spc="-1">
              <a:solidFill>
                <a:srgbClr val="FF0000"/>
              </a:solidFill>
              <a:latin typeface="Arial"/>
              <a:cs typeface="Arial"/>
            </a:endParaRPr>
          </a:p>
          <a:p>
            <a:pPr marL="171450" indent="-171450" algn="just">
              <a:buFont typeface="Arial"/>
              <a:buChar char="•"/>
            </a:pPr>
            <a:r>
              <a:rPr lang="es-ES" sz="800" spc="-1">
                <a:ea typeface="+mn-lt"/>
                <a:cs typeface="+mn-lt"/>
              </a:rPr>
              <a:t>Diagnóstico y reparación de Equipos informáticos. </a:t>
            </a:r>
          </a:p>
          <a:p>
            <a:pPr marL="171450" indent="-171450" algn="just">
              <a:buFont typeface="Arial"/>
              <a:buChar char="•"/>
            </a:pPr>
            <a:r>
              <a:rPr lang="es-ES" sz="800" spc="-1">
                <a:ea typeface="+mn-lt"/>
                <a:cs typeface="+mn-lt"/>
              </a:rPr>
              <a:t>Instalación de Servidores GNU/Linux. </a:t>
            </a:r>
            <a:endParaRPr lang="es-ES"/>
          </a:p>
          <a:p>
            <a:pPr marL="171450" indent="-171450" algn="just">
              <a:buFont typeface="Arial"/>
              <a:buChar char="•"/>
            </a:pPr>
            <a:r>
              <a:rPr lang="es-ES" sz="800" spc="-1">
                <a:ea typeface="+mn-lt"/>
                <a:cs typeface="+mn-lt"/>
              </a:rPr>
              <a:t>Administración de Servidores GNU/Linux. </a:t>
            </a:r>
            <a:endParaRPr lang="es-ES">
              <a:ea typeface="+mn-lt"/>
              <a:cs typeface="+mn-lt"/>
            </a:endParaRPr>
          </a:p>
          <a:p>
            <a:pPr marL="171450" indent="-171450" algn="just">
              <a:buFont typeface="Arial"/>
              <a:buChar char="•"/>
            </a:pPr>
            <a:r>
              <a:rPr lang="es-ES" sz="800" spc="-1">
                <a:ea typeface="+mn-lt"/>
                <a:cs typeface="+mn-lt"/>
              </a:rPr>
              <a:t>Asistencia remota y resolución de incidencias de clientes</a:t>
            </a:r>
            <a:endParaRPr lang="es-ES" sz="1750"/>
          </a:p>
          <a:p>
            <a:pPr algn="just">
              <a:buFont typeface="Arial"/>
              <a:buChar char="•"/>
            </a:pPr>
            <a:endParaRPr lang="es-ES" sz="800" spc="-1"/>
          </a:p>
          <a:p>
            <a:pPr marL="171450" indent="-171450" algn="just">
              <a:buFont typeface="Arial"/>
              <a:buChar char="•"/>
            </a:pPr>
            <a:endParaRPr lang="es-ES" sz="800" spc="-1">
              <a:ea typeface="+mn-lt"/>
              <a:cs typeface="+mn-lt"/>
            </a:endParaRPr>
          </a:p>
          <a:p>
            <a:pPr algn="just"/>
            <a:endParaRPr lang="es-ES" sz="1100" spc="-1">
              <a:ea typeface="+mn-lt"/>
              <a:cs typeface="+mn-lt"/>
            </a:endParaRPr>
          </a:p>
        </p:txBody>
      </p:sp>
      <p:sp>
        <p:nvSpPr>
          <p:cNvPr id="44" name="CuadroTexto 39_0">
            <a:extLst>
              <a:ext uri="{FF2B5EF4-FFF2-40B4-BE49-F238E27FC236}">
                <a16:creationId xmlns:a16="http://schemas.microsoft.com/office/drawing/2014/main" id="{0475C496-09E2-480E-B0A5-03A12BC3C5DF}"/>
              </a:ext>
            </a:extLst>
          </p:cNvPr>
          <p:cNvSpPr/>
          <p:nvPr/>
        </p:nvSpPr>
        <p:spPr>
          <a:xfrm>
            <a:off x="4900042" y="4982058"/>
            <a:ext cx="55152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pc="-1">
                <a:latin typeface="Soho Gothic Pro Light"/>
              </a:rPr>
              <a:t>2013</a:t>
            </a:r>
            <a:endParaRPr lang="es-ES" sz="900" b="1" strike="noStrike" spc="-1">
              <a:latin typeface="Arial"/>
              <a:cs typeface="Arial"/>
            </a:endParaRPr>
          </a:p>
          <a:p>
            <a:pPr>
              <a:lnSpc>
                <a:spcPct val="100000"/>
              </a:lnSpc>
            </a:pPr>
            <a:r>
              <a:rPr lang="es-ES" sz="900" b="1" strike="noStrike" spc="-1">
                <a:latin typeface="Soho Gothic Pro Light"/>
                <a:ea typeface="Soho Gothic Pro Light"/>
              </a:rPr>
              <a:t>—</a:t>
            </a:r>
            <a:endParaRPr lang="es-ES" sz="900" b="1" strike="noStrike" spc="-1">
              <a:latin typeface="Arial"/>
              <a:cs typeface="Arial"/>
            </a:endParaRPr>
          </a:p>
          <a:p>
            <a:r>
              <a:rPr lang="es-ES" sz="900" b="1" spc="-1">
                <a:latin typeface="Soho Gothic Pro Light"/>
              </a:rPr>
              <a:t>2013</a:t>
            </a:r>
            <a:endParaRPr lang="es-ES" sz="900" b="1" strike="noStrike" spc="-1">
              <a:latin typeface="Arial"/>
            </a:endParaRPr>
          </a:p>
          <a:p>
            <a:pPr>
              <a:lnSpc>
                <a:spcPct val="100000"/>
              </a:lnSpc>
            </a:pPr>
            <a:endParaRPr lang="es-ES" sz="900" b="0" strike="noStrike" spc="-1">
              <a:solidFill>
                <a:srgbClr val="FF0000"/>
              </a:solidFill>
              <a:latin typeface="Arial"/>
            </a:endParaRPr>
          </a:p>
        </p:txBody>
      </p:sp>
    </p:spTree>
    <p:extLst>
      <p:ext uri="{BB962C8B-B14F-4D97-AF65-F5344CB8AC3E}">
        <p14:creationId xmlns:p14="http://schemas.microsoft.com/office/powerpoint/2010/main" val="8732097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3849" y="2165"/>
            <a:ext cx="9381793" cy="597942"/>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448686" y="-104795"/>
            <a:ext cx="2827094" cy="6948995"/>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90914" y="722431"/>
            <a:ext cx="9323047" cy="1015021"/>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n-US" sz="1199" spc="-1">
                <a:ea typeface="Soho Gothic Pro Light"/>
              </a:rPr>
              <a:t>Engineer and Architect in </a:t>
            </a:r>
            <a:r>
              <a:rPr lang="en-US" sz="1199" spc="-1" err="1">
                <a:ea typeface="Soho Gothic Pro Light"/>
              </a:rPr>
              <a:t>Microservices</a:t>
            </a:r>
            <a:r>
              <a:rPr lang="en-US" sz="1199" spc="-1">
                <a:ea typeface="Soho Gothic Pro Light"/>
              </a:rPr>
              <a:t> &amp; AP with more than 9 years of experience in the analysis, definition and development architectures and applications (</a:t>
            </a:r>
            <a:r>
              <a:rPr lang="en-US" sz="1199" spc="-1" err="1">
                <a:ea typeface="Soho Gothic Pro Light"/>
              </a:rPr>
              <a:t>WebServices</a:t>
            </a:r>
            <a:r>
              <a:rPr lang="en-US" sz="1199" spc="-1">
                <a:ea typeface="Soho Gothic Pro Light"/>
              </a:rPr>
              <a:t>, SOAP, Rest, </a:t>
            </a:r>
            <a:r>
              <a:rPr lang="en-US" sz="1199" spc="-1" err="1">
                <a:ea typeface="Soho Gothic Pro Light"/>
              </a:rPr>
              <a:t>Canigó</a:t>
            </a:r>
            <a:r>
              <a:rPr lang="en-US" sz="1199" spc="-1">
                <a:ea typeface="Soho Gothic Pro Light"/>
              </a:rPr>
              <a:t>, SQLJ, EJB, </a:t>
            </a:r>
            <a:r>
              <a:rPr lang="en-US" sz="1199" spc="-1" err="1">
                <a:ea typeface="Soho Gothic Pro Light"/>
              </a:rPr>
              <a:t>Microservices</a:t>
            </a:r>
            <a:r>
              <a:rPr lang="en-US" sz="1199" spc="-1">
                <a:ea typeface="Soho Gothic Pro Light"/>
              </a:rPr>
              <a:t>, Mainframe...) Batch and Front End using different programming languages, being Java the main one and interacting with other languages and platforms, as well as QA and QC quality assurance. Taking part in the implementation of projects for the sectors of Banking, Insurance and Public Administration (Catalonia Tax Agency).</a:t>
            </a:r>
            <a:endParaRPr lang="es-ES" sz="1199" spc="-1">
              <a:ea typeface="Soho Gothic Pro Light"/>
            </a:endParaRPr>
          </a:p>
        </p:txBody>
      </p:sp>
      <p:sp>
        <p:nvSpPr>
          <p:cNvPr id="98" name="CuadroTexto 39_0"/>
          <p:cNvSpPr/>
          <p:nvPr/>
        </p:nvSpPr>
        <p:spPr>
          <a:xfrm>
            <a:off x="90913" y="3165191"/>
            <a:ext cx="551172" cy="645818"/>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899" b="1" spc="-1">
                <a:latin typeface="Soho Gothic Pro Light"/>
                <a:ea typeface="Soho Gothic Pro Light"/>
              </a:rPr>
              <a:t>2019</a:t>
            </a:r>
            <a:endParaRPr lang="es-ES" sz="899" b="1" spc="-1">
              <a:latin typeface="Arial"/>
            </a:endParaRPr>
          </a:p>
          <a:p>
            <a:pPr>
              <a:lnSpc>
                <a:spcPct val="100000"/>
              </a:lnSpc>
            </a:pPr>
            <a:r>
              <a:rPr lang="es-ES" sz="899" b="1" spc="-1">
                <a:latin typeface="Soho Gothic Pro Light"/>
                <a:ea typeface="Soho Gothic Pro Light"/>
              </a:rPr>
              <a:t>—</a:t>
            </a:r>
            <a:endParaRPr lang="es-ES" sz="899" b="1" spc="-1">
              <a:latin typeface="Arial"/>
            </a:endParaRPr>
          </a:p>
          <a:p>
            <a:pPr>
              <a:lnSpc>
                <a:spcPct val="100000"/>
              </a:lnSpc>
            </a:pPr>
            <a:r>
              <a:rPr lang="es-ES" sz="899" b="1" spc="-1">
                <a:latin typeface="Soho Gothic Pro Light"/>
                <a:ea typeface="Soho Gothic Pro Light"/>
              </a:rPr>
              <a:t>2021</a:t>
            </a:r>
            <a:endParaRPr lang="es-ES" sz="899" b="1" spc="-1">
              <a:latin typeface="Arial"/>
            </a:endParaRPr>
          </a:p>
          <a:p>
            <a:pPr>
              <a:lnSpc>
                <a:spcPct val="100000"/>
              </a:lnSpc>
            </a:pPr>
            <a:endParaRPr lang="es-ES" sz="899" spc="-1">
              <a:latin typeface="Arial"/>
            </a:endParaRPr>
          </a:p>
        </p:txBody>
      </p:sp>
      <p:sp>
        <p:nvSpPr>
          <p:cNvPr id="99" name="CuadroTexto 44_0"/>
          <p:cNvSpPr/>
          <p:nvPr/>
        </p:nvSpPr>
        <p:spPr>
          <a:xfrm>
            <a:off x="574158" y="1747277"/>
            <a:ext cx="4316870" cy="144552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r>
              <a:rPr lang="es-ES" sz="1099" b="1" spc="-1" err="1">
                <a:ea typeface="Soho Gothic Pro Light"/>
              </a:rPr>
              <a:t>Minsait</a:t>
            </a:r>
            <a:r>
              <a:rPr lang="es-ES" sz="1099" b="1" spc="-1">
                <a:ea typeface="Soho Gothic Pro Light"/>
              </a:rPr>
              <a:t> </a:t>
            </a:r>
            <a:r>
              <a:rPr lang="es-ES" sz="1099" b="1" spc="-1" err="1">
                <a:ea typeface="Soho Gothic Pro Light"/>
              </a:rPr>
              <a:t>by</a:t>
            </a:r>
            <a:r>
              <a:rPr lang="es-ES" sz="1099" b="1" spc="-1">
                <a:ea typeface="Soho Gothic Pro Light"/>
              </a:rPr>
              <a:t> Indra (Barcelona, España)</a:t>
            </a:r>
          </a:p>
          <a:p>
            <a:pPr algn="just">
              <a:lnSpc>
                <a:spcPct val="100000"/>
              </a:lnSpc>
            </a:pPr>
            <a:r>
              <a:rPr lang="es-ES" sz="1099" spc="-1">
                <a:ea typeface="Soho Gothic Pro Light"/>
              </a:rPr>
              <a:t>Data </a:t>
            </a:r>
            <a:r>
              <a:rPr lang="es-ES" sz="1099" spc="-1" err="1">
                <a:ea typeface="Soho Gothic Pro Light"/>
              </a:rPr>
              <a:t>Engineer</a:t>
            </a:r>
            <a:r>
              <a:rPr lang="es-ES" sz="1099" spc="-1">
                <a:ea typeface="Soho Gothic Pro Light"/>
              </a:rPr>
              <a:t> / Software </a:t>
            </a:r>
            <a:r>
              <a:rPr lang="es-ES" sz="1099" spc="-1" err="1">
                <a:ea typeface="Soho Gothic Pro Light"/>
              </a:rPr>
              <a:t>Developer</a:t>
            </a:r>
            <a:endParaRPr lang="es-ES" sz="1099" spc="-1">
              <a:ea typeface="Soho Gothic Pro Light"/>
            </a:endParaRPr>
          </a:p>
          <a:p>
            <a:pPr algn="just">
              <a:lnSpc>
                <a:spcPct val="100000"/>
              </a:lnSpc>
            </a:pPr>
            <a:endParaRPr lang="es-ES" sz="1099" spc="-1">
              <a:latin typeface="Arial"/>
            </a:endParaRPr>
          </a:p>
          <a:p>
            <a:pPr marL="171267" indent="-170907" algn="just">
              <a:buClr>
                <a:srgbClr val="1A3B47"/>
              </a:buClr>
              <a:buFont typeface="Arial,Sans-Serif"/>
              <a:buChar char="•"/>
            </a:pPr>
            <a:r>
              <a:rPr lang="en-US" sz="1099" spc="-1"/>
              <a:t>I am currently working with “</a:t>
            </a:r>
            <a:r>
              <a:rPr lang="en-US" sz="1099" spc="-1" err="1"/>
              <a:t>Censos</a:t>
            </a:r>
            <a:r>
              <a:rPr lang="en-US" sz="1099" spc="-1"/>
              <a:t> Team“ for “Catalonia Tax Agency”. This system is responsible for creating a </a:t>
            </a:r>
            <a:r>
              <a:rPr lang="en-US" sz="1099" spc="-1" err="1"/>
              <a:t>centralised</a:t>
            </a:r>
            <a:r>
              <a:rPr lang="en-US" sz="1099" spc="-1"/>
              <a:t>, reliable, high quality and unique repository to </a:t>
            </a:r>
            <a:r>
              <a:rPr lang="en-US" sz="1099" spc="-1" err="1"/>
              <a:t>centralise</a:t>
            </a:r>
            <a:r>
              <a:rPr lang="en-US" sz="1099" spc="-1"/>
              <a:t> the consolidated information on vehicles and people.</a:t>
            </a:r>
          </a:p>
          <a:p>
            <a:pPr marL="171267" indent="-170907" algn="just">
              <a:buClr>
                <a:srgbClr val="1A3B47"/>
              </a:buClr>
              <a:buFont typeface="Arial,Sans-Serif"/>
              <a:buChar char="•"/>
            </a:pPr>
            <a:r>
              <a:rPr lang="en-US" sz="1099" spc="-1"/>
              <a:t>Analysis and development Batch processes and APIs </a:t>
            </a:r>
            <a:endParaRPr lang="es-ES" sz="1099" spc="-1"/>
          </a:p>
        </p:txBody>
      </p:sp>
      <p:sp>
        <p:nvSpPr>
          <p:cNvPr id="102" name="CuadroTexto 54_0"/>
          <p:cNvSpPr/>
          <p:nvPr/>
        </p:nvSpPr>
        <p:spPr>
          <a:xfrm>
            <a:off x="9378518" y="5932219"/>
            <a:ext cx="1607824" cy="275360"/>
          </a:xfrm>
          <a:prstGeom prst="rect">
            <a:avLst/>
          </a:prstGeom>
          <a:noFill/>
          <a:ln w="0">
            <a:noFill/>
          </a:ln>
        </p:spPr>
        <p:style>
          <a:lnRef idx="0">
            <a:scrgbClr r="0" g="0" b="0"/>
          </a:lnRef>
          <a:fillRef idx="0">
            <a:scrgbClr r="0" g="0" b="0"/>
          </a:fillRef>
          <a:effectRef idx="0">
            <a:scrgbClr r="0" g="0" b="0"/>
          </a:effectRef>
          <a:fontRef idx="minor"/>
        </p:style>
        <p:txBody>
          <a:bodyPr lIns="89943" tIns="44972" rIns="89943" bIns="44972">
            <a:spAutoFit/>
          </a:bodyPr>
          <a:lstStyle/>
          <a:p>
            <a:pPr>
              <a:lnSpc>
                <a:spcPct val="100000"/>
              </a:lnSpc>
            </a:pPr>
            <a:r>
              <a:rPr lang="es-ES" sz="1199" spc="-1" dirty="0" err="1">
                <a:latin typeface="Soho Gothic Pro"/>
              </a:rPr>
              <a:t>Languajes</a:t>
            </a:r>
            <a:endParaRPr lang="es-ES" sz="1199" spc="-1" dirty="0">
              <a:latin typeface="Arial"/>
            </a:endParaRPr>
          </a:p>
        </p:txBody>
      </p:sp>
      <p:sp>
        <p:nvSpPr>
          <p:cNvPr id="103" name="CuadroTexto 55_0"/>
          <p:cNvSpPr/>
          <p:nvPr/>
        </p:nvSpPr>
        <p:spPr>
          <a:xfrm>
            <a:off x="9428420" y="6249061"/>
            <a:ext cx="2710528" cy="553555"/>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s-ES" sz="999" b="1" spc="-1" dirty="0">
                <a:latin typeface="Soho Gothic Pro Light"/>
                <a:ea typeface="Soho Gothic Pro Light"/>
              </a:rPr>
              <a:t>Spanish - </a:t>
            </a:r>
            <a:r>
              <a:rPr lang="es-ES" sz="999" spc="-1" dirty="0" err="1">
                <a:latin typeface="Soho Gothic Pro Light"/>
                <a:ea typeface="Soho Gothic Pro Light"/>
              </a:rPr>
              <a:t>Native</a:t>
            </a:r>
            <a:endParaRPr lang="es-ES" sz="999" spc="-1" dirty="0">
              <a:latin typeface="Soho Gothic Pro Light"/>
              <a:ea typeface="Soho Gothic Pro Light"/>
            </a:endParaRPr>
          </a:p>
          <a:p>
            <a:pPr>
              <a:lnSpc>
                <a:spcPct val="100000"/>
              </a:lnSpc>
            </a:pPr>
            <a:r>
              <a:rPr lang="ca-ES" sz="999" b="1" spc="-1" dirty="0">
                <a:latin typeface="Soho Gothic Pro Light"/>
                <a:ea typeface="Soho Gothic Pro Light"/>
              </a:rPr>
              <a:t>Catalan - </a:t>
            </a:r>
            <a:r>
              <a:rPr lang="ca-ES" sz="999" spc="-1" dirty="0" err="1">
                <a:latin typeface="Soho Gothic Pro Light"/>
                <a:ea typeface="Soho Gothic Pro Light"/>
              </a:rPr>
              <a:t>Native</a:t>
            </a:r>
            <a:r>
              <a:rPr lang="ca-ES" sz="1749" dirty="0"/>
              <a:t/>
            </a:r>
            <a:br>
              <a:rPr lang="ca-ES" sz="1749" dirty="0"/>
            </a:br>
            <a:r>
              <a:rPr lang="es-ES" sz="999" b="1" spc="-1" dirty="0">
                <a:latin typeface="Soho Gothic Pro Light"/>
                <a:ea typeface="Soho Gothic Pro Light"/>
              </a:rPr>
              <a:t>English - </a:t>
            </a:r>
            <a:r>
              <a:rPr lang="es-ES" sz="999" spc="-1" dirty="0">
                <a:latin typeface="Soho Gothic Pro Light"/>
                <a:ea typeface="Soho Gothic Pro Light"/>
              </a:rPr>
              <a:t>B2</a:t>
            </a:r>
            <a:endParaRPr lang="es-ES" sz="999" spc="-1" dirty="0">
              <a:latin typeface="Arial"/>
              <a:cs typeface="Arial"/>
            </a:endParaRPr>
          </a:p>
        </p:txBody>
      </p:sp>
      <p:sp>
        <p:nvSpPr>
          <p:cNvPr id="105" name="CuadroTexto 40_0"/>
          <p:cNvSpPr/>
          <p:nvPr/>
        </p:nvSpPr>
        <p:spPr>
          <a:xfrm>
            <a:off x="3453350" y="112616"/>
            <a:ext cx="2691100" cy="461537"/>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399" spc="-1" err="1">
                <a:solidFill>
                  <a:schemeClr val="bg1"/>
                </a:solidFill>
                <a:latin typeface="Soho Gothic Pro Medium"/>
              </a:rPr>
              <a:t>Architect</a:t>
            </a:r>
            <a:endParaRPr lang="es-ES" sz="2399" spc="-1">
              <a:solidFill>
                <a:schemeClr val="bg1"/>
              </a:solidFill>
              <a:latin typeface="Arial"/>
            </a:endParaRPr>
          </a:p>
        </p:txBody>
      </p:sp>
      <p:sp>
        <p:nvSpPr>
          <p:cNvPr id="106" name="CuadroTexto 30_0"/>
          <p:cNvSpPr/>
          <p:nvPr/>
        </p:nvSpPr>
        <p:spPr>
          <a:xfrm>
            <a:off x="90914" y="154709"/>
            <a:ext cx="2729596" cy="39998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1999" spc="-1">
                <a:solidFill>
                  <a:schemeClr val="bg1"/>
                </a:solidFill>
                <a:latin typeface="Soho Gothic Pro Light"/>
                <a:ea typeface="Soho Gothic Pro Light"/>
              </a:rPr>
              <a:t>A.R.H.</a:t>
            </a:r>
            <a:endParaRPr lang="es-ES" sz="1999" spc="-1">
              <a:solidFill>
                <a:schemeClr val="bg1"/>
              </a:solidFill>
              <a:latin typeface="Arial"/>
            </a:endParaRPr>
          </a:p>
        </p:txBody>
      </p:sp>
      <p:sp>
        <p:nvSpPr>
          <p:cNvPr id="109" name="CuadroTexto 37_0"/>
          <p:cNvSpPr/>
          <p:nvPr/>
        </p:nvSpPr>
        <p:spPr>
          <a:xfrm>
            <a:off x="9413961" y="3362211"/>
            <a:ext cx="1964359" cy="275360"/>
          </a:xfrm>
          <a:prstGeom prst="rect">
            <a:avLst/>
          </a:prstGeom>
          <a:noFill/>
          <a:ln w="0">
            <a:noFill/>
          </a:ln>
        </p:spPr>
        <p:style>
          <a:lnRef idx="0">
            <a:scrgbClr r="0" g="0" b="0"/>
          </a:lnRef>
          <a:fillRef idx="0">
            <a:scrgbClr r="0" g="0" b="0"/>
          </a:fillRef>
          <a:effectRef idx="0">
            <a:scrgbClr r="0" g="0" b="0"/>
          </a:effectRef>
          <a:fontRef idx="minor"/>
        </p:style>
        <p:txBody>
          <a:bodyPr lIns="89943" tIns="44972" rIns="89943" bIns="44972">
            <a:spAutoFit/>
          </a:bodyPr>
          <a:lstStyle/>
          <a:p>
            <a:pPr>
              <a:lnSpc>
                <a:spcPct val="100000"/>
              </a:lnSpc>
            </a:pPr>
            <a:r>
              <a:rPr lang="es-ES" sz="1199" spc="-1" dirty="0">
                <a:latin typeface="Soho Gothic Pro"/>
              </a:rPr>
              <a:t>IT</a:t>
            </a:r>
            <a:endParaRPr lang="es-ES" sz="1199" spc="-1" dirty="0">
              <a:latin typeface="Arial"/>
            </a:endParaRPr>
          </a:p>
        </p:txBody>
      </p:sp>
      <p:sp>
        <p:nvSpPr>
          <p:cNvPr id="110" name="CuadroTexto 52_0"/>
          <p:cNvSpPr/>
          <p:nvPr/>
        </p:nvSpPr>
        <p:spPr>
          <a:xfrm>
            <a:off x="9398260" y="3531094"/>
            <a:ext cx="2784975" cy="2244915"/>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r>
              <a:rPr lang="en-US" sz="999" b="1" spc="-1" dirty="0">
                <a:latin typeface="Soho Gothic Pro Light"/>
                <a:ea typeface="Soho Gothic Pro Light"/>
              </a:rPr>
              <a:t>Programming languages</a:t>
            </a:r>
            <a:r>
              <a:rPr lang="en-US" sz="999" spc="-1" dirty="0">
                <a:latin typeface="Soho Gothic Pro Light"/>
                <a:ea typeface="Soho Gothic Pro Light"/>
              </a:rPr>
              <a:t>: </a:t>
            </a:r>
            <a:r>
              <a:rPr lang="es-ES" sz="999" i="1" spc="-1" dirty="0">
                <a:ea typeface="Soho Gothic Pro Light"/>
              </a:rPr>
              <a:t>Java J2EE, Scala, Spark, C, C++, PHP, Shell Scripting, </a:t>
            </a:r>
            <a:r>
              <a:rPr lang="es-ES" sz="999" i="1" spc="-1" dirty="0" err="1">
                <a:ea typeface="Soho Gothic Pro Light"/>
              </a:rPr>
              <a:t>Javascript</a:t>
            </a:r>
            <a:r>
              <a:rPr lang="es-ES" sz="999" i="1" spc="-1" dirty="0">
                <a:ea typeface="Soho Gothic Pro Light"/>
              </a:rPr>
              <a:t>, </a:t>
            </a:r>
            <a:r>
              <a:rPr lang="es-ES" sz="999" i="1" spc="-1" dirty="0" err="1">
                <a:ea typeface="Soho Gothic Pro Light"/>
              </a:rPr>
              <a:t>Jquery</a:t>
            </a:r>
            <a:r>
              <a:rPr lang="es-ES" sz="999" i="1" spc="-1" dirty="0">
                <a:ea typeface="Soho Gothic Pro Light"/>
              </a:rPr>
              <a:t>, </a:t>
            </a:r>
            <a:r>
              <a:rPr lang="es-ES" sz="999" i="1" spc="-1" dirty="0" err="1">
                <a:ea typeface="Soho Gothic Pro Light"/>
              </a:rPr>
              <a:t>OpenLayers</a:t>
            </a:r>
            <a:r>
              <a:rPr lang="es-ES" sz="999" i="1" spc="-1" dirty="0">
                <a:ea typeface="Soho Gothic Pro Light"/>
              </a:rPr>
              <a:t>, Mainframe</a:t>
            </a:r>
          </a:p>
          <a:p>
            <a:r>
              <a:rPr lang="en-US" sz="999" b="1" spc="-1" dirty="0">
                <a:latin typeface="Soho Gothic Pro Light"/>
                <a:ea typeface="Soho Gothic Pro Light"/>
              </a:rPr>
              <a:t>Databases</a:t>
            </a:r>
            <a:r>
              <a:rPr lang="en-US" sz="999" spc="-1" dirty="0">
                <a:latin typeface="Soho Gothic Pro Light"/>
                <a:ea typeface="Soho Gothic Pro Light"/>
              </a:rPr>
              <a:t>: </a:t>
            </a:r>
            <a:r>
              <a:rPr lang="en-US" sz="999" i="1" spc="-1" dirty="0">
                <a:ea typeface="Soho Gothic Pro Light"/>
              </a:rPr>
              <a:t>AWSBBDD: Design and implementation models on Oracle, </a:t>
            </a:r>
            <a:r>
              <a:rPr lang="en-US" sz="999" i="1" spc="-1" dirty="0" err="1">
                <a:ea typeface="Soho Gothic Pro Light"/>
              </a:rPr>
              <a:t>SQLServer</a:t>
            </a:r>
            <a:r>
              <a:rPr lang="en-US" sz="999" i="1" spc="-1" dirty="0">
                <a:ea typeface="Soho Gothic Pro Light"/>
              </a:rPr>
              <a:t>, MySQL, PostgreSQL, MongoDB, Apache Kudu, </a:t>
            </a:r>
            <a:r>
              <a:rPr lang="en-US" sz="999" i="1" spc="-1" dirty="0" err="1">
                <a:ea typeface="Soho Gothic Pro Light"/>
              </a:rPr>
              <a:t>DinamoDB</a:t>
            </a:r>
            <a:r>
              <a:rPr lang="en-US" sz="999" i="1" spc="-1" dirty="0">
                <a:ea typeface="Soho Gothic Pro Light"/>
              </a:rPr>
              <a:t> y PostgreSQL</a:t>
            </a:r>
          </a:p>
          <a:p>
            <a:r>
              <a:rPr lang="en-US" sz="999" b="1" spc="-1" dirty="0">
                <a:ea typeface="Soho Gothic Pro Light"/>
              </a:rPr>
              <a:t>DevOps: </a:t>
            </a:r>
            <a:r>
              <a:rPr lang="en-US" sz="999" b="1" i="1" spc="-1" dirty="0">
                <a:ea typeface="Soho Gothic Pro Light"/>
              </a:rPr>
              <a:t>Jenkins, </a:t>
            </a:r>
            <a:r>
              <a:rPr lang="en-US" sz="999" b="1" i="1" spc="-1" dirty="0" err="1">
                <a:ea typeface="Soho Gothic Pro Light"/>
              </a:rPr>
              <a:t>SonarQube</a:t>
            </a:r>
            <a:r>
              <a:rPr lang="en-US" sz="999" b="1" i="1" spc="-1" dirty="0">
                <a:ea typeface="Soho Gothic Pro Light"/>
              </a:rPr>
              <a:t>, </a:t>
            </a:r>
            <a:r>
              <a:rPr lang="en-US" sz="999" b="1" i="1" spc="-1" dirty="0" err="1">
                <a:ea typeface="Soho Gothic Pro Light"/>
              </a:rPr>
              <a:t>Kiuwan</a:t>
            </a:r>
            <a:r>
              <a:rPr lang="en-US" sz="999" b="1" i="1" spc="-1" dirty="0">
                <a:ea typeface="Soho Gothic Pro Light"/>
              </a:rPr>
              <a:t>, GIT. </a:t>
            </a:r>
          </a:p>
          <a:p>
            <a:pPr>
              <a:lnSpc>
                <a:spcPct val="100000"/>
              </a:lnSpc>
            </a:pPr>
            <a:r>
              <a:rPr lang="en-US" sz="999" b="1" spc="-1" dirty="0">
                <a:ea typeface="Soho Gothic Pro Light"/>
              </a:rPr>
              <a:t>Big Data (technology): </a:t>
            </a:r>
            <a:r>
              <a:rPr lang="en-US" sz="999" i="1" spc="-1" dirty="0">
                <a:ea typeface="Soho Gothic Pro Light"/>
              </a:rPr>
              <a:t>Hadoop; MongoDB</a:t>
            </a:r>
          </a:p>
          <a:p>
            <a:r>
              <a:rPr lang="en-US" sz="999" i="1" spc="-1" dirty="0">
                <a:ea typeface="Soho Gothic Pro Light"/>
              </a:rPr>
              <a:t>Frameworks: Cloudera Manager, Hadoop, Spring Framework, Hibernate-JPA, </a:t>
            </a:r>
            <a:r>
              <a:rPr lang="en-US" sz="999" i="1" spc="-1" dirty="0" err="1">
                <a:ea typeface="Soho Gothic Pro Light"/>
              </a:rPr>
              <a:t>Structs</a:t>
            </a:r>
            <a:r>
              <a:rPr lang="en-US" sz="999" i="1" spc="-1" dirty="0">
                <a:ea typeface="Soho Gothic Pro Light"/>
              </a:rPr>
              <a:t>, </a:t>
            </a:r>
            <a:r>
              <a:rPr lang="en-US" sz="999" i="1" spc="-1" dirty="0" err="1">
                <a:ea typeface="Soho Gothic Pro Light"/>
              </a:rPr>
              <a:t>Microservices</a:t>
            </a:r>
            <a:r>
              <a:rPr lang="en-US" sz="999" i="1" spc="-1" dirty="0">
                <a:ea typeface="Soho Gothic Pro Light"/>
              </a:rPr>
              <a:t> Stack: Spring Boot, </a:t>
            </a:r>
            <a:endParaRPr lang="en-US" sz="999" b="1" spc="-1" dirty="0">
              <a:solidFill>
                <a:srgbClr val="FF0000"/>
              </a:solidFill>
              <a:latin typeface="Soho Gothic Pro Light"/>
              <a:ea typeface="Soho Gothic Pro Light"/>
            </a:endParaRPr>
          </a:p>
          <a:p>
            <a:pPr>
              <a:lnSpc>
                <a:spcPct val="100000"/>
              </a:lnSpc>
            </a:pPr>
            <a:r>
              <a:rPr lang="en-US" sz="999" b="1" spc="-1" dirty="0">
                <a:latin typeface="Soho Gothic Pro Light"/>
                <a:ea typeface="Soho Gothic Pro Light"/>
              </a:rPr>
              <a:t>Management</a:t>
            </a:r>
            <a:r>
              <a:rPr lang="en-US" sz="999" spc="-1" dirty="0">
                <a:latin typeface="Soho Gothic Pro Light"/>
                <a:ea typeface="Soho Gothic Pro Light"/>
              </a:rPr>
              <a:t>: </a:t>
            </a:r>
            <a:r>
              <a:rPr lang="en-US" sz="999" i="1" spc="-1" dirty="0">
                <a:ea typeface="Soho Gothic Pro Light"/>
              </a:rPr>
              <a:t>Jira, ITIL</a:t>
            </a:r>
          </a:p>
          <a:p>
            <a:r>
              <a:rPr lang="en-US" sz="999" b="1" spc="-1" dirty="0">
                <a:ea typeface="Soho Gothic Pro Light"/>
              </a:rPr>
              <a:t>Agile</a:t>
            </a:r>
            <a:r>
              <a:rPr lang="en-US" sz="999" spc="-1" dirty="0">
                <a:ea typeface="Soho Gothic Pro Light"/>
              </a:rPr>
              <a:t>:  </a:t>
            </a:r>
            <a:r>
              <a:rPr lang="en-US" sz="999" i="1" spc="-1" dirty="0">
                <a:ea typeface="Soho Gothic Pro Light"/>
              </a:rPr>
              <a:t> Scrum/Kanban</a:t>
            </a:r>
          </a:p>
        </p:txBody>
      </p:sp>
      <p:sp>
        <p:nvSpPr>
          <p:cNvPr id="111" name="CuadroTexto 50_0"/>
          <p:cNvSpPr/>
          <p:nvPr/>
        </p:nvSpPr>
        <p:spPr>
          <a:xfrm>
            <a:off x="9471062" y="1747277"/>
            <a:ext cx="2649367" cy="1476115"/>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r>
              <a:rPr lang="es-ES" sz="999" spc="-1" dirty="0">
                <a:ea typeface="Soho Gothic Pro Light"/>
              </a:rPr>
              <a:t>2021 | </a:t>
            </a:r>
            <a:r>
              <a:rPr lang="es-ES" sz="999" spc="-1" dirty="0">
                <a:ea typeface="+mn-lt"/>
                <a:cs typeface="+mn-lt"/>
              </a:rPr>
              <a:t>MongoDB </a:t>
            </a:r>
            <a:r>
              <a:rPr lang="es-ES" sz="999" spc="-1" dirty="0" err="1">
                <a:ea typeface="+mn-lt"/>
                <a:cs typeface="+mn-lt"/>
              </a:rPr>
              <a:t>Certified</a:t>
            </a:r>
            <a:r>
              <a:rPr lang="es-ES" sz="999" spc="-1" dirty="0">
                <a:ea typeface="+mn-lt"/>
                <a:cs typeface="+mn-lt"/>
              </a:rPr>
              <a:t> </a:t>
            </a:r>
            <a:r>
              <a:rPr lang="es-ES" sz="999" spc="-1" dirty="0" err="1">
                <a:ea typeface="+mn-lt"/>
                <a:cs typeface="+mn-lt"/>
              </a:rPr>
              <a:t>System</a:t>
            </a:r>
            <a:r>
              <a:rPr lang="es-ES" sz="999" spc="-1" dirty="0">
                <a:ea typeface="+mn-lt"/>
                <a:cs typeface="+mn-lt"/>
              </a:rPr>
              <a:t> </a:t>
            </a:r>
            <a:r>
              <a:rPr lang="es-ES" sz="999" spc="-1" dirty="0" err="1">
                <a:ea typeface="+mn-lt"/>
                <a:cs typeface="+mn-lt"/>
              </a:rPr>
              <a:t>Integrator</a:t>
            </a:r>
            <a:endParaRPr lang="es-ES" sz="1749" dirty="0">
              <a:ea typeface="Soho Gothic Pro Light"/>
            </a:endParaRPr>
          </a:p>
          <a:p>
            <a:endParaRPr lang="es-ES" sz="999" spc="-1" dirty="0">
              <a:ea typeface="Soho Gothic Pro Light"/>
            </a:endParaRPr>
          </a:p>
          <a:p>
            <a:r>
              <a:rPr lang="es-ES" sz="999" spc="-1" dirty="0">
                <a:ea typeface="Soho Gothic Pro Light"/>
              </a:rPr>
              <a:t>2021 </a:t>
            </a:r>
            <a:r>
              <a:rPr lang="es-ES" sz="999" spc="-1" dirty="0">
                <a:ea typeface="Soho Gothic Pro Light"/>
              </a:rPr>
              <a:t>| </a:t>
            </a:r>
            <a:r>
              <a:rPr lang="es-ES" sz="999" spc="-1" dirty="0">
                <a:ea typeface="+mn-lt"/>
                <a:cs typeface="+mn-lt"/>
              </a:rPr>
              <a:t>MongoDB</a:t>
            </a:r>
            <a:r>
              <a:rPr lang="es-ES" sz="999" spc="-1" dirty="0">
                <a:solidFill>
                  <a:srgbClr val="FF0000"/>
                </a:solidFill>
                <a:ea typeface="+mn-lt"/>
                <a:cs typeface="+mn-lt"/>
              </a:rPr>
              <a:t>: </a:t>
            </a:r>
            <a:r>
              <a:rPr lang="es-ES" sz="999" spc="-1" dirty="0">
                <a:solidFill>
                  <a:srgbClr val="1A3B47"/>
                </a:solidFill>
                <a:ea typeface="+mn-lt"/>
                <a:cs typeface="+mn-lt"/>
              </a:rPr>
              <a:t>M001 MongoDB </a:t>
            </a:r>
            <a:r>
              <a:rPr lang="es-ES" sz="999" spc="-1" dirty="0" err="1">
                <a:solidFill>
                  <a:srgbClr val="1A3B47"/>
                </a:solidFill>
                <a:ea typeface="+mn-lt"/>
                <a:cs typeface="+mn-lt"/>
              </a:rPr>
              <a:t>Basics</a:t>
            </a:r>
            <a:endParaRPr lang="es-ES" sz="999" spc="-1" dirty="0">
              <a:solidFill>
                <a:srgbClr val="1A3B47"/>
              </a:solidFill>
              <a:ea typeface="+mn-lt"/>
              <a:cs typeface="Arial"/>
            </a:endParaRPr>
          </a:p>
          <a:p>
            <a:r>
              <a:rPr lang="es-ES" sz="999" spc="-1" dirty="0">
                <a:ea typeface="+mn-lt"/>
                <a:cs typeface="+mn-lt"/>
              </a:rPr>
              <a:t>               A300: Atlas Security</a:t>
            </a:r>
          </a:p>
          <a:p>
            <a:r>
              <a:rPr lang="es-ES" sz="999" spc="-1" dirty="0">
                <a:ea typeface="+mn-lt"/>
                <a:cs typeface="+mn-lt"/>
              </a:rPr>
              <a:t>               M121: The MongoDB </a:t>
            </a:r>
            <a:r>
              <a:rPr lang="es-ES" sz="999" spc="-1" dirty="0" err="1">
                <a:ea typeface="+mn-lt"/>
                <a:cs typeface="+mn-lt"/>
              </a:rPr>
              <a:t>Aggregation</a:t>
            </a:r>
            <a:r>
              <a:rPr lang="es-ES" sz="999" spc="-1" dirty="0">
                <a:ea typeface="+mn-lt"/>
                <a:cs typeface="+mn-lt"/>
              </a:rPr>
              <a:t> Framework</a:t>
            </a:r>
            <a:endParaRPr lang="es-ES" sz="1749" dirty="0"/>
          </a:p>
          <a:p>
            <a:r>
              <a:rPr lang="es-ES" sz="999" spc="-1" dirty="0">
                <a:ea typeface="+mn-lt"/>
                <a:cs typeface="+mn-lt"/>
              </a:rPr>
              <a:t>               M220J: MongoDB </a:t>
            </a:r>
            <a:r>
              <a:rPr lang="es-ES" sz="999" spc="-1" dirty="0" err="1">
                <a:ea typeface="+mn-lt"/>
                <a:cs typeface="+mn-lt"/>
              </a:rPr>
              <a:t>for</a:t>
            </a:r>
            <a:r>
              <a:rPr lang="es-ES" sz="999" spc="-1" dirty="0">
                <a:ea typeface="+mn-lt"/>
                <a:cs typeface="+mn-lt"/>
              </a:rPr>
              <a:t> Java Developers</a:t>
            </a:r>
            <a:endParaRPr lang="es-ES" dirty="0"/>
          </a:p>
          <a:p>
            <a:r>
              <a:rPr lang="es-ES" sz="999" spc="-1" dirty="0">
                <a:ea typeface="+mn-lt"/>
                <a:cs typeface="+mn-lt"/>
              </a:rPr>
              <a:t>               M320: Data </a:t>
            </a:r>
            <a:r>
              <a:rPr lang="es-ES" sz="999" spc="-1" dirty="0" err="1">
                <a:ea typeface="+mn-lt"/>
                <a:cs typeface="+mn-lt"/>
              </a:rPr>
              <a:t>Modeling</a:t>
            </a:r>
            <a:endParaRPr lang="es-ES" dirty="0"/>
          </a:p>
        </p:txBody>
      </p:sp>
      <p:sp>
        <p:nvSpPr>
          <p:cNvPr id="112" name="CuadroTexto 56_0"/>
          <p:cNvSpPr/>
          <p:nvPr/>
        </p:nvSpPr>
        <p:spPr>
          <a:xfrm>
            <a:off x="9473067" y="129885"/>
            <a:ext cx="1964359" cy="275360"/>
          </a:xfrm>
          <a:prstGeom prst="rect">
            <a:avLst/>
          </a:prstGeom>
          <a:noFill/>
          <a:ln w="0">
            <a:noFill/>
          </a:ln>
        </p:spPr>
        <p:style>
          <a:lnRef idx="0">
            <a:scrgbClr r="0" g="0" b="0"/>
          </a:lnRef>
          <a:fillRef idx="0">
            <a:scrgbClr r="0" g="0" b="0"/>
          </a:fillRef>
          <a:effectRef idx="0">
            <a:scrgbClr r="0" g="0" b="0"/>
          </a:effectRef>
          <a:fontRef idx="minor"/>
        </p:style>
        <p:txBody>
          <a:bodyPr lIns="89943" tIns="44972" rIns="89943" bIns="44972">
            <a:spAutoFit/>
          </a:bodyPr>
          <a:lstStyle/>
          <a:p>
            <a:pPr>
              <a:lnSpc>
                <a:spcPct val="100000"/>
              </a:lnSpc>
            </a:pPr>
            <a:r>
              <a:rPr lang="es-ES" sz="1199" spc="-1" err="1">
                <a:latin typeface="Soho Gothic Pro"/>
              </a:rPr>
              <a:t>Education</a:t>
            </a:r>
            <a:endParaRPr lang="es-ES" sz="1199" spc="-1">
              <a:latin typeface="Arial"/>
            </a:endParaRPr>
          </a:p>
        </p:txBody>
      </p:sp>
      <p:sp>
        <p:nvSpPr>
          <p:cNvPr id="113" name="CuadroTexto 70_0"/>
          <p:cNvSpPr/>
          <p:nvPr/>
        </p:nvSpPr>
        <p:spPr>
          <a:xfrm>
            <a:off x="9824925" y="443009"/>
            <a:ext cx="2347877" cy="1168595"/>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s-ES" sz="999" spc="-1" err="1">
                <a:ea typeface="Soho Gothic Pro Light"/>
              </a:rPr>
              <a:t>Computer</a:t>
            </a:r>
            <a:r>
              <a:rPr lang="es-ES" sz="999" spc="-1">
                <a:ea typeface="Soho Gothic Pro Light"/>
              </a:rPr>
              <a:t> </a:t>
            </a:r>
            <a:r>
              <a:rPr lang="es-ES" sz="999" spc="-1" err="1">
                <a:ea typeface="Soho Gothic Pro Light"/>
              </a:rPr>
              <a:t>Engineering</a:t>
            </a:r>
            <a:r>
              <a:rPr lang="es-ES" sz="999" spc="-1">
                <a:ea typeface="Soho Gothic Pro Light"/>
              </a:rPr>
              <a:t> at “Universidad de León”.</a:t>
            </a:r>
          </a:p>
          <a:p>
            <a:r>
              <a:rPr lang="en-US" sz="999" spc="-1">
                <a:ea typeface="Soho Gothic Pro Light"/>
              </a:rPr>
              <a:t>Course in Quality in Big Data for Life Sciences </a:t>
            </a:r>
            <a:r>
              <a:rPr lang="es-ES" sz="999" spc="-1">
                <a:ea typeface="Soho Gothic Pro Light"/>
              </a:rPr>
              <a:t>at “Universidad Autónoma de Barcelona”.</a:t>
            </a:r>
            <a:endParaRPr lang="es-ES" sz="999" spc="-1"/>
          </a:p>
          <a:p>
            <a:pPr>
              <a:lnSpc>
                <a:spcPct val="100000"/>
              </a:lnSpc>
            </a:pPr>
            <a:r>
              <a:rPr lang="es-ES" sz="999" spc="-1">
                <a:ea typeface="Soho Gothic Pro Light"/>
              </a:rPr>
              <a:t>Business </a:t>
            </a:r>
            <a:r>
              <a:rPr lang="es-ES" sz="999" spc="-1" err="1">
                <a:ea typeface="Soho Gothic Pro Light"/>
              </a:rPr>
              <a:t>Intelligence</a:t>
            </a:r>
            <a:r>
              <a:rPr lang="es-ES" sz="999" spc="-1">
                <a:ea typeface="Soho Gothic Pro Light"/>
              </a:rPr>
              <a:t> and Big Data at “Universidad </a:t>
            </a:r>
            <a:r>
              <a:rPr lang="es-ES" sz="999" spc="-1" err="1">
                <a:ea typeface="Soho Gothic Pro Light"/>
              </a:rPr>
              <a:t>Oberta</a:t>
            </a:r>
            <a:r>
              <a:rPr lang="es-ES" sz="999" spc="-1">
                <a:ea typeface="Soho Gothic Pro Light"/>
              </a:rPr>
              <a:t> de Catalunya”.</a:t>
            </a:r>
            <a:endParaRPr lang="es-ES" sz="999" spc="-1">
              <a:latin typeface="Arial"/>
            </a:endParaRPr>
          </a:p>
        </p:txBody>
      </p:sp>
      <p:sp>
        <p:nvSpPr>
          <p:cNvPr id="114" name="CuadroTexto 73_0"/>
          <p:cNvSpPr/>
          <p:nvPr/>
        </p:nvSpPr>
        <p:spPr>
          <a:xfrm>
            <a:off x="9435946" y="340597"/>
            <a:ext cx="543322" cy="369017"/>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endParaRPr lang="es-ES" sz="899" spc="-1">
              <a:solidFill>
                <a:srgbClr val="FF0000"/>
              </a:solidFill>
              <a:latin typeface="Soho Gothic Pro Medium"/>
            </a:endParaRPr>
          </a:p>
          <a:p>
            <a:pPr>
              <a:lnSpc>
                <a:spcPct val="100000"/>
              </a:lnSpc>
            </a:pPr>
            <a:r>
              <a:rPr lang="es-ES" sz="899" spc="-1">
                <a:latin typeface="Soho Gothic Pro Medium"/>
              </a:rPr>
              <a:t>2013</a:t>
            </a:r>
            <a:endParaRPr lang="es-ES" sz="899" spc="-1">
              <a:latin typeface="Arial"/>
              <a:cs typeface="Arial"/>
            </a:endParaRPr>
          </a:p>
        </p:txBody>
      </p:sp>
      <p:sp>
        <p:nvSpPr>
          <p:cNvPr id="115" name="CuadroTexto 45_2"/>
          <p:cNvSpPr/>
          <p:nvPr/>
        </p:nvSpPr>
        <p:spPr>
          <a:xfrm>
            <a:off x="642086" y="4553786"/>
            <a:ext cx="4327001" cy="2289758"/>
          </a:xfrm>
          <a:prstGeom prst="rect">
            <a:avLst/>
          </a:prstGeom>
          <a:noFill/>
          <a:ln w="0">
            <a:noFill/>
          </a:ln>
        </p:spPr>
        <p:style>
          <a:lnRef idx="0">
            <a:scrgbClr r="0" g="0" b="0"/>
          </a:lnRef>
          <a:fillRef idx="0">
            <a:scrgbClr r="0" g="0" b="0"/>
          </a:fillRef>
          <a:effectRef idx="0">
            <a:scrgbClr r="0" g="0" b="0"/>
          </a:effectRef>
          <a:fontRef idx="minor"/>
        </p:style>
        <p:txBody>
          <a:bodyPr wrap="square" lIns="89943" tIns="44972" rIns="89943" bIns="44972">
            <a:spAutoFit/>
          </a:bodyPr>
          <a:lstStyle/>
          <a:p>
            <a:pPr algn="just">
              <a:lnSpc>
                <a:spcPct val="100000"/>
              </a:lnSpc>
            </a:pPr>
            <a:r>
              <a:rPr lang="es-ES" sz="1099" b="1" spc="-1" err="1">
                <a:ea typeface="Soho Gothic Pro Light"/>
              </a:rPr>
              <a:t>Minsait</a:t>
            </a:r>
            <a:r>
              <a:rPr lang="es-ES" sz="1099" b="1" spc="-1">
                <a:ea typeface="Soho Gothic Pro Light"/>
              </a:rPr>
              <a:t> </a:t>
            </a:r>
            <a:r>
              <a:rPr lang="es-ES" sz="1099" b="1" spc="-1" err="1">
                <a:ea typeface="Soho Gothic Pro Light"/>
              </a:rPr>
              <a:t>by</a:t>
            </a:r>
            <a:r>
              <a:rPr lang="es-ES" sz="1099" b="1" spc="-1">
                <a:ea typeface="Soho Gothic Pro Light"/>
              </a:rPr>
              <a:t> Indra (Barcelona, España)</a:t>
            </a:r>
            <a:endParaRPr lang="es-ES" sz="1099" spc="-1">
              <a:latin typeface="Arial"/>
            </a:endParaRPr>
          </a:p>
          <a:p>
            <a:pPr algn="just">
              <a:lnSpc>
                <a:spcPct val="100000"/>
              </a:lnSpc>
            </a:pPr>
            <a:r>
              <a:rPr lang="es-ES" sz="1099" spc="-1">
                <a:ea typeface="Soho Gothic Pro Light"/>
              </a:rPr>
              <a:t>Data </a:t>
            </a:r>
            <a:r>
              <a:rPr lang="es-ES" sz="1099" spc="-1" err="1">
                <a:ea typeface="Soho Gothic Pro Light"/>
              </a:rPr>
              <a:t>Engineer</a:t>
            </a:r>
            <a:r>
              <a:rPr lang="es-ES" sz="1099" spc="-1">
                <a:ea typeface="Soho Gothic Pro Light"/>
              </a:rPr>
              <a:t> / Software </a:t>
            </a:r>
            <a:r>
              <a:rPr lang="es-ES" sz="1099" spc="-1" err="1">
                <a:ea typeface="Soho Gothic Pro Light"/>
              </a:rPr>
              <a:t>Developer</a:t>
            </a:r>
            <a:endParaRPr lang="es-ES" sz="1099" spc="-1">
              <a:ea typeface="Soho Gothic Pro Light"/>
            </a:endParaRPr>
          </a:p>
          <a:p>
            <a:pPr algn="just">
              <a:lnSpc>
                <a:spcPct val="100000"/>
              </a:lnSpc>
            </a:pPr>
            <a:endParaRPr lang="es-ES" sz="1099" spc="-1">
              <a:latin typeface="Arial"/>
            </a:endParaRPr>
          </a:p>
          <a:p>
            <a:pPr marL="171267" indent="-170907" algn="just">
              <a:buClr>
                <a:srgbClr val="1A3B47"/>
              </a:buClr>
              <a:buFont typeface="Arial"/>
              <a:buChar char="•"/>
            </a:pPr>
            <a:r>
              <a:rPr lang="en-US" sz="1099" spc="-1"/>
              <a:t>TSB Bank - Banc Sabadell Project. Construction and implementation of ICS middleware for banking drafts. </a:t>
            </a:r>
          </a:p>
          <a:p>
            <a:pPr marL="171267" indent="-170907" algn="just">
              <a:buClr>
                <a:srgbClr val="1A3B47"/>
              </a:buClr>
              <a:buFont typeface="Arial"/>
              <a:buChar char="•"/>
            </a:pPr>
            <a:r>
              <a:rPr lang="en-US" sz="1099" spc="-1"/>
              <a:t>Performing tasks in the production start-up, management  application incidents, being the link between the team and the client for incidents resolutions, application monitoring and stability in production environment.</a:t>
            </a:r>
            <a:endParaRPr lang="es-ES" sz="1099" spc="-1"/>
          </a:p>
          <a:p>
            <a:pPr marL="171267" indent="-170907" algn="just">
              <a:buClr>
                <a:srgbClr val="1A3B47"/>
              </a:buClr>
              <a:buFont typeface="Arial"/>
              <a:buChar char="•"/>
            </a:pPr>
            <a:r>
              <a:rPr lang="en-US" sz="1099" spc="-1"/>
              <a:t>Development and refactoring middleware application for communication between systems </a:t>
            </a:r>
            <a:r>
              <a:rPr lang="es-ES" sz="1099" spc="-1"/>
              <a:t>Host, </a:t>
            </a:r>
            <a:r>
              <a:rPr lang="es-ES" sz="1099" spc="-1" err="1"/>
              <a:t>Vocalink</a:t>
            </a:r>
            <a:r>
              <a:rPr lang="es-ES" sz="1099" spc="-1"/>
              <a:t> y Kappa </a:t>
            </a:r>
            <a:r>
              <a:rPr lang="es-ES" sz="1099" spc="-1" err="1"/>
              <a:t>for</a:t>
            </a:r>
            <a:r>
              <a:rPr lang="es-ES" sz="1099" spc="-1"/>
              <a:t> </a:t>
            </a:r>
            <a:r>
              <a:rPr lang="es-ES" sz="1099" spc="-1" err="1"/>
              <a:t>Midrange</a:t>
            </a:r>
            <a:r>
              <a:rPr lang="es-ES" sz="1099" spc="-1"/>
              <a:t> (Banco TSB) </a:t>
            </a:r>
            <a:r>
              <a:rPr lang="es-ES" sz="1099" spc="-1" err="1"/>
              <a:t>using</a:t>
            </a:r>
            <a:r>
              <a:rPr lang="es-ES" sz="1099" spc="-1"/>
              <a:t> Java 8, </a:t>
            </a:r>
            <a:r>
              <a:rPr lang="es-ES" sz="1099" spc="-1" err="1"/>
              <a:t>Hibernate</a:t>
            </a:r>
            <a:r>
              <a:rPr lang="es-ES" sz="1099" spc="-1"/>
              <a:t> 5, </a:t>
            </a:r>
            <a:r>
              <a:rPr lang="es-ES" sz="1099" spc="-1" err="1"/>
              <a:t>JUnit</a:t>
            </a:r>
            <a:r>
              <a:rPr lang="es-ES" sz="1099" spc="-1"/>
              <a:t>, </a:t>
            </a:r>
            <a:r>
              <a:rPr lang="es-ES" sz="1099" spc="-1" err="1"/>
              <a:t>Mockito</a:t>
            </a:r>
            <a:r>
              <a:rPr lang="es-ES" sz="1099" spc="-1"/>
              <a:t>, </a:t>
            </a:r>
            <a:r>
              <a:rPr lang="es-ES" sz="1099" spc="-1" err="1"/>
              <a:t>Maven</a:t>
            </a:r>
            <a:r>
              <a:rPr lang="es-ES" sz="1099" spc="-1"/>
              <a:t> 3, A2IA OCR, Oracle 12c, </a:t>
            </a:r>
            <a:r>
              <a:rPr lang="es-ES" sz="1099" spc="-1" err="1"/>
              <a:t>Git</a:t>
            </a:r>
            <a:r>
              <a:rPr lang="es-ES" sz="1099" spc="-1"/>
              <a:t>, </a:t>
            </a:r>
            <a:r>
              <a:rPr lang="es-ES" sz="1099" spc="-1" err="1"/>
              <a:t>Svn</a:t>
            </a:r>
            <a:r>
              <a:rPr lang="es-ES" sz="1099" spc="-1"/>
              <a:t>.</a:t>
            </a:r>
          </a:p>
        </p:txBody>
      </p:sp>
      <p:sp>
        <p:nvSpPr>
          <p:cNvPr id="116" name="CuadroTexto 48_2"/>
          <p:cNvSpPr/>
          <p:nvPr/>
        </p:nvSpPr>
        <p:spPr>
          <a:xfrm>
            <a:off x="124360" y="4553786"/>
            <a:ext cx="839350" cy="507447"/>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899" b="1" spc="-1">
                <a:latin typeface="Soho Gothic Pro Light"/>
                <a:ea typeface="Soho Gothic Pro Light"/>
              </a:rPr>
              <a:t>2018</a:t>
            </a:r>
            <a:endParaRPr lang="es-ES" sz="899" b="1" spc="-1">
              <a:latin typeface="Arial"/>
            </a:endParaRPr>
          </a:p>
          <a:p>
            <a:pPr>
              <a:lnSpc>
                <a:spcPct val="100000"/>
              </a:lnSpc>
            </a:pPr>
            <a:r>
              <a:rPr lang="es-ES" sz="899" b="1" spc="-1">
                <a:latin typeface="Soho Gothic Pro Light"/>
                <a:ea typeface="Soho Gothic Pro Light"/>
              </a:rPr>
              <a:t>—</a:t>
            </a:r>
            <a:endParaRPr lang="es-ES" sz="899" b="1" spc="-1">
              <a:latin typeface="Arial"/>
            </a:endParaRPr>
          </a:p>
          <a:p>
            <a:pPr>
              <a:lnSpc>
                <a:spcPct val="100000"/>
              </a:lnSpc>
            </a:pPr>
            <a:r>
              <a:rPr lang="es-ES" sz="899" b="1" spc="-1">
                <a:latin typeface="Soho Gothic Pro Light"/>
                <a:ea typeface="Soho Gothic Pro Light"/>
              </a:rPr>
              <a:t>2019</a:t>
            </a:r>
            <a:endParaRPr lang="es-ES" sz="899" b="1" spc="-1">
              <a:latin typeface="Arial"/>
            </a:endParaRPr>
          </a:p>
        </p:txBody>
      </p:sp>
      <p:sp>
        <p:nvSpPr>
          <p:cNvPr id="117" name="CuadroTexto 33_0"/>
          <p:cNvSpPr/>
          <p:nvPr/>
        </p:nvSpPr>
        <p:spPr>
          <a:xfrm>
            <a:off x="9434695" y="1543196"/>
            <a:ext cx="2685734" cy="275360"/>
          </a:xfrm>
          <a:prstGeom prst="rect">
            <a:avLst/>
          </a:prstGeom>
          <a:noFill/>
          <a:ln w="0">
            <a:noFill/>
          </a:ln>
        </p:spPr>
        <p:style>
          <a:lnRef idx="0">
            <a:scrgbClr r="0" g="0" b="0"/>
          </a:lnRef>
          <a:fillRef idx="0">
            <a:scrgbClr r="0" g="0" b="0"/>
          </a:fillRef>
          <a:effectRef idx="0">
            <a:scrgbClr r="0" g="0" b="0"/>
          </a:effectRef>
          <a:fontRef idx="minor"/>
        </p:style>
        <p:txBody>
          <a:bodyPr wrap="square" lIns="89943" tIns="44972" rIns="89943" bIns="44972" anchor="t">
            <a:spAutoFit/>
          </a:bodyPr>
          <a:lstStyle/>
          <a:p>
            <a:pPr>
              <a:lnSpc>
                <a:spcPct val="100000"/>
              </a:lnSpc>
            </a:pPr>
            <a:r>
              <a:rPr lang="es-ES" sz="1199" b="1" spc="-1" dirty="0" err="1">
                <a:latin typeface="Soho Gothic Pro Light"/>
              </a:rPr>
              <a:t>Relevant</a:t>
            </a:r>
            <a:r>
              <a:rPr lang="es-ES" sz="1199" b="1" spc="-1" dirty="0">
                <a:latin typeface="Soho Gothic Pro Light"/>
              </a:rPr>
              <a:t> Training </a:t>
            </a:r>
            <a:r>
              <a:rPr lang="es-ES" sz="1199" b="1" spc="-1" dirty="0" err="1">
                <a:latin typeface="Soho Gothic Pro Light"/>
              </a:rPr>
              <a:t>Courses</a:t>
            </a:r>
            <a:endParaRPr lang="es-ES" sz="1199" spc="-1" dirty="0">
              <a:latin typeface="Arial"/>
            </a:endParaRPr>
          </a:p>
        </p:txBody>
      </p:sp>
      <p:sp>
        <p:nvSpPr>
          <p:cNvPr id="35" name="CuadroTexto 45_2"/>
          <p:cNvSpPr/>
          <p:nvPr/>
        </p:nvSpPr>
        <p:spPr>
          <a:xfrm>
            <a:off x="5370410" y="1721008"/>
            <a:ext cx="4034529" cy="1444013"/>
          </a:xfrm>
          <a:prstGeom prst="rect">
            <a:avLst/>
          </a:prstGeom>
          <a:noFill/>
          <a:ln w="0">
            <a:noFill/>
          </a:ln>
        </p:spPr>
        <p:style>
          <a:lnRef idx="0">
            <a:scrgbClr r="0" g="0" b="0"/>
          </a:lnRef>
          <a:fillRef idx="0">
            <a:scrgbClr r="0" g="0" b="0"/>
          </a:fillRef>
          <a:effectRef idx="0">
            <a:scrgbClr r="0" g="0" b="0"/>
          </a:effectRef>
          <a:fontRef idx="minor"/>
        </p:style>
        <p:txBody>
          <a:bodyPr wrap="square" lIns="89943" tIns="44972" rIns="89943" bIns="44972">
            <a:spAutoFit/>
          </a:bodyPr>
          <a:lstStyle/>
          <a:p>
            <a:pPr algn="just">
              <a:lnSpc>
                <a:spcPct val="100000"/>
              </a:lnSpc>
            </a:pPr>
            <a:r>
              <a:rPr lang="es-ES" sz="1099" b="1" spc="-1" err="1">
                <a:ea typeface="Soho Gothic Pro Light"/>
              </a:rPr>
              <a:t>Minsait</a:t>
            </a:r>
            <a:r>
              <a:rPr lang="es-ES" sz="1099" b="1" spc="-1">
                <a:ea typeface="Soho Gothic Pro Light"/>
              </a:rPr>
              <a:t> </a:t>
            </a:r>
            <a:r>
              <a:rPr lang="es-ES" sz="1099" b="1" spc="-1" err="1">
                <a:ea typeface="Soho Gothic Pro Light"/>
              </a:rPr>
              <a:t>by</a:t>
            </a:r>
            <a:r>
              <a:rPr lang="es-ES" sz="1099" b="1" spc="-1">
                <a:ea typeface="Soho Gothic Pro Light"/>
              </a:rPr>
              <a:t> Indra (Barcelona, España)</a:t>
            </a:r>
            <a:endParaRPr lang="es-ES" sz="1099" spc="-1">
              <a:latin typeface="Arial"/>
            </a:endParaRPr>
          </a:p>
          <a:p>
            <a:pPr algn="just">
              <a:lnSpc>
                <a:spcPct val="100000"/>
              </a:lnSpc>
            </a:pPr>
            <a:r>
              <a:rPr lang="es-ES" sz="1099" spc="-1">
                <a:ea typeface="Soho Gothic Pro Light"/>
              </a:rPr>
              <a:t>Data </a:t>
            </a:r>
            <a:r>
              <a:rPr lang="es-ES" sz="1099" spc="-1" err="1">
                <a:ea typeface="Soho Gothic Pro Light"/>
              </a:rPr>
              <a:t>Engineer</a:t>
            </a:r>
            <a:r>
              <a:rPr lang="es-ES" sz="1099" spc="-1">
                <a:ea typeface="Soho Gothic Pro Light"/>
              </a:rPr>
              <a:t>/ Software </a:t>
            </a:r>
            <a:r>
              <a:rPr lang="es-ES" sz="1099" spc="-1" err="1">
                <a:ea typeface="Soho Gothic Pro Light"/>
              </a:rPr>
              <a:t>Developer</a:t>
            </a:r>
            <a:endParaRPr lang="es-ES" sz="1099" spc="-1">
              <a:ea typeface="Soho Gothic Pro Light"/>
            </a:endParaRPr>
          </a:p>
          <a:p>
            <a:pPr algn="just">
              <a:lnSpc>
                <a:spcPct val="100000"/>
              </a:lnSpc>
            </a:pPr>
            <a:endParaRPr lang="es-ES" sz="1099" spc="-1">
              <a:latin typeface="Arial"/>
            </a:endParaRPr>
          </a:p>
          <a:p>
            <a:pPr marL="171357" indent="-171357" algn="just" defTabSz="913882">
              <a:buFont typeface="Arial" panose="020B0604020202020204" pitchFamily="34" charset="0"/>
              <a:buChar char="•"/>
              <a:defRPr b="0" i="0"/>
            </a:pPr>
            <a:r>
              <a:rPr lang="en-US" sz="1099"/>
              <a:t>Analysis, development and implementation of architectures and applications in the Back and Front End for the tourism and interior departments of the </a:t>
            </a:r>
            <a:r>
              <a:rPr lang="en-US" sz="1099" err="1"/>
              <a:t>Generalitat</a:t>
            </a:r>
            <a:r>
              <a:rPr lang="en-US" sz="1099"/>
              <a:t> </a:t>
            </a:r>
            <a:r>
              <a:rPr lang="en-US" sz="1099" err="1"/>
              <a:t>Catalunya</a:t>
            </a:r>
            <a:r>
              <a:rPr lang="en-US" sz="1099"/>
              <a:t> and in applications with </a:t>
            </a:r>
            <a:r>
              <a:rPr lang="en-US" sz="1099" err="1"/>
              <a:t>microservices</a:t>
            </a:r>
            <a:r>
              <a:rPr lang="en-US" sz="1099"/>
              <a:t> and maps using GIS technology viewers.</a:t>
            </a:r>
            <a:endParaRPr lang="es-ES" sz="1099"/>
          </a:p>
        </p:txBody>
      </p:sp>
      <p:sp>
        <p:nvSpPr>
          <p:cNvPr id="36" name="CuadroTexto 48_2"/>
          <p:cNvSpPr/>
          <p:nvPr/>
        </p:nvSpPr>
        <p:spPr>
          <a:xfrm>
            <a:off x="4978664" y="1645186"/>
            <a:ext cx="839350" cy="507447"/>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899" b="1" spc="-1">
                <a:latin typeface="Soho Gothic Pro Light"/>
                <a:ea typeface="Soho Gothic Pro Light"/>
              </a:rPr>
              <a:t>2017</a:t>
            </a:r>
            <a:endParaRPr lang="es-ES" sz="899" b="1" spc="-1">
              <a:latin typeface="Arial"/>
            </a:endParaRPr>
          </a:p>
          <a:p>
            <a:pPr>
              <a:lnSpc>
                <a:spcPct val="100000"/>
              </a:lnSpc>
            </a:pPr>
            <a:r>
              <a:rPr lang="es-ES" sz="899" b="1" spc="-1">
                <a:latin typeface="Soho Gothic Pro Light"/>
                <a:ea typeface="Soho Gothic Pro Light"/>
              </a:rPr>
              <a:t>—</a:t>
            </a:r>
            <a:endParaRPr lang="es-ES" sz="899" b="1" spc="-1">
              <a:latin typeface="Arial"/>
            </a:endParaRPr>
          </a:p>
          <a:p>
            <a:pPr>
              <a:lnSpc>
                <a:spcPct val="100000"/>
              </a:lnSpc>
            </a:pPr>
            <a:r>
              <a:rPr lang="es-ES" sz="899" b="1" spc="-1">
                <a:latin typeface="Soho Gothic Pro Light"/>
                <a:ea typeface="Soho Gothic Pro Light"/>
              </a:rPr>
              <a:t>2018</a:t>
            </a:r>
            <a:endParaRPr lang="es-ES" sz="899" b="1" spc="-1">
              <a:latin typeface="Arial"/>
            </a:endParaRPr>
          </a:p>
        </p:txBody>
      </p:sp>
      <p:sp>
        <p:nvSpPr>
          <p:cNvPr id="27" name="CuadroTexto 45_2"/>
          <p:cNvSpPr/>
          <p:nvPr/>
        </p:nvSpPr>
        <p:spPr>
          <a:xfrm>
            <a:off x="5392883" y="3738308"/>
            <a:ext cx="4035537" cy="936567"/>
          </a:xfrm>
          <a:prstGeom prst="rect">
            <a:avLst/>
          </a:prstGeom>
          <a:noFill/>
          <a:ln w="0">
            <a:noFill/>
          </a:ln>
        </p:spPr>
        <p:style>
          <a:lnRef idx="0">
            <a:scrgbClr r="0" g="0" b="0"/>
          </a:lnRef>
          <a:fillRef idx="0">
            <a:scrgbClr r="0" g="0" b="0"/>
          </a:fillRef>
          <a:effectRef idx="0">
            <a:scrgbClr r="0" g="0" b="0"/>
          </a:effectRef>
          <a:fontRef idx="minor"/>
        </p:style>
        <p:txBody>
          <a:bodyPr wrap="square" lIns="89943" tIns="44972" rIns="89943" bIns="44972">
            <a:spAutoFit/>
          </a:bodyPr>
          <a:lstStyle/>
          <a:p>
            <a:pPr algn="just">
              <a:lnSpc>
                <a:spcPct val="100000"/>
              </a:lnSpc>
            </a:pPr>
            <a:r>
              <a:rPr lang="es-ES" sz="1099" b="1" spc="-1" err="1">
                <a:ea typeface="Soho Gothic Pro Light"/>
              </a:rPr>
              <a:t>Minsait</a:t>
            </a:r>
            <a:r>
              <a:rPr lang="es-ES" sz="1099" b="1" spc="-1">
                <a:ea typeface="Soho Gothic Pro Light"/>
              </a:rPr>
              <a:t> </a:t>
            </a:r>
            <a:r>
              <a:rPr lang="es-ES" sz="1099" b="1" spc="-1" err="1">
                <a:ea typeface="Soho Gothic Pro Light"/>
              </a:rPr>
              <a:t>by</a:t>
            </a:r>
            <a:r>
              <a:rPr lang="es-ES" sz="1099" b="1" spc="-1">
                <a:ea typeface="Soho Gothic Pro Light"/>
              </a:rPr>
              <a:t> Indra (Barcelona, España)</a:t>
            </a:r>
            <a:endParaRPr lang="es-ES" sz="1099" spc="-1">
              <a:latin typeface="Arial"/>
            </a:endParaRPr>
          </a:p>
          <a:p>
            <a:pPr algn="just">
              <a:lnSpc>
                <a:spcPct val="100000"/>
              </a:lnSpc>
            </a:pPr>
            <a:r>
              <a:rPr lang="es-ES" sz="1099" spc="-1">
                <a:ea typeface="Soho Gothic Pro Light"/>
              </a:rPr>
              <a:t>Software </a:t>
            </a:r>
            <a:r>
              <a:rPr lang="es-ES" sz="1099" spc="-1" err="1">
                <a:ea typeface="Soho Gothic Pro Light"/>
              </a:rPr>
              <a:t>Developer</a:t>
            </a:r>
            <a:r>
              <a:rPr lang="es-ES" sz="1099" spc="-1">
                <a:ea typeface="Soho Gothic Pro Light"/>
              </a:rPr>
              <a:t> / </a:t>
            </a:r>
            <a:r>
              <a:rPr lang="es-ES" sz="1099" spc="-1" err="1">
                <a:ea typeface="Soho Gothic Pro Light"/>
              </a:rPr>
              <a:t>Analyst</a:t>
            </a:r>
            <a:endParaRPr lang="es-ES" sz="1099" spc="-1">
              <a:latin typeface="Arial"/>
            </a:endParaRPr>
          </a:p>
          <a:p>
            <a:pPr algn="just">
              <a:lnSpc>
                <a:spcPct val="100000"/>
              </a:lnSpc>
            </a:pPr>
            <a:endParaRPr lang="es-ES" sz="1099" spc="-1">
              <a:latin typeface="Arial"/>
            </a:endParaRPr>
          </a:p>
          <a:p>
            <a:pPr marL="171357" indent="-171357" algn="just" defTabSz="913882">
              <a:buFont typeface="Arial" panose="020B0604020202020204" pitchFamily="34" charset="0"/>
              <a:buChar char="•"/>
              <a:defRPr b="0" i="0"/>
            </a:pPr>
            <a:r>
              <a:rPr lang="en-US" sz="1099"/>
              <a:t>Analysis and Development of banking and insurances software &amp; applications </a:t>
            </a:r>
            <a:r>
              <a:rPr lang="es-ES" sz="1099" err="1"/>
              <a:t>with</a:t>
            </a:r>
            <a:r>
              <a:rPr lang="es-ES" sz="1099"/>
              <a:t> dual </a:t>
            </a:r>
            <a:r>
              <a:rPr lang="es-ES" sz="1099" err="1"/>
              <a:t>profile</a:t>
            </a:r>
            <a:r>
              <a:rPr lang="es-ES" sz="1099"/>
              <a:t> (Java &amp; Host).</a:t>
            </a:r>
          </a:p>
        </p:txBody>
      </p:sp>
      <p:sp>
        <p:nvSpPr>
          <p:cNvPr id="28" name="CuadroTexto 48_2"/>
          <p:cNvSpPr/>
          <p:nvPr/>
        </p:nvSpPr>
        <p:spPr>
          <a:xfrm>
            <a:off x="4973207" y="3752237"/>
            <a:ext cx="839350" cy="507447"/>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899" b="1" spc="-1">
                <a:latin typeface="Soho Gothic Pro Light"/>
                <a:ea typeface="Soho Gothic Pro Light"/>
              </a:rPr>
              <a:t>2015</a:t>
            </a:r>
            <a:endParaRPr lang="es-ES" sz="899" b="1" spc="-1">
              <a:latin typeface="Arial"/>
            </a:endParaRPr>
          </a:p>
          <a:p>
            <a:pPr>
              <a:lnSpc>
                <a:spcPct val="100000"/>
              </a:lnSpc>
            </a:pPr>
            <a:r>
              <a:rPr lang="es-ES" sz="899" b="1" spc="-1">
                <a:latin typeface="Soho Gothic Pro Light"/>
                <a:ea typeface="Soho Gothic Pro Light"/>
              </a:rPr>
              <a:t>—</a:t>
            </a:r>
            <a:endParaRPr lang="es-ES" sz="899" b="1" spc="-1">
              <a:latin typeface="Arial"/>
            </a:endParaRPr>
          </a:p>
          <a:p>
            <a:pPr>
              <a:lnSpc>
                <a:spcPct val="100000"/>
              </a:lnSpc>
            </a:pPr>
            <a:r>
              <a:rPr lang="es-ES" sz="899" b="1" spc="-1">
                <a:latin typeface="Soho Gothic Pro Light"/>
                <a:ea typeface="Soho Gothic Pro Light"/>
              </a:rPr>
              <a:t>2017</a:t>
            </a:r>
            <a:endParaRPr lang="es-ES" sz="899" b="1" spc="-1">
              <a:latin typeface="Arial"/>
            </a:endParaRPr>
          </a:p>
        </p:txBody>
      </p:sp>
      <p:sp>
        <p:nvSpPr>
          <p:cNvPr id="29" name="CuadroTexto 73_0"/>
          <p:cNvSpPr/>
          <p:nvPr/>
        </p:nvSpPr>
        <p:spPr>
          <a:xfrm>
            <a:off x="9435946" y="1184553"/>
            <a:ext cx="551172" cy="507388"/>
          </a:xfrm>
          <a:prstGeom prst="rect">
            <a:avLst/>
          </a:prstGeom>
          <a:noFill/>
          <a:ln w="0">
            <a:noFill/>
          </a:ln>
        </p:spPr>
        <p:style>
          <a:lnRef idx="0">
            <a:scrgbClr r="0" g="0" b="0"/>
          </a:lnRef>
          <a:fillRef idx="0">
            <a:scrgbClr r="0" g="0" b="0"/>
          </a:fillRef>
          <a:effectRef idx="0">
            <a:scrgbClr r="0" g="0" b="0"/>
          </a:effectRef>
          <a:fontRef idx="minor"/>
        </p:style>
        <p:txBody>
          <a:bodyPr lIns="91382" tIns="45691" rIns="91382" bIns="45691" anchor="t">
            <a:spAutoFit/>
          </a:bodyPr>
          <a:lstStyle/>
          <a:p>
            <a:pPr>
              <a:lnSpc>
                <a:spcPct val="100000"/>
              </a:lnSpc>
            </a:pPr>
            <a:r>
              <a:rPr lang="es-ES" sz="899" spc="-1">
                <a:latin typeface="Soho Gothic Pro Medium"/>
              </a:rPr>
              <a:t>2019</a:t>
            </a:r>
            <a:endParaRPr lang="es-ES" sz="899" spc="-1">
              <a:latin typeface="Arial"/>
            </a:endParaRPr>
          </a:p>
          <a:p>
            <a:pPr>
              <a:lnSpc>
                <a:spcPct val="100000"/>
              </a:lnSpc>
            </a:pPr>
            <a:endParaRPr lang="es-ES" sz="899" spc="-1">
              <a:solidFill>
                <a:srgbClr val="FF0000"/>
              </a:solidFill>
              <a:latin typeface="Soho Gothic Pro Medium"/>
            </a:endParaRPr>
          </a:p>
          <a:p>
            <a:pPr>
              <a:lnSpc>
                <a:spcPct val="100000"/>
              </a:lnSpc>
            </a:pPr>
            <a:endParaRPr lang="es-ES" sz="899" spc="-1">
              <a:solidFill>
                <a:srgbClr val="FF0000"/>
              </a:solidFill>
              <a:latin typeface="Soho Gothic Pro Medium"/>
            </a:endParaRPr>
          </a:p>
        </p:txBody>
      </p:sp>
      <p:sp>
        <p:nvSpPr>
          <p:cNvPr id="32" name="CuadroTexto 45_2"/>
          <p:cNvSpPr/>
          <p:nvPr/>
        </p:nvSpPr>
        <p:spPr>
          <a:xfrm>
            <a:off x="5434006" y="5094521"/>
            <a:ext cx="3845970" cy="936567"/>
          </a:xfrm>
          <a:prstGeom prst="rect">
            <a:avLst/>
          </a:prstGeom>
          <a:noFill/>
          <a:ln w="0">
            <a:noFill/>
          </a:ln>
        </p:spPr>
        <p:style>
          <a:lnRef idx="0">
            <a:scrgbClr r="0" g="0" b="0"/>
          </a:lnRef>
          <a:fillRef idx="0">
            <a:scrgbClr r="0" g="0" b="0"/>
          </a:fillRef>
          <a:effectRef idx="0">
            <a:scrgbClr r="0" g="0" b="0"/>
          </a:effectRef>
          <a:fontRef idx="minor"/>
        </p:style>
        <p:txBody>
          <a:bodyPr lIns="89943" tIns="44972" rIns="89943" bIns="44972">
            <a:spAutoFit/>
          </a:bodyPr>
          <a:lstStyle/>
          <a:p>
            <a:pPr algn="just">
              <a:lnSpc>
                <a:spcPct val="100000"/>
              </a:lnSpc>
            </a:pPr>
            <a:r>
              <a:rPr lang="es-ES" sz="1099" b="1" spc="-1" err="1">
                <a:ea typeface="Soho Gothic Pro Light"/>
              </a:rPr>
              <a:t>Minsait</a:t>
            </a:r>
            <a:r>
              <a:rPr lang="es-ES" sz="1099" b="1" spc="-1">
                <a:ea typeface="Soho Gothic Pro Light"/>
              </a:rPr>
              <a:t> </a:t>
            </a:r>
            <a:r>
              <a:rPr lang="es-ES" sz="1099" b="1" spc="-1" err="1">
                <a:ea typeface="Soho Gothic Pro Light"/>
              </a:rPr>
              <a:t>by</a:t>
            </a:r>
            <a:r>
              <a:rPr lang="es-ES" sz="1099" b="1" spc="-1">
                <a:ea typeface="Soho Gothic Pro Light"/>
              </a:rPr>
              <a:t> Indra (Barcelona, España)</a:t>
            </a:r>
            <a:endParaRPr lang="es-ES" sz="1099" spc="-1">
              <a:latin typeface="Arial"/>
            </a:endParaRPr>
          </a:p>
          <a:p>
            <a:pPr algn="just">
              <a:lnSpc>
                <a:spcPct val="100000"/>
              </a:lnSpc>
            </a:pPr>
            <a:r>
              <a:rPr lang="es-ES" sz="1099" spc="-1">
                <a:ea typeface="Soho Gothic Pro Light"/>
              </a:rPr>
              <a:t>Software </a:t>
            </a:r>
            <a:r>
              <a:rPr lang="es-ES" sz="1099" spc="-1" err="1">
                <a:ea typeface="Soho Gothic Pro Light"/>
              </a:rPr>
              <a:t>Developer</a:t>
            </a:r>
            <a:endParaRPr lang="es-ES" sz="1099" spc="-1">
              <a:ea typeface="Soho Gothic Pro Light"/>
            </a:endParaRPr>
          </a:p>
          <a:p>
            <a:pPr algn="just">
              <a:lnSpc>
                <a:spcPct val="100000"/>
              </a:lnSpc>
            </a:pPr>
            <a:endParaRPr lang="es-ES" sz="1099" spc="-1">
              <a:latin typeface="Arial"/>
            </a:endParaRPr>
          </a:p>
          <a:p>
            <a:pPr marL="171357" indent="-171357" algn="just" defTabSz="913882">
              <a:buFont typeface="Arial" panose="020B0604020202020204" pitchFamily="34" charset="0"/>
              <a:buChar char="•"/>
              <a:defRPr b="0" i="0"/>
            </a:pPr>
            <a:r>
              <a:rPr lang="en-US" sz="1099"/>
              <a:t>Web applications development in the Back End and Front End</a:t>
            </a:r>
            <a:endParaRPr lang="es-ES" sz="1099"/>
          </a:p>
        </p:txBody>
      </p:sp>
      <p:sp>
        <p:nvSpPr>
          <p:cNvPr id="38" name="CuadroTexto 48_2"/>
          <p:cNvSpPr/>
          <p:nvPr/>
        </p:nvSpPr>
        <p:spPr>
          <a:xfrm>
            <a:off x="5014330" y="5085818"/>
            <a:ext cx="839350" cy="507447"/>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899" b="1" spc="-1">
                <a:latin typeface="Soho Gothic Pro Light"/>
                <a:ea typeface="Soho Gothic Pro Light"/>
              </a:rPr>
              <a:t>2010</a:t>
            </a:r>
            <a:endParaRPr lang="es-ES" sz="899" b="1" spc="-1">
              <a:latin typeface="Arial"/>
            </a:endParaRPr>
          </a:p>
          <a:p>
            <a:pPr>
              <a:lnSpc>
                <a:spcPct val="100000"/>
              </a:lnSpc>
            </a:pPr>
            <a:r>
              <a:rPr lang="es-ES" sz="899" b="1" spc="-1">
                <a:latin typeface="Soho Gothic Pro Light"/>
                <a:ea typeface="Soho Gothic Pro Light"/>
              </a:rPr>
              <a:t>—</a:t>
            </a:r>
            <a:endParaRPr lang="es-ES" sz="899" b="1" spc="-1">
              <a:latin typeface="Arial"/>
            </a:endParaRPr>
          </a:p>
          <a:p>
            <a:pPr>
              <a:lnSpc>
                <a:spcPct val="100000"/>
              </a:lnSpc>
            </a:pPr>
            <a:r>
              <a:rPr lang="es-ES" sz="899" b="1" spc="-1">
                <a:latin typeface="Soho Gothic Pro Light"/>
                <a:ea typeface="Soho Gothic Pro Light"/>
              </a:rPr>
              <a:t>2014</a:t>
            </a:r>
            <a:endParaRPr lang="es-ES" sz="899" b="1" spc="-1">
              <a:latin typeface="Arial"/>
            </a:endParaRPr>
          </a:p>
        </p:txBody>
      </p:sp>
      <p:sp>
        <p:nvSpPr>
          <p:cNvPr id="31" name="CuadroTexto 73_0">
            <a:extLst>
              <a:ext uri="{FF2B5EF4-FFF2-40B4-BE49-F238E27FC236}">
                <a16:creationId xmlns:a16="http://schemas.microsoft.com/office/drawing/2014/main" id="{7796213A-8BEC-48C5-8800-871952BC6CB4}"/>
              </a:ext>
            </a:extLst>
          </p:cNvPr>
          <p:cNvSpPr/>
          <p:nvPr/>
        </p:nvSpPr>
        <p:spPr>
          <a:xfrm>
            <a:off x="9435947" y="752764"/>
            <a:ext cx="551172" cy="507388"/>
          </a:xfrm>
          <a:prstGeom prst="rect">
            <a:avLst/>
          </a:prstGeom>
          <a:noFill/>
          <a:ln w="0">
            <a:noFill/>
          </a:ln>
        </p:spPr>
        <p:style>
          <a:lnRef idx="0">
            <a:scrgbClr r="0" g="0" b="0"/>
          </a:lnRef>
          <a:fillRef idx="0">
            <a:scrgbClr r="0" g="0" b="0"/>
          </a:fillRef>
          <a:effectRef idx="0">
            <a:scrgbClr r="0" g="0" b="0"/>
          </a:effectRef>
          <a:fontRef idx="minor"/>
        </p:style>
        <p:txBody>
          <a:bodyPr lIns="91382" tIns="45691" rIns="91382" bIns="45691" anchor="t">
            <a:spAutoFit/>
          </a:bodyPr>
          <a:lstStyle/>
          <a:p>
            <a:pPr>
              <a:lnSpc>
                <a:spcPct val="100000"/>
              </a:lnSpc>
            </a:pPr>
            <a:r>
              <a:rPr lang="es-ES" sz="899" spc="-1">
                <a:latin typeface="Soho Gothic Pro Medium"/>
              </a:rPr>
              <a:t>2019</a:t>
            </a:r>
            <a:endParaRPr lang="es-ES" sz="899" spc="-1">
              <a:latin typeface="Arial"/>
            </a:endParaRPr>
          </a:p>
          <a:p>
            <a:pPr>
              <a:lnSpc>
                <a:spcPct val="100000"/>
              </a:lnSpc>
            </a:pPr>
            <a:endParaRPr lang="es-ES" sz="899" spc="-1">
              <a:solidFill>
                <a:srgbClr val="FF0000"/>
              </a:solidFill>
              <a:latin typeface="Soho Gothic Pro Medium"/>
            </a:endParaRPr>
          </a:p>
          <a:p>
            <a:pPr>
              <a:lnSpc>
                <a:spcPct val="100000"/>
              </a:lnSpc>
            </a:pPr>
            <a:endParaRPr lang="es-ES" sz="899" spc="-1">
              <a:solidFill>
                <a:srgbClr val="FF0000"/>
              </a:solidFill>
              <a:latin typeface="Soho Gothic Pro Medium"/>
            </a:endParaRPr>
          </a:p>
        </p:txBody>
      </p:sp>
      <p:sp>
        <p:nvSpPr>
          <p:cNvPr id="30" name="CuadroTexto 44_0"/>
          <p:cNvSpPr/>
          <p:nvPr/>
        </p:nvSpPr>
        <p:spPr>
          <a:xfrm>
            <a:off x="577521" y="3165192"/>
            <a:ext cx="4382274" cy="1276375"/>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lnSpc>
                <a:spcPct val="100000"/>
              </a:lnSpc>
            </a:pPr>
            <a:r>
              <a:rPr lang="es-ES" sz="1099" b="1" spc="-1" err="1">
                <a:ea typeface="Soho Gothic Pro Light"/>
              </a:rPr>
              <a:t>Minsait</a:t>
            </a:r>
            <a:r>
              <a:rPr lang="es-ES" sz="1099" b="1" spc="-1">
                <a:ea typeface="Soho Gothic Pro Light"/>
              </a:rPr>
              <a:t> </a:t>
            </a:r>
            <a:r>
              <a:rPr lang="es-ES" sz="1099" b="1" spc="-1" err="1">
                <a:ea typeface="Soho Gothic Pro Light"/>
              </a:rPr>
              <a:t>by</a:t>
            </a:r>
            <a:r>
              <a:rPr lang="es-ES" sz="1099" b="1" spc="-1">
                <a:ea typeface="Soho Gothic Pro Light"/>
              </a:rPr>
              <a:t> Indra (Barcelona, España)</a:t>
            </a:r>
          </a:p>
          <a:p>
            <a:pPr algn="just"/>
            <a:r>
              <a:rPr lang="es-ES" sz="1099" spc="-1">
                <a:ea typeface="Soho Gothic Pro Light"/>
              </a:rPr>
              <a:t>Data </a:t>
            </a:r>
            <a:r>
              <a:rPr lang="es-ES" sz="1099" spc="-1" err="1">
                <a:ea typeface="Soho Gothic Pro Light"/>
              </a:rPr>
              <a:t>Engineer</a:t>
            </a:r>
            <a:r>
              <a:rPr lang="es-ES" sz="1099" spc="-1">
                <a:ea typeface="Soho Gothic Pro Light"/>
              </a:rPr>
              <a:t> / Software </a:t>
            </a:r>
            <a:r>
              <a:rPr lang="es-ES" sz="1099" spc="-1" err="1">
                <a:ea typeface="Soho Gothic Pro Light"/>
              </a:rPr>
              <a:t>Developer</a:t>
            </a:r>
            <a:endParaRPr lang="es-ES" sz="1099" spc="-1">
              <a:ea typeface="Soho Gothic Pro Light"/>
            </a:endParaRPr>
          </a:p>
          <a:p>
            <a:pPr algn="just">
              <a:lnSpc>
                <a:spcPct val="100000"/>
              </a:lnSpc>
            </a:pPr>
            <a:endParaRPr lang="es-ES" sz="1099" spc="-1">
              <a:latin typeface="Arial"/>
            </a:endParaRPr>
          </a:p>
          <a:p>
            <a:pPr marL="171267" indent="-170907" algn="just">
              <a:buClr>
                <a:srgbClr val="1A3B47"/>
              </a:buClr>
              <a:buFont typeface="Arial,Sans-Serif"/>
              <a:buChar char="•"/>
            </a:pPr>
            <a:r>
              <a:rPr lang="en-US" sz="1099" spc="-1"/>
              <a:t>Document Manager on Mongo-HDFS (cache or hot zone) and historical (cold zone) for the public administration. System that allows the authentic copy and integration with other Document Managers using Big Data technology.</a:t>
            </a:r>
            <a:endParaRPr lang="es-ES" sz="1099" spc="-1"/>
          </a:p>
        </p:txBody>
      </p:sp>
      <p:sp>
        <p:nvSpPr>
          <p:cNvPr id="33" name="CuadroTexto 39_0"/>
          <p:cNvSpPr/>
          <p:nvPr/>
        </p:nvSpPr>
        <p:spPr>
          <a:xfrm>
            <a:off x="165564" y="1768994"/>
            <a:ext cx="551172" cy="645818"/>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899" b="1" spc="-1">
                <a:latin typeface="Soho Gothic Pro Light"/>
                <a:ea typeface="Soho Gothic Pro Light"/>
              </a:rPr>
              <a:t>ACT</a:t>
            </a:r>
            <a:endParaRPr lang="es-ES" sz="899" b="1" spc="-1">
              <a:latin typeface="Arial"/>
            </a:endParaRPr>
          </a:p>
          <a:p>
            <a:pPr>
              <a:lnSpc>
                <a:spcPct val="100000"/>
              </a:lnSpc>
            </a:pPr>
            <a:r>
              <a:rPr lang="es-ES" sz="899" b="1" spc="-1">
                <a:latin typeface="Soho Gothic Pro Light"/>
                <a:ea typeface="Soho Gothic Pro Light"/>
              </a:rPr>
              <a:t>—</a:t>
            </a:r>
            <a:endParaRPr lang="es-ES" sz="899" b="1" spc="-1">
              <a:latin typeface="Arial"/>
            </a:endParaRPr>
          </a:p>
          <a:p>
            <a:pPr>
              <a:lnSpc>
                <a:spcPct val="100000"/>
              </a:lnSpc>
            </a:pPr>
            <a:r>
              <a:rPr lang="es-ES" sz="899" b="1" spc="-1">
                <a:latin typeface="Soho Gothic Pro Light"/>
                <a:ea typeface="Soho Gothic Pro Light"/>
              </a:rPr>
              <a:t>2021</a:t>
            </a:r>
            <a:endParaRPr lang="es-ES" sz="899" b="1" spc="-1">
              <a:latin typeface="Arial"/>
            </a:endParaRPr>
          </a:p>
          <a:p>
            <a:pPr>
              <a:lnSpc>
                <a:spcPct val="100000"/>
              </a:lnSpc>
            </a:pPr>
            <a:endParaRPr lang="es-ES" sz="899" spc="-1">
              <a:latin typeface="Arial"/>
            </a:endParaRPr>
          </a:p>
        </p:txBody>
      </p:sp>
      <p:sp>
        <p:nvSpPr>
          <p:cNvPr id="34" name="CuadroTexto 30_0"/>
          <p:cNvSpPr/>
          <p:nvPr/>
        </p:nvSpPr>
        <p:spPr>
          <a:xfrm>
            <a:off x="5143500" y="152640"/>
            <a:ext cx="421470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2000" spc="-1" dirty="0">
                <a:solidFill>
                  <a:schemeClr val="bg1"/>
                </a:solidFill>
                <a:ea typeface="Soho Gothic Pro Light"/>
              </a:rPr>
              <a:t>Alejandro Rebaque Hernández</a:t>
            </a:r>
            <a:endParaRPr lang="es-ES" sz="2000" b="0" strike="noStrike" spc="-1" dirty="0">
              <a:solidFill>
                <a:schemeClr val="bg1"/>
              </a:solidFill>
              <a:latin typeface="Arial"/>
            </a:endParaRPr>
          </a:p>
        </p:txBody>
      </p:sp>
    </p:spTree>
    <p:extLst>
      <p:ext uri="{BB962C8B-B14F-4D97-AF65-F5344CB8AC3E}">
        <p14:creationId xmlns:p14="http://schemas.microsoft.com/office/powerpoint/2010/main" val="2562392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stomShape 2"/>
          <p:cNvSpPr/>
          <p:nvPr/>
        </p:nvSpPr>
        <p:spPr>
          <a:xfrm>
            <a:off x="0" y="0"/>
            <a:ext cx="9388192" cy="598607"/>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39" name="Rectángulo 38">
            <a:extLst>
              <a:ext uri="{FF2B5EF4-FFF2-40B4-BE49-F238E27FC236}">
                <a16:creationId xmlns:a16="http://schemas.microsoft.com/office/drawing/2014/main" id="{187520E2-A78B-FB4C-BB66-37962870F3B0}"/>
              </a:ext>
            </a:extLst>
          </p:cNvPr>
          <p:cNvSpPr/>
          <p:nvPr/>
        </p:nvSpPr>
        <p:spPr>
          <a:xfrm>
            <a:off x="9358021" y="0"/>
            <a:ext cx="2829080" cy="7092275"/>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1">
              <a:solidFill>
                <a:schemeClr val="tx1"/>
              </a:solidFill>
            </a:endParaRPr>
          </a:p>
        </p:txBody>
      </p:sp>
      <p:sp>
        <p:nvSpPr>
          <p:cNvPr id="37" name="CuadroTexto 36">
            <a:extLst>
              <a:ext uri="{FF2B5EF4-FFF2-40B4-BE49-F238E27FC236}">
                <a16:creationId xmlns:a16="http://schemas.microsoft.com/office/drawing/2014/main" id="{E4530058-C2FA-384F-825E-F61EC4296641}"/>
              </a:ext>
            </a:extLst>
          </p:cNvPr>
          <p:cNvSpPr txBox="1"/>
          <p:nvPr/>
        </p:nvSpPr>
        <p:spPr>
          <a:xfrm>
            <a:off x="87086" y="632143"/>
            <a:ext cx="9301106" cy="874085"/>
          </a:xfrm>
          <a:prstGeom prst="rect">
            <a:avLst/>
          </a:prstGeom>
          <a:noFill/>
        </p:spPr>
        <p:txBody>
          <a:bodyPr wrap="square" lIns="91440" tIns="45720" rIns="91440" bIns="45720" rtlCol="0" anchor="t">
            <a:spAutoFit/>
          </a:bodyPr>
          <a:lstStyle/>
          <a:p>
            <a:pPr>
              <a:lnSpc>
                <a:spcPct val="107000"/>
              </a:lnSpc>
              <a:spcAft>
                <a:spcPts val="800"/>
              </a:spcAft>
            </a:pPr>
            <a:r>
              <a:rPr lang="es-ES" sz="1200">
                <a:latin typeface="Calibri" panose="020F0502020204030204" pitchFamily="34" charset="0"/>
                <a:ea typeface="Calibri" panose="020F0502020204030204" pitchFamily="34" charset="0"/>
                <a:cs typeface="Times New Roman" panose="02020603050405020304" pitchFamily="18" charset="0"/>
              </a:rPr>
              <a:t>Big Data </a:t>
            </a:r>
            <a:r>
              <a:rPr lang="es-ES" sz="1200" err="1">
                <a:latin typeface="Calibri" panose="020F0502020204030204" pitchFamily="34" charset="0"/>
                <a:ea typeface="Calibri" panose="020F0502020204030204" pitchFamily="34" charset="0"/>
                <a:cs typeface="Times New Roman" panose="02020603050405020304" pitchFamily="18" charset="0"/>
              </a:rPr>
              <a:t>Engineer</a:t>
            </a:r>
            <a:r>
              <a:rPr lang="es-ES" sz="1200">
                <a:latin typeface="Calibri" panose="020F0502020204030204" pitchFamily="34" charset="0"/>
                <a:ea typeface="Calibri" panose="020F0502020204030204" pitchFamily="34" charset="0"/>
                <a:cs typeface="Times New Roman" panose="02020603050405020304" pitchFamily="18" charset="0"/>
              </a:rPr>
              <a:t>, con más de 10 años de experiencia en el sector IT, definiendo requerimientos, planificando soluciones e implementaciones. Administración Publica tanto en España como en Argentina. En los últimos 2 años en Indra, trabajando en la definición/implementación de ETL en entornos </a:t>
            </a:r>
            <a:r>
              <a:rPr lang="es-ES" sz="1200" err="1">
                <a:latin typeface="Calibri" panose="020F0502020204030204" pitchFamily="34" charset="0"/>
                <a:ea typeface="Calibri" panose="020F0502020204030204" pitchFamily="34" charset="0"/>
                <a:cs typeface="Times New Roman" panose="02020603050405020304" pitchFamily="18" charset="0"/>
              </a:rPr>
              <a:t>on-premise</a:t>
            </a:r>
            <a:r>
              <a:rPr lang="es-ES" sz="1200">
                <a:latin typeface="Calibri" panose="020F0502020204030204" pitchFamily="34" charset="0"/>
                <a:ea typeface="Calibri" panose="020F0502020204030204" pitchFamily="34" charset="0"/>
                <a:cs typeface="Times New Roman" panose="02020603050405020304" pitchFamily="18" charset="0"/>
              </a:rPr>
              <a:t> de </a:t>
            </a:r>
            <a:r>
              <a:rPr lang="es-ES" sz="1200" err="1">
                <a:latin typeface="Calibri" panose="020F0502020204030204" pitchFamily="34" charset="0"/>
                <a:ea typeface="Calibri" panose="020F0502020204030204" pitchFamily="34" charset="0"/>
                <a:cs typeface="Times New Roman" panose="02020603050405020304" pitchFamily="18" charset="0"/>
              </a:rPr>
              <a:t>Cloudera</a:t>
            </a:r>
            <a:r>
              <a:rPr lang="es-ES" sz="1200">
                <a:latin typeface="Calibri" panose="020F0502020204030204" pitchFamily="34" charset="0"/>
                <a:ea typeface="Calibri" panose="020F0502020204030204" pitchFamily="34" charset="0"/>
                <a:cs typeface="Times New Roman" panose="02020603050405020304" pitchFamily="18" charset="0"/>
              </a:rPr>
              <a:t>. Tecnologías: </a:t>
            </a:r>
            <a:r>
              <a:rPr lang="es-ES" sz="1200" err="1">
                <a:latin typeface="Calibri" panose="020F0502020204030204" pitchFamily="34" charset="0"/>
                <a:ea typeface="Calibri" panose="020F0502020204030204" pitchFamily="34" charset="0"/>
                <a:cs typeface="Times New Roman" panose="02020603050405020304" pitchFamily="18" charset="0"/>
              </a:rPr>
              <a:t>Spark</a:t>
            </a:r>
            <a:r>
              <a:rPr lang="es-ES" sz="1200">
                <a:latin typeface="Calibri" panose="020F0502020204030204" pitchFamily="34" charset="0"/>
                <a:ea typeface="Calibri" panose="020F0502020204030204" pitchFamily="34" charset="0"/>
                <a:cs typeface="Times New Roman" panose="02020603050405020304" pitchFamily="18" charset="0"/>
              </a:rPr>
              <a:t>, HDFS, </a:t>
            </a:r>
            <a:r>
              <a:rPr lang="es-ES" sz="1200" err="1">
                <a:latin typeface="Calibri" panose="020F0502020204030204" pitchFamily="34" charset="0"/>
                <a:ea typeface="Calibri" panose="020F0502020204030204" pitchFamily="34" charset="0"/>
                <a:cs typeface="Times New Roman" panose="02020603050405020304" pitchFamily="18" charset="0"/>
              </a:rPr>
              <a:t>Kudu</a:t>
            </a:r>
            <a:r>
              <a:rPr lang="es-ES" sz="1200">
                <a:latin typeface="Calibri" panose="020F0502020204030204" pitchFamily="34" charset="0"/>
                <a:ea typeface="Calibri" panose="020F0502020204030204" pitchFamily="34" charset="0"/>
                <a:cs typeface="Times New Roman" panose="02020603050405020304" pitchFamily="18" charset="0"/>
              </a:rPr>
              <a:t>, </a:t>
            </a:r>
            <a:r>
              <a:rPr lang="es-ES" sz="1200" err="1">
                <a:latin typeface="Calibri" panose="020F0502020204030204" pitchFamily="34" charset="0"/>
                <a:ea typeface="Calibri" panose="020F0502020204030204" pitchFamily="34" charset="0"/>
                <a:cs typeface="Times New Roman" panose="02020603050405020304" pitchFamily="18" charset="0"/>
              </a:rPr>
              <a:t>MongoDB</a:t>
            </a:r>
            <a:r>
              <a:rPr lang="es-ES" sz="1200">
                <a:latin typeface="Calibri" panose="020F0502020204030204" pitchFamily="34" charset="0"/>
                <a:ea typeface="Calibri" panose="020F0502020204030204" pitchFamily="34" charset="0"/>
                <a:cs typeface="Times New Roman" panose="02020603050405020304" pitchFamily="18" charset="0"/>
              </a:rPr>
              <a:t>, Neo4j, AKKA </a:t>
            </a:r>
            <a:r>
              <a:rPr lang="es-ES" sz="1200" err="1">
                <a:latin typeface="Calibri" panose="020F0502020204030204" pitchFamily="34" charset="0"/>
                <a:ea typeface="Calibri" panose="020F0502020204030204" pitchFamily="34" charset="0"/>
                <a:cs typeface="Times New Roman" panose="02020603050405020304" pitchFamily="18" charset="0"/>
              </a:rPr>
              <a:t>Actors</a:t>
            </a:r>
            <a:r>
              <a:rPr lang="es-ES" sz="1200">
                <a:latin typeface="Calibri" panose="020F0502020204030204" pitchFamily="34" charset="0"/>
                <a:ea typeface="Calibri" panose="020F0502020204030204" pitchFamily="34" charset="0"/>
                <a:cs typeface="Times New Roman" panose="02020603050405020304" pitchFamily="18" charset="0"/>
              </a:rPr>
              <a:t>. Lenguaje </a:t>
            </a:r>
            <a:r>
              <a:rPr lang="es-ES" sz="1200" err="1">
                <a:latin typeface="Calibri" panose="020F0502020204030204" pitchFamily="34" charset="0"/>
                <a:ea typeface="Calibri" panose="020F0502020204030204" pitchFamily="34" charset="0"/>
                <a:cs typeface="Times New Roman" panose="02020603050405020304" pitchFamily="18" charset="0"/>
              </a:rPr>
              <a:t>Scala</a:t>
            </a:r>
            <a:r>
              <a:rPr lang="es-ES" sz="1200">
                <a:latin typeface="Calibri" panose="020F0502020204030204" pitchFamily="34" charset="0"/>
                <a:ea typeface="Calibri" panose="020F0502020204030204" pitchFamily="34" charset="0"/>
                <a:cs typeface="Times New Roman" panose="02020603050405020304" pitchFamily="18" charset="0"/>
              </a:rPr>
              <a:t>, java. </a:t>
            </a:r>
            <a:br>
              <a:rPr lang="es-ES" sz="1200">
                <a:latin typeface="Calibri" panose="020F0502020204030204" pitchFamily="34" charset="0"/>
                <a:ea typeface="Calibri" panose="020F0502020204030204" pitchFamily="34" charset="0"/>
                <a:cs typeface="Times New Roman" panose="02020603050405020304" pitchFamily="18" charset="0"/>
              </a:rPr>
            </a:br>
            <a:r>
              <a:rPr lang="es-ES" sz="1200">
                <a:latin typeface="Calibri" panose="020F0502020204030204" pitchFamily="34" charset="0"/>
                <a:ea typeface="Calibri" panose="020F0502020204030204" pitchFamily="34" charset="0"/>
                <a:cs typeface="Times New Roman" panose="02020603050405020304" pitchFamily="18" charset="0"/>
              </a:rPr>
              <a:t>Experiencia como profesor universitario. Gestor de Proyecto</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0" name="CuadroTexto 39">
            <a:extLst>
              <a:ext uri="{FF2B5EF4-FFF2-40B4-BE49-F238E27FC236}">
                <a16:creationId xmlns:a16="http://schemas.microsoft.com/office/drawing/2014/main" id="{2671AB7D-9A8C-BF47-AEB3-28A9D0EE694D}"/>
              </a:ext>
            </a:extLst>
          </p:cNvPr>
          <p:cNvSpPr txBox="1"/>
          <p:nvPr/>
        </p:nvSpPr>
        <p:spPr>
          <a:xfrm>
            <a:off x="191384" y="1506551"/>
            <a:ext cx="551757" cy="507831"/>
          </a:xfrm>
          <a:prstGeom prst="rect">
            <a:avLst/>
          </a:prstGeom>
          <a:noFill/>
        </p:spPr>
        <p:txBody>
          <a:bodyPr wrap="square" lIns="91440" tIns="45720" rIns="91440" bIns="45720" rtlCol="0" anchor="t">
            <a:spAutoFit/>
          </a:bodyPr>
          <a:lstStyle/>
          <a:p>
            <a:r>
              <a:rPr lang="es-ES" sz="900">
                <a:ea typeface="+mn-lt"/>
                <a:cs typeface="+mn-lt"/>
              </a:rPr>
              <a:t>ACT</a:t>
            </a:r>
            <a:endParaRPr lang="en-US" sz="900">
              <a:ea typeface="+mn-lt"/>
              <a:cs typeface="+mn-lt"/>
            </a:endParaRPr>
          </a:p>
          <a:p>
            <a:r>
              <a:rPr lang="es-ES" sz="900">
                <a:ea typeface="+mn-lt"/>
                <a:cs typeface="+mn-lt"/>
              </a:rPr>
              <a:t>—</a:t>
            </a:r>
            <a:endParaRPr lang="en-US" sz="900">
              <a:ea typeface="+mn-lt"/>
              <a:cs typeface="+mn-lt"/>
            </a:endParaRPr>
          </a:p>
          <a:p>
            <a:r>
              <a:rPr lang="es-ES" sz="900">
                <a:ea typeface="+mn-lt"/>
                <a:cs typeface="+mn-lt"/>
              </a:rPr>
              <a:t>2021</a:t>
            </a:r>
            <a:endParaRPr lang="es-ES" sz="900">
              <a:latin typeface="Soho Gothic Pro Medium" panose="020B0503030504020204" pitchFamily="34" charset="77"/>
            </a:endParaRPr>
          </a:p>
        </p:txBody>
      </p:sp>
      <p:sp>
        <p:nvSpPr>
          <p:cNvPr id="45" name="CuadroTexto 44">
            <a:extLst>
              <a:ext uri="{FF2B5EF4-FFF2-40B4-BE49-F238E27FC236}">
                <a16:creationId xmlns:a16="http://schemas.microsoft.com/office/drawing/2014/main" id="{1813E8C3-18D9-0B4B-8FCA-406B39785552}"/>
              </a:ext>
            </a:extLst>
          </p:cNvPr>
          <p:cNvSpPr txBox="1"/>
          <p:nvPr/>
        </p:nvSpPr>
        <p:spPr>
          <a:xfrm>
            <a:off x="626892" y="3406104"/>
            <a:ext cx="3989098" cy="3794308"/>
          </a:xfrm>
          <a:prstGeom prst="rect">
            <a:avLst/>
          </a:prstGeom>
          <a:noFill/>
        </p:spPr>
        <p:txBody>
          <a:bodyPr wrap="square" lIns="91440" tIns="45720" rIns="91440" bIns="45720" rtlCol="0" anchor="t">
            <a:spAutoFit/>
          </a:bodyPr>
          <a:lstStyle/>
          <a:p>
            <a:pPr algn="just"/>
            <a:r>
              <a:rPr lang="es-ES" sz="1100" b="1" err="1">
                <a:ea typeface="+mn-lt"/>
                <a:cs typeface="+mn-lt"/>
              </a:rPr>
              <a:t>Minsait</a:t>
            </a:r>
            <a:r>
              <a:rPr lang="es-ES" sz="1100" b="1">
                <a:ea typeface="+mn-lt"/>
                <a:cs typeface="+mn-lt"/>
              </a:rPr>
              <a:t> </a:t>
            </a:r>
            <a:r>
              <a:rPr lang="es-ES" sz="1100" b="1" err="1">
                <a:ea typeface="+mn-lt"/>
                <a:cs typeface="+mn-lt"/>
              </a:rPr>
              <a:t>by</a:t>
            </a:r>
            <a:r>
              <a:rPr lang="es-ES" sz="1100" b="1">
                <a:ea typeface="+mn-lt"/>
                <a:cs typeface="+mn-lt"/>
              </a:rPr>
              <a:t> Indra (Barcelona, España)</a:t>
            </a:r>
            <a:endParaRPr lang="en-US" sz="1100">
              <a:ea typeface="+mn-lt"/>
              <a:cs typeface="+mn-lt"/>
            </a:endParaRPr>
          </a:p>
          <a:p>
            <a:pPr algn="just"/>
            <a:r>
              <a:rPr lang="es-ES" sz="1100">
                <a:ea typeface="+mn-lt"/>
                <a:cs typeface="+mn-lt"/>
              </a:rPr>
              <a:t>Big Data </a:t>
            </a:r>
            <a:r>
              <a:rPr lang="es-ES" sz="1100" err="1">
                <a:ea typeface="+mn-lt"/>
                <a:cs typeface="+mn-lt"/>
              </a:rPr>
              <a:t>Consultant</a:t>
            </a:r>
            <a:endParaRPr lang="en-US" sz="1100">
              <a:ea typeface="+mn-lt"/>
              <a:cs typeface="+mn-lt"/>
            </a:endParaRPr>
          </a:p>
          <a:p>
            <a:pPr>
              <a:lnSpc>
                <a:spcPct val="107000"/>
              </a:lnSpc>
              <a:spcAft>
                <a:spcPts val="800"/>
              </a:spcAft>
            </a:pPr>
            <a:r>
              <a:rPr lang="es-ES" sz="1100" b="1" err="1">
                <a:latin typeface="Calibri" panose="020F0502020204030204" pitchFamily="34" charset="0"/>
                <a:ea typeface="Calibri" panose="020F0502020204030204" pitchFamily="34" charset="0"/>
                <a:cs typeface="Times New Roman" panose="02020603050405020304" pitchFamily="18" charset="0"/>
              </a:rPr>
              <a:t>Minsait</a:t>
            </a:r>
            <a:r>
              <a:rPr lang="es-ES" sz="1100" b="1">
                <a:latin typeface="Calibri" panose="020F0502020204030204" pitchFamily="34" charset="0"/>
                <a:ea typeface="Calibri" panose="020F0502020204030204" pitchFamily="34" charset="0"/>
                <a:cs typeface="Times New Roman" panose="02020603050405020304" pitchFamily="18" charset="0"/>
              </a:rPr>
              <a:t> </a:t>
            </a:r>
            <a:r>
              <a:rPr lang="es-ES" sz="1100" b="1" err="1">
                <a:latin typeface="Calibri" panose="020F0502020204030204" pitchFamily="34" charset="0"/>
                <a:ea typeface="Calibri" panose="020F0502020204030204" pitchFamily="34" charset="0"/>
                <a:cs typeface="Times New Roman" panose="02020603050405020304" pitchFamily="18" charset="0"/>
              </a:rPr>
              <a:t>by</a:t>
            </a:r>
            <a:r>
              <a:rPr lang="es-ES" sz="1100" b="1">
                <a:latin typeface="Calibri" panose="020F0502020204030204" pitchFamily="34" charset="0"/>
                <a:ea typeface="Calibri" panose="020F0502020204030204" pitchFamily="34" charset="0"/>
                <a:cs typeface="Times New Roman" panose="02020603050405020304" pitchFamily="18" charset="0"/>
              </a:rPr>
              <a:t> Indra (Lleida, España)</a:t>
            </a:r>
            <a:endParaRPr lang="es-ES" sz="11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ES" sz="1100">
                <a:latin typeface="Calibri" panose="020F0502020204030204" pitchFamily="34" charset="0"/>
                <a:ea typeface="Calibri" panose="020F0502020204030204" pitchFamily="34" charset="0"/>
                <a:cs typeface="Times New Roman" panose="02020603050405020304" pitchFamily="18" charset="0"/>
              </a:rPr>
              <a:t>Big Data </a:t>
            </a:r>
            <a:r>
              <a:rPr lang="en-US" sz="1100">
                <a:latin typeface="Calibri" panose="020F0502020204030204" pitchFamily="34" charset="0"/>
                <a:ea typeface="Calibri" panose="020F0502020204030204" pitchFamily="34" charset="0"/>
                <a:cs typeface="Times New Roman" panose="02020603050405020304" pitchFamily="18" charset="0"/>
              </a:rPr>
              <a:t>Engineer</a:t>
            </a:r>
            <a:endParaRPr lang="es-ES" sz="110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es-ES" sz="1100" b="1" u="sng">
                <a:latin typeface="Calibri" panose="020F0502020204030204" pitchFamily="34" charset="0"/>
                <a:ea typeface="Calibri" panose="020F0502020204030204" pitchFamily="34" charset="0"/>
                <a:cs typeface="Times New Roman" panose="02020603050405020304" pitchFamily="18" charset="0"/>
              </a:rPr>
              <a:t>ATC(Agencia Tributaria Catalunya)</a:t>
            </a:r>
            <a:endParaRPr lang="es-ES" sz="110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buFont typeface="Arial" panose="020B0604020202020204" pitchFamily="34" charset="0"/>
              <a:buChar char="•"/>
              <a:tabLst>
                <a:tab pos="457200" algn="l"/>
              </a:tabLst>
            </a:pPr>
            <a:r>
              <a:rPr lang="es-ES" sz="1100">
                <a:latin typeface="Calibri" panose="020F0502020204030204" pitchFamily="34" charset="0"/>
                <a:ea typeface="Calibri" panose="020F0502020204030204" pitchFamily="34" charset="0"/>
                <a:cs typeface="Times New Roman" panose="02020603050405020304" pitchFamily="18" charset="0"/>
              </a:rPr>
              <a:t>Diseño y participación en la elección de tecnología.</a:t>
            </a:r>
          </a:p>
          <a:p>
            <a:pPr marL="342900" indent="-342900">
              <a:lnSpc>
                <a:spcPct val="107000"/>
              </a:lnSpc>
              <a:buFont typeface="Arial" panose="020B0604020202020204" pitchFamily="34" charset="0"/>
              <a:buChar char="•"/>
              <a:tabLst>
                <a:tab pos="457200" algn="l"/>
              </a:tabLst>
            </a:pPr>
            <a:r>
              <a:rPr lang="es-ES" sz="1100">
                <a:latin typeface="Calibri" panose="020F0502020204030204" pitchFamily="34" charset="0"/>
                <a:ea typeface="Calibri" panose="020F0502020204030204" pitchFamily="34" charset="0"/>
                <a:cs typeface="Times New Roman" panose="02020603050405020304" pitchFamily="18" charset="0"/>
              </a:rPr>
              <a:t>Análisis de sistemas, documentación, </a:t>
            </a:r>
            <a:r>
              <a:rPr lang="es-ES" sz="1100" err="1">
                <a:latin typeface="Calibri" panose="020F0502020204030204" pitchFamily="34" charset="0"/>
                <a:ea typeface="Calibri" panose="020F0502020204030204" pitchFamily="34" charset="0"/>
                <a:cs typeface="Times New Roman" panose="02020603050405020304" pitchFamily="18" charset="0"/>
              </a:rPr>
              <a:t>testing</a:t>
            </a:r>
            <a:r>
              <a:rPr lang="es-ES" sz="1100">
                <a:latin typeface="Calibri" panose="020F0502020204030204" pitchFamily="34" charset="0"/>
                <a:ea typeface="Calibri" panose="020F0502020204030204" pitchFamily="34" charset="0"/>
                <a:cs typeface="Times New Roman" panose="02020603050405020304" pitchFamily="18" charset="0"/>
              </a:rPr>
              <a:t> e implementación en proyectos de Big Data en ATC(Agencia Tributaria Catalunya)</a:t>
            </a:r>
          </a:p>
          <a:p>
            <a:pPr marL="342900" indent="-342900">
              <a:lnSpc>
                <a:spcPct val="107000"/>
              </a:lnSpc>
              <a:buFont typeface="Arial" panose="020B0604020202020204" pitchFamily="34" charset="0"/>
              <a:buChar char="•"/>
              <a:tabLst>
                <a:tab pos="457200" algn="l"/>
              </a:tabLst>
            </a:pPr>
            <a:r>
              <a:rPr lang="es-ES" sz="1100">
                <a:latin typeface="Calibri" panose="020F0502020204030204" pitchFamily="34" charset="0"/>
                <a:ea typeface="Calibri" panose="020F0502020204030204" pitchFamily="34" charset="0"/>
                <a:cs typeface="Times New Roman" panose="02020603050405020304" pitchFamily="18" charset="0"/>
              </a:rPr>
              <a:t>Definición de los pipelines (ETL) para procesar información y su posterior almacenamiento en un </a:t>
            </a:r>
            <a:r>
              <a:rPr lang="es-ES" sz="1100" err="1">
                <a:latin typeface="Calibri" panose="020F0502020204030204" pitchFamily="34" charset="0"/>
                <a:ea typeface="Calibri" panose="020F0502020204030204" pitchFamily="34" charset="0"/>
                <a:cs typeface="Times New Roman" panose="02020603050405020304" pitchFamily="18" charset="0"/>
              </a:rPr>
              <a:t>Datalake</a:t>
            </a:r>
            <a:r>
              <a:rPr lang="es-ES" sz="1100">
                <a:latin typeface="Calibri" panose="020F0502020204030204" pitchFamily="34" charset="0"/>
                <a:ea typeface="Calibri" panose="020F0502020204030204" pitchFamily="34" charset="0"/>
                <a:cs typeface="Times New Roman" panose="02020603050405020304" pitchFamily="18" charset="0"/>
              </a:rPr>
              <a:t>.</a:t>
            </a:r>
          </a:p>
          <a:p>
            <a:pPr marL="342900" indent="-342900">
              <a:lnSpc>
                <a:spcPct val="107000"/>
              </a:lnSpc>
              <a:buFont typeface="Arial" panose="020B0604020202020204" pitchFamily="34" charset="0"/>
              <a:buChar char="•"/>
              <a:tabLst>
                <a:tab pos="457200" algn="l"/>
              </a:tabLst>
            </a:pPr>
            <a:r>
              <a:rPr lang="es-ES" sz="1100">
                <a:latin typeface="Calibri" panose="020F0502020204030204" pitchFamily="34" charset="0"/>
                <a:ea typeface="Calibri" panose="020F0502020204030204" pitchFamily="34" charset="0"/>
                <a:cs typeface="Times New Roman" panose="02020603050405020304" pitchFamily="18" charset="0"/>
              </a:rPr>
              <a:t>Desarrollo y mantenimiento de software proyectos como </a:t>
            </a:r>
            <a:r>
              <a:rPr lang="es-ES" sz="1100" err="1">
                <a:latin typeface="Calibri" panose="020F0502020204030204" pitchFamily="34" charset="0"/>
                <a:ea typeface="Calibri" panose="020F0502020204030204" pitchFamily="34" charset="0"/>
                <a:cs typeface="Times New Roman" panose="02020603050405020304" pitchFamily="18" charset="0"/>
              </a:rPr>
              <a:t>Padoct</a:t>
            </a:r>
            <a:r>
              <a:rPr lang="es-ES" sz="1100">
                <a:latin typeface="Calibri" panose="020F0502020204030204" pitchFamily="34" charset="0"/>
                <a:ea typeface="Calibri" panose="020F0502020204030204" pitchFamily="34" charset="0"/>
                <a:cs typeface="Times New Roman" panose="02020603050405020304" pitchFamily="18" charset="0"/>
              </a:rPr>
              <a:t>, </a:t>
            </a:r>
            <a:r>
              <a:rPr lang="es-ES" sz="1100" err="1">
                <a:latin typeface="Calibri" panose="020F0502020204030204" pitchFamily="34" charset="0"/>
                <a:ea typeface="Calibri" panose="020F0502020204030204" pitchFamily="34" charset="0"/>
                <a:cs typeface="Times New Roman" panose="02020603050405020304" pitchFamily="18" charset="0"/>
              </a:rPr>
              <a:t>Dali</a:t>
            </a:r>
            <a:r>
              <a:rPr lang="es-ES" sz="1100">
                <a:latin typeface="Calibri" panose="020F0502020204030204" pitchFamily="34" charset="0"/>
                <a:ea typeface="Calibri" panose="020F0502020204030204" pitchFamily="34" charset="0"/>
                <a:cs typeface="Times New Roman" panose="02020603050405020304" pitchFamily="18" charset="0"/>
              </a:rPr>
              <a:t> y Grafos.</a:t>
            </a:r>
          </a:p>
          <a:p>
            <a:pPr marL="342900" indent="-342900">
              <a:lnSpc>
                <a:spcPct val="107000"/>
              </a:lnSpc>
              <a:buFont typeface="Arial" panose="020B0604020202020204" pitchFamily="34" charset="0"/>
              <a:buChar char="•"/>
              <a:tabLst>
                <a:tab pos="457200" algn="l"/>
              </a:tabLst>
            </a:pPr>
            <a:r>
              <a:rPr lang="es-ES" sz="1100">
                <a:latin typeface="Calibri" panose="020F0502020204030204" pitchFamily="34" charset="0"/>
                <a:ea typeface="Calibri" panose="020F0502020204030204" pitchFamily="34" charset="0"/>
                <a:cs typeface="Times New Roman" panose="02020603050405020304" pitchFamily="18" charset="0"/>
              </a:rPr>
              <a:t>Traslado de los requerimientos del cliente hacia el modelo lógico y físico, integrándolos con las definiciones ya existentes. Todo ello en colecciones </a:t>
            </a:r>
            <a:r>
              <a:rPr lang="es-ES" sz="1100" err="1">
                <a:latin typeface="Calibri" panose="020F0502020204030204" pitchFamily="34" charset="0"/>
                <a:ea typeface="Calibri" panose="020F0502020204030204" pitchFamily="34" charset="0"/>
                <a:cs typeface="Times New Roman" panose="02020603050405020304" pitchFamily="18" charset="0"/>
              </a:rPr>
              <a:t>MongoDB</a:t>
            </a:r>
            <a:r>
              <a:rPr lang="es-ES" sz="1100">
                <a:latin typeface="Calibri" panose="020F0502020204030204" pitchFamily="34" charset="0"/>
                <a:ea typeface="Calibri" panose="020F0502020204030204" pitchFamily="34" charset="0"/>
                <a:cs typeface="Times New Roman" panose="02020603050405020304" pitchFamily="18" charset="0"/>
              </a:rPr>
              <a:t>, Neo4j y HDFS</a:t>
            </a:r>
            <a:endParaRPr lang="en-US" sz="1100">
              <a:latin typeface="Calibri" panose="020F0502020204030204" pitchFamily="34" charset="0"/>
              <a:ea typeface="Calibri" panose="020F0502020204030204" pitchFamily="34" charset="0"/>
              <a:cs typeface="Times New Roman" panose="02020603050405020304" pitchFamily="18" charset="0"/>
            </a:endParaRPr>
          </a:p>
          <a:p>
            <a:pPr marL="171450" indent="-171450" algn="just">
              <a:buFont typeface="Arial,Sans-Serif"/>
              <a:buChar char="•"/>
            </a:pPr>
            <a:endParaRPr lang="es-ES" sz="1100">
              <a:ea typeface="+mn-lt"/>
              <a:cs typeface="+mn-lt"/>
            </a:endParaRPr>
          </a:p>
          <a:p>
            <a:pPr algn="just"/>
            <a:endParaRPr lang="es-ES" sz="1100" b="1">
              <a:latin typeface="Soho Gothic Pro" panose="020B0503030504020204" pitchFamily="34" charset="77"/>
            </a:endParaRPr>
          </a:p>
        </p:txBody>
      </p:sp>
      <p:sp>
        <p:nvSpPr>
          <p:cNvPr id="46" name="CuadroTexto 45">
            <a:extLst>
              <a:ext uri="{FF2B5EF4-FFF2-40B4-BE49-F238E27FC236}">
                <a16:creationId xmlns:a16="http://schemas.microsoft.com/office/drawing/2014/main" id="{89221374-508B-FF4A-9DFB-601E8041A74B}"/>
              </a:ext>
            </a:extLst>
          </p:cNvPr>
          <p:cNvSpPr txBox="1"/>
          <p:nvPr/>
        </p:nvSpPr>
        <p:spPr>
          <a:xfrm>
            <a:off x="5418387" y="1525449"/>
            <a:ext cx="3848927" cy="938719"/>
          </a:xfrm>
          <a:prstGeom prst="rect">
            <a:avLst/>
          </a:prstGeom>
          <a:noFill/>
        </p:spPr>
        <p:txBody>
          <a:bodyPr wrap="square" lIns="91440" tIns="45720" rIns="91440" bIns="45720" rtlCol="0" anchor="t">
            <a:spAutoFit/>
          </a:bodyPr>
          <a:lstStyle/>
          <a:p>
            <a:pPr lvl="0" algn="just"/>
            <a:r>
              <a:rPr lang="es-ES" sz="1000" b="1">
                <a:solidFill>
                  <a:srgbClr val="1A3B47"/>
                </a:solidFill>
                <a:latin typeface="Soho Gothic Pro" panose="020B0503030504020204" pitchFamily="34" charset="77"/>
              </a:rPr>
              <a:t>Desarrollo de Software IT-Gobierno Argentina</a:t>
            </a:r>
            <a:endParaRPr lang="es-ES" sz="907" b="1">
              <a:solidFill>
                <a:srgbClr val="1A3B47"/>
              </a:solidFill>
              <a:latin typeface="Soho Gothic Pro" panose="020B0503030504020204" pitchFamily="34" charset="77"/>
            </a:endParaRPr>
          </a:p>
          <a:p>
            <a:pPr lvl="0" algn="just"/>
            <a:r>
              <a:rPr lang="en-US" sz="900">
                <a:solidFill>
                  <a:srgbClr val="1A3B47"/>
                </a:solidFill>
                <a:latin typeface="Soho Gothic Pro" panose="020B0503030504020204" pitchFamily="34" charset="77"/>
              </a:rPr>
              <a:t>Java /PHP Developer</a:t>
            </a:r>
          </a:p>
          <a:p>
            <a:pPr lvl="0" algn="just"/>
            <a:endParaRPr lang="en-US" sz="900">
              <a:solidFill>
                <a:srgbClr val="1A3B47"/>
              </a:solidFill>
              <a:latin typeface="Soho Gothic Pro" panose="020B0503030504020204" pitchFamily="34" charset="77"/>
            </a:endParaRPr>
          </a:p>
          <a:p>
            <a:pPr marL="171450" lvl="0" indent="-171450" algn="just">
              <a:buFont typeface="Arial" panose="020B0604020202020204" pitchFamily="34" charset="0"/>
              <a:buChar char="•"/>
            </a:pPr>
            <a:r>
              <a:rPr lang="en-US" sz="900">
                <a:solidFill>
                  <a:srgbClr val="1A3B47"/>
                </a:solidFill>
                <a:latin typeface="Soho Gothic Pro" panose="020B0503030504020204" pitchFamily="34" charset="77"/>
              </a:rPr>
              <a:t>Expert </a:t>
            </a:r>
            <a:r>
              <a:rPr lang="en-US" sz="900" err="1">
                <a:solidFill>
                  <a:srgbClr val="1A3B47"/>
                </a:solidFill>
                <a:latin typeface="Soho Gothic Pro" panose="020B0503030504020204" pitchFamily="34" charset="77"/>
              </a:rPr>
              <a:t>en</a:t>
            </a:r>
            <a:r>
              <a:rPr lang="en-US" sz="900">
                <a:solidFill>
                  <a:srgbClr val="1A3B47"/>
                </a:solidFill>
                <a:latin typeface="Soho Gothic Pro" panose="020B0503030504020204" pitchFamily="34" charset="77"/>
              </a:rPr>
              <a:t> Web Services, Soap, </a:t>
            </a:r>
            <a:r>
              <a:rPr lang="en-US" sz="900" err="1">
                <a:solidFill>
                  <a:srgbClr val="1A3B47"/>
                </a:solidFill>
                <a:latin typeface="Soho Gothic Pro" panose="020B0503030504020204" pitchFamily="34" charset="77"/>
              </a:rPr>
              <a:t>api</a:t>
            </a:r>
            <a:r>
              <a:rPr lang="en-US" sz="900">
                <a:solidFill>
                  <a:srgbClr val="1A3B47"/>
                </a:solidFill>
                <a:latin typeface="Soho Gothic Pro" panose="020B0503030504020204" pitchFamily="34" charset="77"/>
              </a:rPr>
              <a:t> rest</a:t>
            </a:r>
          </a:p>
          <a:p>
            <a:pPr marL="171450" lvl="0" indent="-171450" algn="just">
              <a:buFont typeface="Arial" panose="020B0604020202020204" pitchFamily="34" charset="0"/>
              <a:buChar char="•"/>
            </a:pPr>
            <a:r>
              <a:rPr lang="en-US" sz="900" err="1">
                <a:solidFill>
                  <a:srgbClr val="1A3B47"/>
                </a:solidFill>
                <a:latin typeface="Soho Gothic Pro" panose="020B0503030504020204" pitchFamily="34" charset="77"/>
              </a:rPr>
              <a:t>Analisis</a:t>
            </a:r>
            <a:r>
              <a:rPr lang="en-US" sz="900">
                <a:solidFill>
                  <a:srgbClr val="1A3B47"/>
                </a:solidFill>
                <a:latin typeface="Soho Gothic Pro" panose="020B0503030504020204" pitchFamily="34" charset="77"/>
              </a:rPr>
              <a:t>  y </a:t>
            </a:r>
            <a:r>
              <a:rPr lang="en-US" sz="900" err="1">
                <a:solidFill>
                  <a:srgbClr val="1A3B47"/>
                </a:solidFill>
                <a:latin typeface="Soho Gothic Pro" panose="020B0503030504020204" pitchFamily="34" charset="77"/>
              </a:rPr>
              <a:t>diseño</a:t>
            </a:r>
            <a:r>
              <a:rPr lang="en-US" sz="900">
                <a:solidFill>
                  <a:srgbClr val="1A3B47"/>
                </a:solidFill>
                <a:latin typeface="Soho Gothic Pro" panose="020B0503030504020204" pitchFamily="34" charset="77"/>
              </a:rPr>
              <a:t> de </a:t>
            </a:r>
            <a:r>
              <a:rPr lang="en-US" sz="900" err="1">
                <a:solidFill>
                  <a:srgbClr val="1A3B47"/>
                </a:solidFill>
                <a:latin typeface="Soho Gothic Pro" panose="020B0503030504020204" pitchFamily="34" charset="77"/>
              </a:rPr>
              <a:t>api</a:t>
            </a:r>
            <a:r>
              <a:rPr lang="en-US" sz="900">
                <a:solidFill>
                  <a:srgbClr val="1A3B47"/>
                </a:solidFill>
                <a:latin typeface="Soho Gothic Pro" panose="020B0503030504020204" pitchFamily="34" charset="77"/>
              </a:rPr>
              <a:t>, </a:t>
            </a:r>
            <a:r>
              <a:rPr lang="en-US" sz="900" err="1">
                <a:solidFill>
                  <a:srgbClr val="1A3B47"/>
                </a:solidFill>
                <a:latin typeface="Soho Gothic Pro" panose="020B0503030504020204" pitchFamily="34" charset="77"/>
              </a:rPr>
              <a:t>utilizando</a:t>
            </a:r>
            <a:r>
              <a:rPr lang="en-US" sz="900">
                <a:solidFill>
                  <a:srgbClr val="1A3B47"/>
                </a:solidFill>
                <a:latin typeface="Soho Gothic Pro" panose="020B0503030504020204" pitchFamily="34" charset="77"/>
              </a:rPr>
              <a:t> Java y PHP.</a:t>
            </a:r>
          </a:p>
          <a:p>
            <a:pPr marL="171450" lvl="0" indent="-171450" algn="just">
              <a:buFont typeface="Arial" panose="020B0604020202020204" pitchFamily="34" charset="0"/>
              <a:buChar char="•"/>
            </a:pPr>
            <a:r>
              <a:rPr lang="en-US" sz="900">
                <a:solidFill>
                  <a:srgbClr val="1A3B47"/>
                </a:solidFill>
                <a:latin typeface="Soho Gothic Pro" panose="020B0503030504020204" pitchFamily="34" charset="77"/>
              </a:rPr>
              <a:t>Expert </a:t>
            </a:r>
            <a:r>
              <a:rPr lang="en-US" sz="900" err="1">
                <a:solidFill>
                  <a:srgbClr val="1A3B47"/>
                </a:solidFill>
                <a:latin typeface="Soho Gothic Pro" panose="020B0503030504020204" pitchFamily="34" charset="77"/>
              </a:rPr>
              <a:t>en</a:t>
            </a:r>
            <a:r>
              <a:rPr lang="en-US" sz="900">
                <a:solidFill>
                  <a:srgbClr val="1A3B47"/>
                </a:solidFill>
                <a:latin typeface="Soho Gothic Pro" panose="020B0503030504020204" pitchFamily="34" charset="77"/>
              </a:rPr>
              <a:t> Base de </a:t>
            </a:r>
            <a:r>
              <a:rPr lang="en-US" sz="900" err="1">
                <a:solidFill>
                  <a:srgbClr val="1A3B47"/>
                </a:solidFill>
                <a:latin typeface="Soho Gothic Pro" panose="020B0503030504020204" pitchFamily="34" charset="77"/>
              </a:rPr>
              <a:t>Datos</a:t>
            </a:r>
            <a:r>
              <a:rPr lang="en-US" sz="900">
                <a:solidFill>
                  <a:srgbClr val="1A3B47"/>
                </a:solidFill>
                <a:latin typeface="Soho Gothic Pro" panose="020B0503030504020204" pitchFamily="34" charset="77"/>
              </a:rPr>
              <a:t> SQL y NoSQL</a:t>
            </a:r>
          </a:p>
        </p:txBody>
      </p:sp>
      <p:sp>
        <p:nvSpPr>
          <p:cNvPr id="49" name="CuadroTexto 48">
            <a:extLst>
              <a:ext uri="{FF2B5EF4-FFF2-40B4-BE49-F238E27FC236}">
                <a16:creationId xmlns:a16="http://schemas.microsoft.com/office/drawing/2014/main" id="{A669BC4B-6A50-864F-85AF-01EA17581A38}"/>
              </a:ext>
            </a:extLst>
          </p:cNvPr>
          <p:cNvSpPr txBox="1"/>
          <p:nvPr/>
        </p:nvSpPr>
        <p:spPr>
          <a:xfrm>
            <a:off x="4923118" y="1534353"/>
            <a:ext cx="840256" cy="507831"/>
          </a:xfrm>
          <a:prstGeom prst="rect">
            <a:avLst/>
          </a:prstGeom>
          <a:noFill/>
        </p:spPr>
        <p:txBody>
          <a:bodyPr wrap="square" lIns="91440" tIns="45720" rIns="91440" bIns="45720" rtlCol="0" anchor="t">
            <a:spAutoFit/>
          </a:bodyPr>
          <a:lstStyle/>
          <a:p>
            <a:pPr lvl="0"/>
            <a:r>
              <a:rPr lang="es-ES" sz="900">
                <a:solidFill>
                  <a:srgbClr val="1A3B47"/>
                </a:solidFill>
                <a:latin typeface="Soho Gothic Pro Medium" panose="020B0503030504020204" pitchFamily="34" charset="77"/>
              </a:rPr>
              <a:t>2019</a:t>
            </a:r>
          </a:p>
          <a:p>
            <a:pPr lvl="0"/>
            <a:r>
              <a:rPr lang="es-ES" sz="900">
                <a:solidFill>
                  <a:srgbClr val="1A3B47"/>
                </a:solidFill>
                <a:latin typeface="Soho Gothic Pro Medium" panose="020B0503030504020204" pitchFamily="34" charset="77"/>
              </a:rPr>
              <a:t>—</a:t>
            </a:r>
          </a:p>
          <a:p>
            <a:pPr lvl="0"/>
            <a:r>
              <a:rPr lang="es-ES" sz="900">
                <a:solidFill>
                  <a:srgbClr val="1A3B47"/>
                </a:solidFill>
                <a:latin typeface="Soho Gothic Pro Medium" panose="020B0503030504020204" pitchFamily="34" charset="77"/>
              </a:rPr>
              <a:t>2016</a:t>
            </a:r>
          </a:p>
        </p:txBody>
      </p:sp>
      <p:sp>
        <p:nvSpPr>
          <p:cNvPr id="55" name="CuadroTexto 54">
            <a:extLst>
              <a:ext uri="{FF2B5EF4-FFF2-40B4-BE49-F238E27FC236}">
                <a16:creationId xmlns:a16="http://schemas.microsoft.com/office/drawing/2014/main" id="{BF1684E3-CE8A-1E4E-B964-0132E29D63C2}"/>
              </a:ext>
            </a:extLst>
          </p:cNvPr>
          <p:cNvSpPr txBox="1"/>
          <p:nvPr/>
        </p:nvSpPr>
        <p:spPr>
          <a:xfrm>
            <a:off x="9388192" y="4976006"/>
            <a:ext cx="1609032" cy="276999"/>
          </a:xfrm>
          <a:prstGeom prst="rect">
            <a:avLst/>
          </a:prstGeom>
          <a:noFill/>
        </p:spPr>
        <p:txBody>
          <a:bodyPr wrap="square" rtlCol="0">
            <a:spAutoFit/>
          </a:bodyPr>
          <a:lstStyle/>
          <a:p>
            <a:r>
              <a:rPr lang="es-ES" sz="1200">
                <a:solidFill>
                  <a:schemeClr val="tx1">
                    <a:lumMod val="95000"/>
                    <a:lumOff val="5000"/>
                  </a:schemeClr>
                </a:solidFill>
                <a:latin typeface="Soho Gothic Pro" panose="020B0503030504020204" pitchFamily="34" charset="77"/>
              </a:rPr>
              <a:t>Idiomas</a:t>
            </a:r>
          </a:p>
        </p:txBody>
      </p:sp>
      <p:sp>
        <p:nvSpPr>
          <p:cNvPr id="56" name="CuadroTexto 55">
            <a:extLst>
              <a:ext uri="{FF2B5EF4-FFF2-40B4-BE49-F238E27FC236}">
                <a16:creationId xmlns:a16="http://schemas.microsoft.com/office/drawing/2014/main" id="{BE67F8B7-F4EB-B543-BD33-1314BDD2C39B}"/>
              </a:ext>
            </a:extLst>
          </p:cNvPr>
          <p:cNvSpPr txBox="1"/>
          <p:nvPr/>
        </p:nvSpPr>
        <p:spPr>
          <a:xfrm>
            <a:off x="9451576" y="5294697"/>
            <a:ext cx="2154917" cy="1015663"/>
          </a:xfrm>
          <a:prstGeom prst="rect">
            <a:avLst/>
          </a:prstGeom>
          <a:noFill/>
        </p:spPr>
        <p:txBody>
          <a:bodyPr wrap="square" lIns="91440" tIns="45720" rIns="91440" bIns="45720" rtlCol="0" anchor="t">
            <a:spAutoFit/>
          </a:bodyPr>
          <a:lstStyle/>
          <a:p>
            <a:r>
              <a:rPr lang="es-ES" sz="1000" b="1">
                <a:ea typeface="+mn-lt"/>
                <a:cs typeface="+mn-lt"/>
              </a:rPr>
              <a:t>Castellano - </a:t>
            </a:r>
            <a:r>
              <a:rPr lang="es-ES" sz="1000">
                <a:ea typeface="+mn-lt"/>
                <a:cs typeface="+mn-lt"/>
              </a:rPr>
              <a:t>Nativo</a:t>
            </a:r>
            <a:r>
              <a:rPr lang="en-US" sz="1000">
                <a:ea typeface="+mn-lt"/>
                <a:cs typeface="+mn-lt"/>
              </a:rPr>
              <a:t/>
            </a:r>
            <a:br>
              <a:rPr lang="en-US" sz="1000">
                <a:ea typeface="+mn-lt"/>
                <a:cs typeface="+mn-lt"/>
              </a:rPr>
            </a:br>
            <a:r>
              <a:rPr lang="es-ES" sz="1000" b="1">
                <a:ea typeface="+mn-lt"/>
                <a:cs typeface="+mn-lt"/>
              </a:rPr>
              <a:t>Ingles - </a:t>
            </a:r>
            <a:r>
              <a:rPr lang="es-ES" sz="1000">
                <a:ea typeface="+mn-lt"/>
                <a:cs typeface="+mn-lt"/>
              </a:rPr>
              <a:t>Nivel Intermedio</a:t>
            </a:r>
            <a:endParaRPr lang="en-US" sz="1000">
              <a:ea typeface="+mn-lt"/>
              <a:cs typeface="+mn-lt"/>
            </a:endParaRPr>
          </a:p>
          <a:p>
            <a:r>
              <a:rPr lang="es-ES" sz="1000" b="1">
                <a:ea typeface="+mn-lt"/>
                <a:cs typeface="+mn-lt"/>
              </a:rPr>
              <a:t>Alemán - </a:t>
            </a:r>
            <a:r>
              <a:rPr lang="es-ES" sz="1000">
                <a:ea typeface="+mn-lt"/>
                <a:cs typeface="+mn-lt"/>
              </a:rPr>
              <a:t>Nivel Básico</a:t>
            </a:r>
            <a:endParaRPr lang="en-US" sz="1000">
              <a:ea typeface="+mn-lt"/>
              <a:cs typeface="+mn-lt"/>
            </a:endParaRPr>
          </a:p>
          <a:p>
            <a:r>
              <a:rPr lang="es-ES" sz="1000" b="1">
                <a:ea typeface="+mn-lt"/>
                <a:cs typeface="+mn-lt"/>
              </a:rPr>
              <a:t>Catalán - </a:t>
            </a:r>
            <a:r>
              <a:rPr lang="es-ES" sz="1000">
                <a:ea typeface="+mn-lt"/>
                <a:cs typeface="+mn-lt"/>
              </a:rPr>
              <a:t>Nivel Intermedio</a:t>
            </a:r>
            <a:endParaRPr lang="en-US" sz="1000">
              <a:ea typeface="+mn-lt"/>
              <a:cs typeface="+mn-lt"/>
            </a:endParaRPr>
          </a:p>
          <a:p>
            <a:endParaRPr lang="es-ES" sz="1000">
              <a:latin typeface="Soho Gothic Pro" panose="020B0503030504020204" pitchFamily="34" charset="77"/>
            </a:endParaRPr>
          </a:p>
          <a:p>
            <a:endParaRPr lang="es-ES" sz="1000">
              <a:latin typeface="Soho Gothic Pro" panose="020B0503030504020204" pitchFamily="34" charset="77"/>
            </a:endParaRPr>
          </a:p>
        </p:txBody>
      </p:sp>
      <p:pic>
        <p:nvPicPr>
          <p:cNvPr id="32" name="Imagen 31">
            <a:extLst>
              <a:ext uri="{FF2B5EF4-FFF2-40B4-BE49-F238E27FC236}">
                <a16:creationId xmlns:a16="http://schemas.microsoft.com/office/drawing/2014/main" id="{D21E93EA-4E31-374E-A672-1EA84C7FF7A8}"/>
              </a:ext>
            </a:extLst>
          </p:cNvPr>
          <p:cNvPicPr>
            <a:picLocks noChangeAspect="1"/>
          </p:cNvPicPr>
          <p:nvPr/>
        </p:nvPicPr>
        <p:blipFill>
          <a:blip r:embed="rId3"/>
          <a:stretch>
            <a:fillRect/>
          </a:stretch>
        </p:blipFill>
        <p:spPr>
          <a:xfrm>
            <a:off x="182808" y="6539329"/>
            <a:ext cx="623531" cy="209800"/>
          </a:xfrm>
          <a:prstGeom prst="rect">
            <a:avLst/>
          </a:prstGeom>
        </p:spPr>
      </p:pic>
      <p:sp>
        <p:nvSpPr>
          <p:cNvPr id="41" name="CuadroTexto 40">
            <a:extLst>
              <a:ext uri="{FF2B5EF4-FFF2-40B4-BE49-F238E27FC236}">
                <a16:creationId xmlns:a16="http://schemas.microsoft.com/office/drawing/2014/main" id="{0F4E0202-A252-624B-BDF1-C6AE5E8A25DE}"/>
              </a:ext>
            </a:extLst>
          </p:cNvPr>
          <p:cNvSpPr txBox="1"/>
          <p:nvPr/>
        </p:nvSpPr>
        <p:spPr>
          <a:xfrm>
            <a:off x="3451753" y="110493"/>
            <a:ext cx="2693324" cy="461665"/>
          </a:xfrm>
          <a:prstGeom prst="rect">
            <a:avLst/>
          </a:prstGeom>
          <a:noFill/>
        </p:spPr>
        <p:txBody>
          <a:bodyPr wrap="square" lIns="91440" tIns="45720" rIns="91440" bIns="45720" rtlCol="0" anchor="t">
            <a:spAutoFit/>
          </a:bodyPr>
          <a:lstStyle/>
          <a:p>
            <a:r>
              <a:rPr lang="es-ES" sz="2400">
                <a:solidFill>
                  <a:schemeClr val="bg1"/>
                </a:solidFill>
                <a:latin typeface="Soho Gothic Pro Medium"/>
              </a:rPr>
              <a:t>Data Engineer</a:t>
            </a:r>
            <a:endParaRPr lang="es-ES" sz="2400">
              <a:solidFill>
                <a:schemeClr val="bg1"/>
              </a:solidFill>
              <a:latin typeface="Soho Gothic Pro Medium" panose="020B0503030504020204" pitchFamily="34" charset="77"/>
            </a:endParaRPr>
          </a:p>
        </p:txBody>
      </p:sp>
      <p:sp>
        <p:nvSpPr>
          <p:cNvPr id="31" name="CuadroTexto 30">
            <a:extLst>
              <a:ext uri="{FF2B5EF4-FFF2-40B4-BE49-F238E27FC236}">
                <a16:creationId xmlns:a16="http://schemas.microsoft.com/office/drawing/2014/main" id="{0F4E0202-A252-624B-BDF1-C6AE5E8A25DE}"/>
              </a:ext>
            </a:extLst>
          </p:cNvPr>
          <p:cNvSpPr txBox="1"/>
          <p:nvPr/>
        </p:nvSpPr>
        <p:spPr>
          <a:xfrm>
            <a:off x="87086" y="152551"/>
            <a:ext cx="2731759" cy="707886"/>
          </a:xfrm>
          <a:prstGeom prst="rect">
            <a:avLst/>
          </a:prstGeom>
          <a:noFill/>
        </p:spPr>
        <p:txBody>
          <a:bodyPr wrap="square" lIns="91440" tIns="45720" rIns="91440" bIns="45720" rtlCol="0" anchor="t">
            <a:spAutoFit/>
          </a:bodyPr>
          <a:lstStyle/>
          <a:p>
            <a:r>
              <a:rPr lang="es-ES" sz="2000">
                <a:solidFill>
                  <a:srgbClr val="FFFDEF"/>
                </a:solidFill>
                <a:ea typeface="+mn-lt"/>
                <a:cs typeface="+mn-lt"/>
              </a:rPr>
              <a:t>L.M.M.</a:t>
            </a:r>
            <a:endParaRPr lang="es-ES" sz="2000">
              <a:ea typeface="+mn-lt"/>
              <a:cs typeface="+mn-lt"/>
            </a:endParaRPr>
          </a:p>
          <a:p>
            <a:endParaRPr lang="es-ES" sz="2000">
              <a:solidFill>
                <a:schemeClr val="bg1"/>
              </a:solidFill>
              <a:latin typeface="Soho Gothic Pro Medium" panose="020B0503030504020204" pitchFamily="34" charset="77"/>
            </a:endParaRPr>
          </a:p>
        </p:txBody>
      </p:sp>
      <p:sp>
        <p:nvSpPr>
          <p:cNvPr id="47" name="CuadroTexto 46">
            <a:extLst>
              <a:ext uri="{FF2B5EF4-FFF2-40B4-BE49-F238E27FC236}">
                <a16:creationId xmlns:a16="http://schemas.microsoft.com/office/drawing/2014/main" id="{89221374-508B-FF4A-9DFB-601E8041A74B}"/>
              </a:ext>
            </a:extLst>
          </p:cNvPr>
          <p:cNvSpPr txBox="1"/>
          <p:nvPr/>
        </p:nvSpPr>
        <p:spPr>
          <a:xfrm>
            <a:off x="5418387" y="3819593"/>
            <a:ext cx="3619806" cy="2084866"/>
          </a:xfrm>
          <a:prstGeom prst="rect">
            <a:avLst/>
          </a:prstGeom>
          <a:noFill/>
        </p:spPr>
        <p:txBody>
          <a:bodyPr wrap="square" lIns="91440" tIns="45720" rIns="91440" bIns="45720" rtlCol="0" anchor="t">
            <a:spAutoFit/>
          </a:bodyPr>
          <a:lstStyle/>
          <a:p>
            <a:pPr>
              <a:lnSpc>
                <a:spcPct val="107000"/>
              </a:lnSpc>
              <a:spcAft>
                <a:spcPts val="0"/>
              </a:spcAft>
            </a:pPr>
            <a:r>
              <a:rPr lang="es-ES" sz="1100" b="1">
                <a:latin typeface="Calibri" panose="020F0502020204030204" pitchFamily="34" charset="0"/>
                <a:ea typeface="Calibri" panose="020F0502020204030204" pitchFamily="34" charset="0"/>
                <a:cs typeface="Times New Roman" panose="02020603050405020304" pitchFamily="18" charset="0"/>
              </a:rPr>
              <a:t>Director de Proyecto</a:t>
            </a:r>
            <a:endParaRPr lang="es-ES" sz="11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s-ES" sz="1100">
                <a:latin typeface="Calibri" panose="020F0502020204030204" pitchFamily="34" charset="0"/>
                <a:ea typeface="Calibri" panose="020F0502020204030204" pitchFamily="34" charset="0"/>
                <a:cs typeface="Times New Roman" panose="02020603050405020304" pitchFamily="18" charset="0"/>
              </a:rPr>
              <a:t>Gobierno de la Prov. </a:t>
            </a:r>
            <a:r>
              <a:rPr lang="en-US" sz="1100">
                <a:latin typeface="Calibri" panose="020F0502020204030204" pitchFamily="34" charset="0"/>
                <a:ea typeface="Calibri" panose="020F0502020204030204" pitchFamily="34" charset="0"/>
                <a:cs typeface="Times New Roman" panose="02020603050405020304" pitchFamily="18" charset="0"/>
              </a:rPr>
              <a:t>Buenos Aires</a:t>
            </a:r>
            <a:endParaRPr lang="es-ES" sz="11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s-ES" sz="1100">
                <a:latin typeface="Calibri" panose="020F0502020204030204" pitchFamily="34" charset="0"/>
                <a:ea typeface="Calibri" panose="020F0502020204030204" pitchFamily="34" charset="0"/>
                <a:cs typeface="Times New Roman" panose="02020603050405020304" pitchFamily="18" charset="0"/>
              </a:rPr>
              <a:t> </a:t>
            </a:r>
          </a:p>
          <a:p>
            <a:pPr marL="342900" lvl="0" indent="-342900">
              <a:lnSpc>
                <a:spcPct val="107000"/>
              </a:lnSpc>
              <a:spcAft>
                <a:spcPts val="0"/>
              </a:spcAft>
              <a:buFont typeface="Arial" panose="020B0604020202020204" pitchFamily="34" charset="0"/>
              <a:buChar char="•"/>
              <a:tabLst>
                <a:tab pos="457200" algn="l"/>
              </a:tabLst>
            </a:pPr>
            <a:r>
              <a:rPr lang="es-ES" sz="1100">
                <a:latin typeface="Calibri" panose="020F0502020204030204" pitchFamily="34" charset="0"/>
                <a:ea typeface="Calibri" panose="020F0502020204030204" pitchFamily="34" charset="0"/>
                <a:cs typeface="Times New Roman" panose="02020603050405020304" pitchFamily="18" charset="0"/>
              </a:rPr>
              <a:t>Análisis, implantación y coordinación de la puesta en marcha del Sistema de Licencias Centralizado (digitalización).  Más de 134 municipios y 700 usuarios. </a:t>
            </a:r>
          </a:p>
          <a:p>
            <a:pPr marL="342900" lvl="0" indent="-342900">
              <a:lnSpc>
                <a:spcPct val="107000"/>
              </a:lnSpc>
              <a:spcAft>
                <a:spcPts val="0"/>
              </a:spcAft>
              <a:buFont typeface="Arial" panose="020B0604020202020204" pitchFamily="34" charset="0"/>
              <a:buChar char="•"/>
              <a:tabLst>
                <a:tab pos="457200" algn="l"/>
              </a:tabLst>
            </a:pPr>
            <a:r>
              <a:rPr lang="es-ES" sz="1100">
                <a:latin typeface="Calibri" panose="020F0502020204030204" pitchFamily="34" charset="0"/>
                <a:ea typeface="Calibri" panose="020F0502020204030204" pitchFamily="34" charset="0"/>
                <a:cs typeface="Times New Roman" panose="02020603050405020304" pitchFamily="18" charset="0"/>
              </a:rPr>
              <a:t>Selección de personal</a:t>
            </a:r>
          </a:p>
          <a:p>
            <a:pPr marL="342900" lvl="0" indent="-342900">
              <a:lnSpc>
                <a:spcPct val="107000"/>
              </a:lnSpc>
              <a:spcAft>
                <a:spcPts val="0"/>
              </a:spcAft>
              <a:buFont typeface="Arial" panose="020B0604020202020204" pitchFamily="34" charset="0"/>
              <a:buChar char="•"/>
              <a:tabLst>
                <a:tab pos="457200" algn="l"/>
              </a:tabLst>
            </a:pPr>
            <a:r>
              <a:rPr lang="es-ES" sz="1100">
                <a:latin typeface="Calibri" panose="020F0502020204030204" pitchFamily="34" charset="0"/>
                <a:ea typeface="Calibri" panose="020F0502020204030204" pitchFamily="34" charset="0"/>
                <a:cs typeface="Times New Roman" panose="02020603050405020304" pitchFamily="18" charset="0"/>
              </a:rPr>
              <a:t>Asignación de recursos</a:t>
            </a:r>
          </a:p>
          <a:p>
            <a:pPr marL="342900" lvl="0" indent="-342900">
              <a:lnSpc>
                <a:spcPct val="107000"/>
              </a:lnSpc>
              <a:spcAft>
                <a:spcPts val="0"/>
              </a:spcAft>
              <a:buFont typeface="Arial" panose="020B0604020202020204" pitchFamily="34" charset="0"/>
              <a:buChar char="•"/>
              <a:tabLst>
                <a:tab pos="457200" algn="l"/>
              </a:tabLst>
            </a:pPr>
            <a:r>
              <a:rPr lang="es-ES" sz="1100">
                <a:latin typeface="Calibri" panose="020F0502020204030204" pitchFamily="34" charset="0"/>
                <a:ea typeface="Calibri" panose="020F0502020204030204" pitchFamily="34" charset="0"/>
                <a:cs typeface="Times New Roman" panose="02020603050405020304" pitchFamily="18" charset="0"/>
              </a:rPr>
              <a:t>Control de Proyecto</a:t>
            </a:r>
          </a:p>
          <a:p>
            <a:pPr marL="342900" lvl="0" indent="-342900">
              <a:lnSpc>
                <a:spcPct val="107000"/>
              </a:lnSpc>
              <a:spcAft>
                <a:spcPts val="0"/>
              </a:spcAft>
              <a:buFont typeface="Arial" panose="020B0604020202020204" pitchFamily="34" charset="0"/>
              <a:buChar char="•"/>
              <a:tabLst>
                <a:tab pos="457200" algn="l"/>
              </a:tabLst>
            </a:pPr>
            <a:r>
              <a:rPr lang="es-ES" sz="1100">
                <a:latin typeface="Calibri" panose="020F0502020204030204" pitchFamily="34" charset="0"/>
                <a:ea typeface="Calibri" panose="020F0502020204030204" pitchFamily="34" charset="0"/>
                <a:cs typeface="Times New Roman" panose="02020603050405020304" pitchFamily="18" charset="0"/>
              </a:rPr>
              <a:t>Creación </a:t>
            </a:r>
            <a:r>
              <a:rPr lang="es-ES" sz="1100" err="1">
                <a:latin typeface="Calibri" panose="020F0502020204030204" pitchFamily="34" charset="0"/>
                <a:ea typeface="Calibri" panose="020F0502020204030204" pitchFamily="34" charset="0"/>
                <a:cs typeface="Times New Roman" panose="02020603050405020304" pitchFamily="18" charset="0"/>
              </a:rPr>
              <a:t>Call</a:t>
            </a:r>
            <a:r>
              <a:rPr lang="es-ES" sz="1100">
                <a:latin typeface="Calibri" panose="020F0502020204030204" pitchFamily="34" charset="0"/>
                <a:ea typeface="Calibri" panose="020F0502020204030204" pitchFamily="34" charset="0"/>
                <a:cs typeface="Times New Roman" panose="02020603050405020304" pitchFamily="18" charset="0"/>
              </a:rPr>
              <a:t> center y soporte</a:t>
            </a:r>
            <a:endParaRPr lang="es-ES"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0" name="CuadroTexto 49">
            <a:extLst>
              <a:ext uri="{FF2B5EF4-FFF2-40B4-BE49-F238E27FC236}">
                <a16:creationId xmlns:a16="http://schemas.microsoft.com/office/drawing/2014/main" id="{A669BC4B-6A50-864F-85AF-01EA17581A38}"/>
              </a:ext>
            </a:extLst>
          </p:cNvPr>
          <p:cNvSpPr txBox="1"/>
          <p:nvPr/>
        </p:nvSpPr>
        <p:spPr>
          <a:xfrm>
            <a:off x="4955020" y="3819593"/>
            <a:ext cx="551757" cy="507831"/>
          </a:xfrm>
          <a:prstGeom prst="rect">
            <a:avLst/>
          </a:prstGeom>
          <a:noFill/>
        </p:spPr>
        <p:txBody>
          <a:bodyPr wrap="square" lIns="91440" tIns="45720" rIns="91440" bIns="45720" rtlCol="0" anchor="t">
            <a:spAutoFit/>
          </a:bodyPr>
          <a:lstStyle/>
          <a:p>
            <a:r>
              <a:rPr lang="es-ES" sz="900">
                <a:latin typeface="Soho Gothic Pro Medium"/>
              </a:rPr>
              <a:t>2016</a:t>
            </a:r>
            <a:endParaRPr lang="es-ES" sz="900">
              <a:latin typeface="Soho Gothic Pro Medium" panose="020B0503030504020204" pitchFamily="34" charset="77"/>
            </a:endParaRPr>
          </a:p>
          <a:p>
            <a:r>
              <a:rPr lang="es-ES" sz="900">
                <a:latin typeface="Soho Gothic Pro Medium" panose="020B0503030504020204" pitchFamily="34" charset="77"/>
              </a:rPr>
              <a:t>—</a:t>
            </a:r>
          </a:p>
          <a:p>
            <a:r>
              <a:rPr lang="es-ES" sz="900">
                <a:latin typeface="Soho Gothic Pro Medium"/>
              </a:rPr>
              <a:t>2013</a:t>
            </a:r>
            <a:endParaRPr lang="es-ES" sz="900">
              <a:latin typeface="Soho Gothic Pro Medium" panose="020B0503030504020204" pitchFamily="34" charset="77"/>
            </a:endParaRPr>
          </a:p>
        </p:txBody>
      </p:sp>
      <p:sp>
        <p:nvSpPr>
          <p:cNvPr id="38" name="CuadroTexto 37">
            <a:extLst>
              <a:ext uri="{FF2B5EF4-FFF2-40B4-BE49-F238E27FC236}">
                <a16:creationId xmlns:a16="http://schemas.microsoft.com/office/drawing/2014/main" id="{920CDAA3-74D2-6940-8900-4AABDD5BE40B}"/>
              </a:ext>
            </a:extLst>
          </p:cNvPr>
          <p:cNvSpPr txBox="1"/>
          <p:nvPr/>
        </p:nvSpPr>
        <p:spPr>
          <a:xfrm>
            <a:off x="9418744" y="3233741"/>
            <a:ext cx="1965960" cy="276999"/>
          </a:xfrm>
          <a:prstGeom prst="rect">
            <a:avLst/>
          </a:prstGeom>
          <a:noFill/>
        </p:spPr>
        <p:txBody>
          <a:bodyPr wrap="square" rtlCol="0">
            <a:spAutoFit/>
          </a:bodyPr>
          <a:lstStyle/>
          <a:p>
            <a:r>
              <a:rPr lang="es-ES" sz="1200">
                <a:solidFill>
                  <a:schemeClr val="tx1">
                    <a:lumMod val="95000"/>
                    <a:lumOff val="5000"/>
                  </a:schemeClr>
                </a:solidFill>
                <a:latin typeface="Soho Gothic Pro" panose="020B0503030504020204" pitchFamily="34" charset="77"/>
              </a:rPr>
              <a:t>IT</a:t>
            </a:r>
          </a:p>
        </p:txBody>
      </p:sp>
      <p:sp>
        <p:nvSpPr>
          <p:cNvPr id="53" name="CuadroTexto 52">
            <a:extLst>
              <a:ext uri="{FF2B5EF4-FFF2-40B4-BE49-F238E27FC236}">
                <a16:creationId xmlns:a16="http://schemas.microsoft.com/office/drawing/2014/main" id="{AB2E014F-704F-3649-A8CA-79AC24262337}"/>
              </a:ext>
            </a:extLst>
          </p:cNvPr>
          <p:cNvSpPr txBox="1"/>
          <p:nvPr/>
        </p:nvSpPr>
        <p:spPr>
          <a:xfrm>
            <a:off x="9418744" y="3509156"/>
            <a:ext cx="2831359" cy="1323439"/>
          </a:xfrm>
          <a:prstGeom prst="rect">
            <a:avLst/>
          </a:prstGeom>
          <a:noFill/>
        </p:spPr>
        <p:txBody>
          <a:bodyPr wrap="square" lIns="91440" tIns="45720" rIns="91440" bIns="45720" rtlCol="0" anchor="t">
            <a:spAutoFit/>
          </a:bodyPr>
          <a:lstStyle/>
          <a:p>
            <a:r>
              <a:rPr lang="es-ES" sz="1000" b="1">
                <a:ea typeface="+mn-lt"/>
                <a:cs typeface="+mn-lt"/>
              </a:rPr>
              <a:t>Lenguajes Programación:</a:t>
            </a:r>
            <a:r>
              <a:rPr lang="es-ES" sz="1000">
                <a:ea typeface="+mn-lt"/>
                <a:cs typeface="+mn-lt"/>
              </a:rPr>
              <a:t> </a:t>
            </a:r>
            <a:r>
              <a:rPr lang="es-ES" sz="1000" i="1">
                <a:ea typeface="+mn-lt"/>
                <a:cs typeface="+mn-lt"/>
              </a:rPr>
              <a:t>Java, Scala</a:t>
            </a:r>
            <a:endParaRPr lang="es-ES" sz="1000">
              <a:ea typeface="+mn-lt"/>
              <a:cs typeface="+mn-lt"/>
            </a:endParaRPr>
          </a:p>
          <a:p>
            <a:r>
              <a:rPr lang="es-ES" sz="1000" b="1">
                <a:ea typeface="+mn-lt"/>
                <a:cs typeface="+mn-lt"/>
              </a:rPr>
              <a:t>Scripting :</a:t>
            </a:r>
            <a:r>
              <a:rPr lang="es-ES" sz="1000">
                <a:ea typeface="+mn-lt"/>
                <a:cs typeface="+mn-lt"/>
              </a:rPr>
              <a:t> </a:t>
            </a:r>
            <a:r>
              <a:rPr lang="es-ES" sz="1000" i="1">
                <a:ea typeface="+mn-lt"/>
                <a:cs typeface="+mn-lt"/>
              </a:rPr>
              <a:t>Linux Scripting</a:t>
            </a:r>
            <a:endParaRPr lang="es-ES" sz="1000">
              <a:ea typeface="+mn-lt"/>
              <a:cs typeface="+mn-lt"/>
            </a:endParaRPr>
          </a:p>
          <a:p>
            <a:r>
              <a:rPr lang="es-ES" sz="1000" b="1">
                <a:ea typeface="+mn-lt"/>
                <a:cs typeface="+mn-lt"/>
              </a:rPr>
              <a:t>BBDD SQL:</a:t>
            </a:r>
            <a:r>
              <a:rPr lang="es-ES" sz="1000">
                <a:ea typeface="+mn-lt"/>
                <a:cs typeface="+mn-lt"/>
              </a:rPr>
              <a:t> </a:t>
            </a:r>
            <a:r>
              <a:rPr lang="es-ES" sz="1000" i="1">
                <a:ea typeface="+mn-lt"/>
                <a:cs typeface="+mn-lt"/>
              </a:rPr>
              <a:t>Hive/Impala, Kudu, Oracle, </a:t>
            </a:r>
            <a:r>
              <a:rPr lang="es-ES" sz="1000" i="1" err="1">
                <a:ea typeface="+mn-lt"/>
                <a:cs typeface="+mn-lt"/>
              </a:rPr>
              <a:t>ProstgreSQL</a:t>
            </a:r>
            <a:r>
              <a:rPr lang="es-ES" sz="1000" i="1">
                <a:ea typeface="+mn-lt"/>
                <a:cs typeface="+mn-lt"/>
              </a:rPr>
              <a:t>,</a:t>
            </a:r>
            <a:endParaRPr lang="en-US" sz="1000" err="1">
              <a:ea typeface="+mn-lt"/>
              <a:cs typeface="+mn-lt"/>
            </a:endParaRPr>
          </a:p>
          <a:p>
            <a:r>
              <a:rPr lang="es-ES" sz="1000" b="1">
                <a:ea typeface="+mn-lt"/>
                <a:cs typeface="+mn-lt"/>
              </a:rPr>
              <a:t>BBDD</a:t>
            </a:r>
            <a:r>
              <a:rPr lang="es-ES" sz="1000">
                <a:ea typeface="+mn-lt"/>
                <a:cs typeface="+mn-lt"/>
              </a:rPr>
              <a:t>: </a:t>
            </a:r>
            <a:r>
              <a:rPr lang="es-ES" sz="1000" i="1">
                <a:ea typeface="+mn-lt"/>
                <a:cs typeface="+mn-lt"/>
              </a:rPr>
              <a:t>MongoDB, </a:t>
            </a:r>
            <a:r>
              <a:rPr lang="es-ES" sz="1000" i="1" err="1">
                <a:ea typeface="+mn-lt"/>
                <a:cs typeface="+mn-lt"/>
              </a:rPr>
              <a:t>ElasticSearch</a:t>
            </a:r>
            <a:r>
              <a:rPr lang="es-ES" sz="1000" i="1">
                <a:ea typeface="+mn-lt"/>
                <a:cs typeface="+mn-lt"/>
              </a:rPr>
              <a:t>, Neo4j</a:t>
            </a:r>
            <a:endParaRPr lang="en-US" sz="1000">
              <a:ea typeface="+mn-lt"/>
              <a:cs typeface="+mn-lt"/>
            </a:endParaRPr>
          </a:p>
          <a:p>
            <a:r>
              <a:rPr lang="es-ES" sz="1000" b="1">
                <a:ea typeface="+mn-lt"/>
                <a:cs typeface="+mn-lt"/>
              </a:rPr>
              <a:t>Platforms</a:t>
            </a:r>
            <a:r>
              <a:rPr lang="es-ES" sz="1000">
                <a:ea typeface="+mn-lt"/>
                <a:cs typeface="+mn-lt"/>
              </a:rPr>
              <a:t>: </a:t>
            </a:r>
            <a:r>
              <a:rPr lang="es-ES" sz="1000" i="1" err="1">
                <a:ea typeface="+mn-lt"/>
                <a:cs typeface="+mn-lt"/>
              </a:rPr>
              <a:t>Cloudera</a:t>
            </a:r>
            <a:r>
              <a:rPr lang="es-ES" sz="1000" i="1">
                <a:ea typeface="+mn-lt"/>
                <a:cs typeface="+mn-lt"/>
              </a:rPr>
              <a:t>, Azure</a:t>
            </a:r>
            <a:endParaRPr lang="es-ES" sz="1000">
              <a:ea typeface="+mn-lt"/>
              <a:cs typeface="+mn-lt"/>
            </a:endParaRPr>
          </a:p>
          <a:p>
            <a:r>
              <a:rPr lang="es-ES" sz="1000" b="1">
                <a:ea typeface="+mn-lt"/>
                <a:cs typeface="+mn-lt"/>
              </a:rPr>
              <a:t>DevOps</a:t>
            </a:r>
            <a:r>
              <a:rPr lang="es-ES" sz="1000">
                <a:ea typeface="+mn-lt"/>
                <a:cs typeface="+mn-lt"/>
              </a:rPr>
              <a:t>: </a:t>
            </a:r>
            <a:r>
              <a:rPr lang="es-ES" sz="1000" i="1">
                <a:ea typeface="+mn-lt"/>
                <a:cs typeface="+mn-lt"/>
              </a:rPr>
              <a:t>GIT, Jenkins, Maven</a:t>
            </a:r>
            <a:endParaRPr lang="en-US" sz="1000">
              <a:ea typeface="+mn-lt"/>
              <a:cs typeface="+mn-lt"/>
            </a:endParaRPr>
          </a:p>
          <a:p>
            <a:r>
              <a:rPr lang="es-ES" sz="1000" b="1">
                <a:ea typeface="+mn-lt"/>
                <a:cs typeface="+mn-lt"/>
              </a:rPr>
              <a:t>Otras tecnologías</a:t>
            </a:r>
            <a:r>
              <a:rPr lang="es-ES" sz="1000" i="1">
                <a:ea typeface="+mn-lt"/>
                <a:cs typeface="+mn-lt"/>
              </a:rPr>
              <a:t>: JSP, AKKA actors, PL-I</a:t>
            </a:r>
            <a:endParaRPr lang="en-US"/>
          </a:p>
        </p:txBody>
      </p:sp>
      <p:sp>
        <p:nvSpPr>
          <p:cNvPr id="44" name="CuadroTexto 43">
            <a:extLst>
              <a:ext uri="{FF2B5EF4-FFF2-40B4-BE49-F238E27FC236}">
                <a16:creationId xmlns:a16="http://schemas.microsoft.com/office/drawing/2014/main" id="{920CDAA3-74D2-6940-8900-4AABDD5BE40B}"/>
              </a:ext>
            </a:extLst>
          </p:cNvPr>
          <p:cNvSpPr txBox="1"/>
          <p:nvPr/>
        </p:nvSpPr>
        <p:spPr>
          <a:xfrm>
            <a:off x="9439155" y="1635914"/>
            <a:ext cx="1965960" cy="276999"/>
          </a:xfrm>
          <a:prstGeom prst="rect">
            <a:avLst/>
          </a:prstGeom>
          <a:noFill/>
        </p:spPr>
        <p:txBody>
          <a:bodyPr wrap="square" rtlCol="0">
            <a:spAutoFit/>
          </a:bodyPr>
          <a:lstStyle/>
          <a:p>
            <a:r>
              <a:rPr lang="es-ES" sz="1200">
                <a:solidFill>
                  <a:schemeClr val="tx1">
                    <a:lumMod val="95000"/>
                    <a:lumOff val="5000"/>
                  </a:schemeClr>
                </a:solidFill>
                <a:latin typeface="Soho Gothic Pro" panose="020B0503030504020204" pitchFamily="34" charset="77"/>
              </a:rPr>
              <a:t>Certificaciones</a:t>
            </a:r>
          </a:p>
        </p:txBody>
      </p:sp>
      <p:sp>
        <p:nvSpPr>
          <p:cNvPr id="51" name="CuadroTexto 50">
            <a:extLst>
              <a:ext uri="{FF2B5EF4-FFF2-40B4-BE49-F238E27FC236}">
                <a16:creationId xmlns:a16="http://schemas.microsoft.com/office/drawing/2014/main" id="{AB2E014F-704F-3649-A8CA-79AC24262337}"/>
              </a:ext>
            </a:extLst>
          </p:cNvPr>
          <p:cNvSpPr txBox="1"/>
          <p:nvPr/>
        </p:nvSpPr>
        <p:spPr>
          <a:xfrm>
            <a:off x="9473300" y="1822057"/>
            <a:ext cx="2827675" cy="1477328"/>
          </a:xfrm>
          <a:prstGeom prst="rect">
            <a:avLst/>
          </a:prstGeom>
          <a:noFill/>
        </p:spPr>
        <p:txBody>
          <a:bodyPr wrap="square" lIns="91440" tIns="45720" rIns="91440" bIns="45720" rtlCol="0" anchor="t">
            <a:spAutoFit/>
          </a:bodyPr>
          <a:lstStyle/>
          <a:p>
            <a:r>
              <a:rPr lang="es-ES" sz="1000">
                <a:ea typeface="+mn-lt"/>
                <a:cs typeface="+mn-lt"/>
              </a:rPr>
              <a:t>2021</a:t>
            </a:r>
            <a:endParaRPr lang="en-US" sz="1000">
              <a:ea typeface="+mn-lt"/>
              <a:cs typeface="+mn-lt"/>
            </a:endParaRPr>
          </a:p>
          <a:p>
            <a:r>
              <a:rPr lang="es-ES" sz="1000"/>
              <a:t>Neo4j 4.0 </a:t>
            </a:r>
            <a:r>
              <a:rPr lang="es-ES" sz="1000" err="1"/>
              <a:t>Certified</a:t>
            </a:r>
            <a:endParaRPr lang="es-ES" sz="1000"/>
          </a:p>
          <a:p>
            <a:r>
              <a:rPr lang="es-ES" sz="1000">
                <a:ea typeface="+mn-lt"/>
                <a:cs typeface="+mn-lt"/>
              </a:rPr>
              <a:t/>
            </a:r>
            <a:br>
              <a:rPr lang="es-ES" sz="1000">
                <a:ea typeface="+mn-lt"/>
                <a:cs typeface="+mn-lt"/>
              </a:rPr>
            </a:br>
            <a:r>
              <a:rPr lang="es-ES" sz="1000">
                <a:ea typeface="+mn-lt"/>
                <a:cs typeface="+mn-lt"/>
              </a:rPr>
              <a:t>2021</a:t>
            </a:r>
            <a:endParaRPr lang="en-US" sz="1000">
              <a:ea typeface="+mn-lt"/>
              <a:cs typeface="+mn-lt"/>
            </a:endParaRPr>
          </a:p>
          <a:p>
            <a:r>
              <a:rPr lang="es-ES" sz="1000">
                <a:ea typeface="+mn-lt"/>
                <a:cs typeface="+mn-lt"/>
              </a:rPr>
              <a:t>MongoDB developer Associate,  en curso</a:t>
            </a:r>
            <a:endParaRPr lang="en-US" sz="1000">
              <a:ea typeface="+mn-lt"/>
              <a:cs typeface="+mn-lt"/>
            </a:endParaRPr>
          </a:p>
          <a:p>
            <a:endParaRPr lang="es-ES" sz="1000">
              <a:ea typeface="+mn-lt"/>
              <a:cs typeface="+mn-lt"/>
            </a:endParaRPr>
          </a:p>
          <a:p>
            <a:r>
              <a:rPr lang="es-ES" sz="1000">
                <a:ea typeface="+mn-lt"/>
                <a:cs typeface="+mn-lt"/>
              </a:rPr>
              <a:t>2020 </a:t>
            </a:r>
            <a:endParaRPr lang="es-ES">
              <a:ea typeface="+mn-lt"/>
              <a:cs typeface="+mn-lt"/>
            </a:endParaRPr>
          </a:p>
          <a:p>
            <a:r>
              <a:rPr lang="es-ES" sz="1000" err="1">
                <a:ea typeface="+mn-lt"/>
                <a:cs typeface="+mn-lt"/>
              </a:rPr>
              <a:t>Cloudera</a:t>
            </a:r>
            <a:r>
              <a:rPr lang="es-ES" sz="1000">
                <a:ea typeface="+mn-lt"/>
                <a:cs typeface="+mn-lt"/>
              </a:rPr>
              <a:t> </a:t>
            </a:r>
            <a:r>
              <a:rPr lang="es-ES" sz="1000" err="1">
                <a:ea typeface="+mn-lt"/>
                <a:cs typeface="+mn-lt"/>
              </a:rPr>
              <a:t>Spark</a:t>
            </a:r>
            <a:r>
              <a:rPr lang="es-ES" sz="1000">
                <a:ea typeface="+mn-lt"/>
                <a:cs typeface="+mn-lt"/>
              </a:rPr>
              <a:t> </a:t>
            </a:r>
            <a:r>
              <a:rPr lang="es-ES" sz="1000" err="1">
                <a:ea typeface="+mn-lt"/>
                <a:cs typeface="+mn-lt"/>
              </a:rPr>
              <a:t>devoloper</a:t>
            </a:r>
            <a:r>
              <a:rPr lang="es-ES" sz="1000">
                <a:ea typeface="+mn-lt"/>
                <a:cs typeface="+mn-lt"/>
              </a:rPr>
              <a:t>: curso oficial 400 </a:t>
            </a:r>
            <a:r>
              <a:rPr lang="es-ES" sz="1000" err="1">
                <a:ea typeface="+mn-lt"/>
                <a:cs typeface="+mn-lt"/>
              </a:rPr>
              <a:t>hr</a:t>
            </a:r>
            <a:r>
              <a:rPr lang="es-ES" sz="1000">
                <a:ea typeface="+mn-lt"/>
                <a:cs typeface="+mn-lt"/>
              </a:rPr>
              <a:t> </a:t>
            </a:r>
            <a:endParaRPr lang="es-ES" sz="1750"/>
          </a:p>
          <a:p>
            <a:endParaRPr lang="es-ES" sz="1000">
              <a:latin typeface="Soho Gothic Pro" panose="020B0503030504020204" pitchFamily="34" charset="77"/>
            </a:endParaRPr>
          </a:p>
        </p:txBody>
      </p:sp>
      <p:sp>
        <p:nvSpPr>
          <p:cNvPr id="57" name="CuadroTexto 56">
            <a:extLst>
              <a:ext uri="{FF2B5EF4-FFF2-40B4-BE49-F238E27FC236}">
                <a16:creationId xmlns:a16="http://schemas.microsoft.com/office/drawing/2014/main" id="{920CDAA3-74D2-6940-8900-4AABDD5BE40B}"/>
              </a:ext>
            </a:extLst>
          </p:cNvPr>
          <p:cNvSpPr txBox="1"/>
          <p:nvPr/>
        </p:nvSpPr>
        <p:spPr>
          <a:xfrm>
            <a:off x="9475278" y="127917"/>
            <a:ext cx="1965960" cy="276999"/>
          </a:xfrm>
          <a:prstGeom prst="rect">
            <a:avLst/>
          </a:prstGeom>
          <a:noFill/>
        </p:spPr>
        <p:txBody>
          <a:bodyPr wrap="square" rtlCol="0">
            <a:spAutoFit/>
          </a:bodyPr>
          <a:lstStyle/>
          <a:p>
            <a:r>
              <a:rPr lang="es-ES" sz="1200">
                <a:solidFill>
                  <a:schemeClr val="tx1">
                    <a:lumMod val="95000"/>
                    <a:lumOff val="5000"/>
                  </a:schemeClr>
                </a:solidFill>
                <a:latin typeface="Soho Gothic Pro" panose="020B0503030504020204" pitchFamily="34" charset="77"/>
              </a:rPr>
              <a:t>Educación</a:t>
            </a:r>
          </a:p>
        </p:txBody>
      </p:sp>
      <p:sp>
        <p:nvSpPr>
          <p:cNvPr id="71" name="CuadroTexto 70">
            <a:extLst>
              <a:ext uri="{FF2B5EF4-FFF2-40B4-BE49-F238E27FC236}">
                <a16:creationId xmlns:a16="http://schemas.microsoft.com/office/drawing/2014/main" id="{2A66A929-B846-D44F-959A-6C9F46C29E0F}"/>
              </a:ext>
            </a:extLst>
          </p:cNvPr>
          <p:cNvSpPr txBox="1"/>
          <p:nvPr/>
        </p:nvSpPr>
        <p:spPr>
          <a:xfrm>
            <a:off x="9824404" y="432671"/>
            <a:ext cx="3715301" cy="538609"/>
          </a:xfrm>
          <a:prstGeom prst="rect">
            <a:avLst/>
          </a:prstGeom>
          <a:noFill/>
        </p:spPr>
        <p:txBody>
          <a:bodyPr wrap="square" lIns="91440" tIns="45720" rIns="91440" bIns="45720" rtlCol="0" anchor="t">
            <a:spAutoFit/>
          </a:bodyPr>
          <a:lstStyle/>
          <a:p>
            <a:pPr lvl="0"/>
            <a:r>
              <a:rPr lang="es-ES" sz="900" b="1">
                <a:solidFill>
                  <a:srgbClr val="1A3B47"/>
                </a:solidFill>
                <a:latin typeface="Soho Gothic Pro" panose="020B0503030504020204" pitchFamily="34" charset="77"/>
              </a:rPr>
              <a:t>Master en Big Data</a:t>
            </a:r>
          </a:p>
          <a:p>
            <a:endParaRPr lang="es-ES" sz="1000">
              <a:ea typeface="+mn-lt"/>
              <a:cs typeface="+mn-lt"/>
            </a:endParaRPr>
          </a:p>
          <a:p>
            <a:r>
              <a:rPr lang="en-US" sz="1000">
                <a:latin typeface="Soho Gothic Pro" panose="020B0503030504020204" pitchFamily="34" charset="77"/>
              </a:rPr>
              <a:t>Universidad de La Plata (Argentina</a:t>
            </a:r>
          </a:p>
        </p:txBody>
      </p:sp>
      <p:sp>
        <p:nvSpPr>
          <p:cNvPr id="72" name="CuadroTexto 71">
            <a:extLst>
              <a:ext uri="{FF2B5EF4-FFF2-40B4-BE49-F238E27FC236}">
                <a16:creationId xmlns:a16="http://schemas.microsoft.com/office/drawing/2014/main" id="{561F596E-21F8-694B-836D-BD069D539A49}"/>
              </a:ext>
            </a:extLst>
          </p:cNvPr>
          <p:cNvSpPr txBox="1"/>
          <p:nvPr/>
        </p:nvSpPr>
        <p:spPr>
          <a:xfrm>
            <a:off x="9436876" y="1013478"/>
            <a:ext cx="551757" cy="507831"/>
          </a:xfrm>
          <a:prstGeom prst="rect">
            <a:avLst/>
          </a:prstGeom>
          <a:noFill/>
        </p:spPr>
        <p:txBody>
          <a:bodyPr wrap="square" lIns="91440" tIns="45720" rIns="91440" bIns="45720" rtlCol="0" anchor="t">
            <a:spAutoFit/>
          </a:bodyPr>
          <a:lstStyle/>
          <a:p>
            <a:r>
              <a:rPr lang="es-ES" sz="900">
                <a:latin typeface="Soho Gothic Pro Medium"/>
              </a:rPr>
              <a:t>2014</a:t>
            </a:r>
            <a:endParaRPr lang="es-ES" sz="900">
              <a:latin typeface="Soho Gothic Pro Medium" panose="020B0503030504020204" pitchFamily="34" charset="77"/>
            </a:endParaRPr>
          </a:p>
          <a:p>
            <a:r>
              <a:rPr lang="es-ES" sz="900">
                <a:latin typeface="Soho Gothic Pro Medium" panose="020B0503030504020204" pitchFamily="34" charset="77"/>
              </a:rPr>
              <a:t>—</a:t>
            </a:r>
          </a:p>
          <a:p>
            <a:r>
              <a:rPr lang="es-ES" sz="900">
                <a:latin typeface="Soho Gothic Pro Medium"/>
              </a:rPr>
              <a:t>2008</a:t>
            </a:r>
            <a:endParaRPr lang="es-ES" sz="900">
              <a:latin typeface="Soho Gothic Pro Medium" panose="020B0503030504020204" pitchFamily="34" charset="77"/>
            </a:endParaRPr>
          </a:p>
        </p:txBody>
      </p:sp>
      <p:sp>
        <p:nvSpPr>
          <p:cNvPr id="73" name="CuadroTexto 72">
            <a:extLst>
              <a:ext uri="{FF2B5EF4-FFF2-40B4-BE49-F238E27FC236}">
                <a16:creationId xmlns:a16="http://schemas.microsoft.com/office/drawing/2014/main" id="{592FED21-684F-1C48-9233-F269DFEF0F10}"/>
              </a:ext>
            </a:extLst>
          </p:cNvPr>
          <p:cNvSpPr txBox="1"/>
          <p:nvPr/>
        </p:nvSpPr>
        <p:spPr>
          <a:xfrm>
            <a:off x="9824404" y="1043751"/>
            <a:ext cx="3715301" cy="507768"/>
          </a:xfrm>
          <a:prstGeom prst="rect">
            <a:avLst/>
          </a:prstGeom>
          <a:noFill/>
        </p:spPr>
        <p:txBody>
          <a:bodyPr wrap="square" lIns="91440" tIns="45720" rIns="91440" bIns="45720" rtlCol="0" anchor="t">
            <a:spAutoFit/>
          </a:bodyPr>
          <a:lstStyle/>
          <a:p>
            <a:pPr lvl="0">
              <a:lnSpc>
                <a:spcPct val="107000"/>
              </a:lnSpc>
              <a:spcAft>
                <a:spcPts val="800"/>
              </a:spcAft>
            </a:pPr>
            <a:r>
              <a:rPr lang="es-ES" sz="900" b="1">
                <a:solidFill>
                  <a:srgbClr val="1A3B47"/>
                </a:solidFill>
                <a:latin typeface="Soho Gothic Pro" panose="020B0503030504020204" pitchFamily="34" charset="77"/>
              </a:rPr>
              <a:t>Ingeniero en Sistemas de Información</a:t>
            </a:r>
          </a:p>
          <a:p>
            <a:pPr>
              <a:lnSpc>
                <a:spcPct val="107000"/>
              </a:lnSpc>
              <a:spcAft>
                <a:spcPts val="800"/>
              </a:spcAft>
            </a:pPr>
            <a:r>
              <a:rPr lang="es-ES" sz="1000">
                <a:latin typeface="Soho Gothic Pro" panose="020B0503030504020204" pitchFamily="34" charset="77"/>
              </a:rPr>
              <a:t>Universidad Católica de La Plata (</a:t>
            </a:r>
            <a:r>
              <a:rPr lang="es-ES" sz="1000" err="1">
                <a:latin typeface="Soho Gothic Pro" panose="020B0503030504020204" pitchFamily="34" charset="77"/>
              </a:rPr>
              <a:t>Arg</a:t>
            </a:r>
            <a:r>
              <a:rPr lang="es-ES" sz="1000">
                <a:latin typeface="Soho Gothic Pro" panose="020B0503030504020204" pitchFamily="34" charset="77"/>
              </a:rPr>
              <a:t>)</a:t>
            </a:r>
          </a:p>
        </p:txBody>
      </p:sp>
      <p:sp>
        <p:nvSpPr>
          <p:cNvPr id="74" name="CuadroTexto 73">
            <a:extLst>
              <a:ext uri="{FF2B5EF4-FFF2-40B4-BE49-F238E27FC236}">
                <a16:creationId xmlns:a16="http://schemas.microsoft.com/office/drawing/2014/main" id="{7B82553E-CC55-FE4B-A11B-DE0E22DC5EE6}"/>
              </a:ext>
            </a:extLst>
          </p:cNvPr>
          <p:cNvSpPr txBox="1"/>
          <p:nvPr/>
        </p:nvSpPr>
        <p:spPr>
          <a:xfrm>
            <a:off x="9430295" y="456647"/>
            <a:ext cx="551757" cy="507831"/>
          </a:xfrm>
          <a:prstGeom prst="rect">
            <a:avLst/>
          </a:prstGeom>
          <a:noFill/>
        </p:spPr>
        <p:txBody>
          <a:bodyPr wrap="square" lIns="91440" tIns="45720" rIns="91440" bIns="45720" rtlCol="0" anchor="t">
            <a:spAutoFit/>
          </a:bodyPr>
          <a:lstStyle/>
          <a:p>
            <a:r>
              <a:rPr lang="es-ES" sz="900">
                <a:latin typeface="Soho Gothic Pro Medium"/>
              </a:rPr>
              <a:t>2019</a:t>
            </a:r>
            <a:endParaRPr lang="es-ES" sz="900">
              <a:latin typeface="Soho Gothic Pro Medium" panose="020B0503030504020204" pitchFamily="34" charset="77"/>
            </a:endParaRPr>
          </a:p>
          <a:p>
            <a:r>
              <a:rPr lang="es-ES" sz="900">
                <a:latin typeface="Soho Gothic Pro Medium" panose="020B0503030504020204" pitchFamily="34" charset="77"/>
              </a:rPr>
              <a:t>—</a:t>
            </a:r>
          </a:p>
          <a:p>
            <a:r>
              <a:rPr lang="es-ES" sz="900">
                <a:latin typeface="Soho Gothic Pro Medium"/>
              </a:rPr>
              <a:t>2018</a:t>
            </a:r>
            <a:endParaRPr lang="es-ES" sz="900">
              <a:latin typeface="Soho Gothic Pro Medium" panose="020B0503030504020204" pitchFamily="34" charset="77"/>
            </a:endParaRPr>
          </a:p>
        </p:txBody>
      </p:sp>
      <p:sp>
        <p:nvSpPr>
          <p:cNvPr id="25" name="CuadroTexto 24">
            <a:extLst>
              <a:ext uri="{FF2B5EF4-FFF2-40B4-BE49-F238E27FC236}">
                <a16:creationId xmlns:a16="http://schemas.microsoft.com/office/drawing/2014/main" id="{A669BC4B-6A50-864F-85AF-01EA17581A38}"/>
              </a:ext>
            </a:extLst>
          </p:cNvPr>
          <p:cNvSpPr txBox="1"/>
          <p:nvPr/>
        </p:nvSpPr>
        <p:spPr>
          <a:xfrm>
            <a:off x="4916898" y="2576786"/>
            <a:ext cx="840256" cy="507831"/>
          </a:xfrm>
          <a:prstGeom prst="rect">
            <a:avLst/>
          </a:prstGeom>
          <a:noFill/>
        </p:spPr>
        <p:txBody>
          <a:bodyPr wrap="square" lIns="91440" tIns="45720" rIns="91440" bIns="45720" rtlCol="0" anchor="t">
            <a:spAutoFit/>
          </a:bodyPr>
          <a:lstStyle/>
          <a:p>
            <a:pPr lvl="0"/>
            <a:r>
              <a:rPr lang="es-ES" sz="900">
                <a:solidFill>
                  <a:srgbClr val="1A3B47"/>
                </a:solidFill>
                <a:latin typeface="Soho Gothic Pro Medium" panose="020B0503030504020204" pitchFamily="34" charset="77"/>
              </a:rPr>
              <a:t>2016</a:t>
            </a:r>
          </a:p>
          <a:p>
            <a:pPr lvl="0"/>
            <a:r>
              <a:rPr lang="es-ES" sz="900">
                <a:solidFill>
                  <a:srgbClr val="1A3B47"/>
                </a:solidFill>
                <a:latin typeface="Soho Gothic Pro Medium" panose="020B0503030504020204" pitchFamily="34" charset="77"/>
              </a:rPr>
              <a:t>—</a:t>
            </a:r>
          </a:p>
          <a:p>
            <a:pPr lvl="0"/>
            <a:r>
              <a:rPr lang="es-ES" sz="900">
                <a:solidFill>
                  <a:srgbClr val="1A3B47"/>
                </a:solidFill>
                <a:latin typeface="Soho Gothic Pro Medium" panose="020B0503030504020204" pitchFamily="34" charset="77"/>
              </a:rPr>
              <a:t>2013</a:t>
            </a:r>
          </a:p>
        </p:txBody>
      </p:sp>
      <p:sp>
        <p:nvSpPr>
          <p:cNvPr id="26" name="CuadroTexto 25">
            <a:extLst>
              <a:ext uri="{FF2B5EF4-FFF2-40B4-BE49-F238E27FC236}">
                <a16:creationId xmlns:a16="http://schemas.microsoft.com/office/drawing/2014/main" id="{89221374-508B-FF4A-9DFB-601E8041A74B}"/>
              </a:ext>
            </a:extLst>
          </p:cNvPr>
          <p:cNvSpPr txBox="1"/>
          <p:nvPr/>
        </p:nvSpPr>
        <p:spPr>
          <a:xfrm>
            <a:off x="5418387" y="2593409"/>
            <a:ext cx="3848927" cy="1009315"/>
          </a:xfrm>
          <a:prstGeom prst="rect">
            <a:avLst/>
          </a:prstGeom>
          <a:noFill/>
        </p:spPr>
        <p:txBody>
          <a:bodyPr wrap="square" lIns="91440" tIns="45720" rIns="91440" bIns="45720" rtlCol="0" anchor="t">
            <a:spAutoFit/>
          </a:bodyPr>
          <a:lstStyle/>
          <a:p>
            <a:pPr algn="just">
              <a:lnSpc>
                <a:spcPct val="107000"/>
              </a:lnSpc>
              <a:spcAft>
                <a:spcPts val="800"/>
              </a:spcAft>
            </a:pPr>
            <a:r>
              <a:rPr lang="es-ES" sz="1000" b="1">
                <a:solidFill>
                  <a:srgbClr val="1A3B47"/>
                </a:solidFill>
                <a:latin typeface="Soho Gothic Pro" panose="020B0503030504020204" pitchFamily="34" charset="77"/>
              </a:rPr>
              <a:t>Profesor Universitario</a:t>
            </a:r>
          </a:p>
          <a:p>
            <a:pPr algn="just">
              <a:lnSpc>
                <a:spcPct val="107000"/>
              </a:lnSpc>
              <a:spcAft>
                <a:spcPts val="800"/>
              </a:spcAft>
            </a:pPr>
            <a:r>
              <a:rPr lang="es-ES" sz="900">
                <a:solidFill>
                  <a:srgbClr val="1A3B47"/>
                </a:solidFill>
                <a:latin typeface="Soho Gothic Pro" panose="020B0503030504020204" pitchFamily="34" charset="77"/>
              </a:rPr>
              <a:t>Universidad Católica de La Plata</a:t>
            </a:r>
          </a:p>
          <a:p>
            <a:pPr marL="171450" indent="-171450" algn="just">
              <a:lnSpc>
                <a:spcPct val="107000"/>
              </a:lnSpc>
              <a:spcAft>
                <a:spcPts val="800"/>
              </a:spcAft>
              <a:buFont typeface="Arial" panose="020B0604020202020204" pitchFamily="34" charset="0"/>
              <a:buChar char="•"/>
              <a:tabLst>
                <a:tab pos="457200" algn="l"/>
              </a:tabLst>
            </a:pPr>
            <a:r>
              <a:rPr lang="es-ES" sz="900">
                <a:solidFill>
                  <a:srgbClr val="1A3B47"/>
                </a:solidFill>
                <a:latin typeface="Soho Gothic Pro" panose="020B0503030504020204" pitchFamily="34" charset="77"/>
              </a:rPr>
              <a:t>Base de Datos (Ingeniería en Sistemas)</a:t>
            </a:r>
          </a:p>
          <a:p>
            <a:pPr marL="171450" indent="-171450" algn="just">
              <a:lnSpc>
                <a:spcPct val="107000"/>
              </a:lnSpc>
              <a:spcAft>
                <a:spcPts val="800"/>
              </a:spcAft>
              <a:buFont typeface="Arial" panose="020B0604020202020204" pitchFamily="34" charset="0"/>
              <a:buChar char="•"/>
              <a:tabLst>
                <a:tab pos="457200" algn="l"/>
              </a:tabLst>
            </a:pPr>
            <a:r>
              <a:rPr lang="es-ES" sz="900">
                <a:solidFill>
                  <a:srgbClr val="1A3B47"/>
                </a:solidFill>
                <a:latin typeface="Soho Gothic Pro" panose="020B0503030504020204" pitchFamily="34" charset="77"/>
              </a:rPr>
              <a:t>Sistemas y Organización (Ingeniería en Sistemas)</a:t>
            </a:r>
          </a:p>
        </p:txBody>
      </p:sp>
      <p:sp>
        <p:nvSpPr>
          <p:cNvPr id="27" name="CuadroTexto 26">
            <a:extLst>
              <a:ext uri="{FF2B5EF4-FFF2-40B4-BE49-F238E27FC236}">
                <a16:creationId xmlns:a16="http://schemas.microsoft.com/office/drawing/2014/main" id="{1813E8C3-18D9-0B4B-8FCA-406B39785552}"/>
              </a:ext>
            </a:extLst>
          </p:cNvPr>
          <p:cNvSpPr txBox="1"/>
          <p:nvPr/>
        </p:nvSpPr>
        <p:spPr>
          <a:xfrm>
            <a:off x="637345" y="1446550"/>
            <a:ext cx="3989098" cy="2175917"/>
          </a:xfrm>
          <a:prstGeom prst="rect">
            <a:avLst/>
          </a:prstGeom>
          <a:noFill/>
        </p:spPr>
        <p:txBody>
          <a:bodyPr wrap="square" lIns="91440" tIns="45720" rIns="91440" bIns="45720" rtlCol="0" anchor="t">
            <a:spAutoFit/>
          </a:bodyPr>
          <a:lstStyle/>
          <a:p>
            <a:pPr algn="just"/>
            <a:r>
              <a:rPr lang="es-ES" sz="1100" b="1">
                <a:ea typeface="+mn-lt"/>
                <a:cs typeface="+mn-lt"/>
              </a:rPr>
              <a:t>Minsait </a:t>
            </a:r>
            <a:r>
              <a:rPr lang="es-ES" sz="1100" b="1" err="1">
                <a:ea typeface="+mn-lt"/>
                <a:cs typeface="+mn-lt"/>
              </a:rPr>
              <a:t>by</a:t>
            </a:r>
            <a:r>
              <a:rPr lang="es-ES" sz="1100" b="1">
                <a:ea typeface="+mn-lt"/>
                <a:cs typeface="+mn-lt"/>
              </a:rPr>
              <a:t> Indra (Barcelona, España)</a:t>
            </a:r>
            <a:endParaRPr lang="en-US" sz="1100">
              <a:ea typeface="+mn-lt"/>
              <a:cs typeface="+mn-lt"/>
            </a:endParaRPr>
          </a:p>
          <a:p>
            <a:pPr algn="just"/>
            <a:r>
              <a:rPr lang="es-ES" sz="1100">
                <a:ea typeface="+mn-lt"/>
                <a:cs typeface="+mn-lt"/>
              </a:rPr>
              <a:t>Big Data </a:t>
            </a:r>
            <a:r>
              <a:rPr lang="es-ES" sz="1100" err="1">
                <a:ea typeface="+mn-lt"/>
                <a:cs typeface="+mn-lt"/>
              </a:rPr>
              <a:t>Engineer</a:t>
            </a:r>
            <a:endParaRPr lang="en-US" sz="1100">
              <a:ea typeface="+mn-lt"/>
              <a:cs typeface="+mn-lt"/>
            </a:endParaRPr>
          </a:p>
          <a:p>
            <a:pPr>
              <a:lnSpc>
                <a:spcPct val="107000"/>
              </a:lnSpc>
              <a:spcAft>
                <a:spcPts val="800"/>
              </a:spcAft>
            </a:pPr>
            <a:r>
              <a:rPr lang="es-ES" sz="1100" b="1">
                <a:latin typeface="Calibri" panose="020F0502020204030204" pitchFamily="34" charset="0"/>
                <a:ea typeface="Calibri" panose="020F0502020204030204" pitchFamily="34" charset="0"/>
                <a:cs typeface="Times New Roman" panose="02020603050405020304" pitchFamily="18" charset="0"/>
              </a:rPr>
              <a:t>Minsait </a:t>
            </a:r>
            <a:r>
              <a:rPr lang="es-ES" sz="1100" b="1" err="1">
                <a:latin typeface="Calibri" panose="020F0502020204030204" pitchFamily="34" charset="0"/>
                <a:ea typeface="Calibri" panose="020F0502020204030204" pitchFamily="34" charset="0"/>
                <a:cs typeface="Times New Roman" panose="02020603050405020304" pitchFamily="18" charset="0"/>
              </a:rPr>
              <a:t>by</a:t>
            </a:r>
            <a:r>
              <a:rPr lang="es-ES" sz="1100" b="1">
                <a:latin typeface="Calibri" panose="020F0502020204030204" pitchFamily="34" charset="0"/>
                <a:ea typeface="Calibri" panose="020F0502020204030204" pitchFamily="34" charset="0"/>
                <a:cs typeface="Times New Roman" panose="02020603050405020304" pitchFamily="18" charset="0"/>
              </a:rPr>
              <a:t> Indra (Lleida, España)</a:t>
            </a:r>
          </a:p>
          <a:p>
            <a:pPr>
              <a:lnSpc>
                <a:spcPct val="107000"/>
              </a:lnSpc>
              <a:spcAft>
                <a:spcPts val="800"/>
              </a:spcAft>
            </a:pPr>
            <a:r>
              <a:rPr lang="es-ES" sz="1100">
                <a:latin typeface="Calibri" panose="020F0502020204030204" pitchFamily="34" charset="0"/>
                <a:ea typeface="Calibri" panose="020F0502020204030204" pitchFamily="34" charset="0"/>
                <a:cs typeface="Times New Roman" panose="02020603050405020304" pitchFamily="18" charset="0"/>
              </a:rPr>
              <a:t>Consultor/</a:t>
            </a:r>
            <a:r>
              <a:rPr lang="es-ES" sz="1100" err="1">
                <a:latin typeface="Calibri" panose="020F0502020204030204" pitchFamily="34" charset="0"/>
                <a:ea typeface="Calibri" panose="020F0502020204030204" pitchFamily="34" charset="0"/>
                <a:cs typeface="Times New Roman" panose="02020603050405020304" pitchFamily="18" charset="0"/>
              </a:rPr>
              <a:t>Team</a:t>
            </a:r>
            <a:r>
              <a:rPr lang="es-ES" sz="1100">
                <a:latin typeface="Calibri" panose="020F0502020204030204" pitchFamily="34" charset="0"/>
                <a:ea typeface="Calibri" panose="020F0502020204030204" pitchFamily="34" charset="0"/>
                <a:cs typeface="Times New Roman" panose="02020603050405020304" pitchFamily="18" charset="0"/>
              </a:rPr>
              <a:t> Leader</a:t>
            </a:r>
            <a:endParaRPr lang="es-ES" sz="1100" b="1" u="sng">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es-ES" sz="1100" b="1" u="sng">
                <a:latin typeface="Calibri" panose="020F0502020204030204" pitchFamily="34" charset="0"/>
                <a:ea typeface="Calibri" panose="020F0502020204030204" pitchFamily="34" charset="0"/>
                <a:cs typeface="Times New Roman" panose="02020603050405020304" pitchFamily="18" charset="0"/>
              </a:rPr>
              <a:t>GVA(Generalitat Valenciana)</a:t>
            </a:r>
            <a:endParaRPr lang="es-ES" sz="110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buFont typeface="Arial" panose="020B0604020202020204" pitchFamily="34" charset="0"/>
              <a:buChar char="•"/>
              <a:tabLst>
                <a:tab pos="457200" algn="l"/>
              </a:tabLst>
            </a:pPr>
            <a:r>
              <a:rPr lang="es-ES" sz="1100">
                <a:latin typeface="Calibri" panose="020F0502020204030204" pitchFamily="34" charset="0"/>
                <a:ea typeface="Calibri" panose="020F0502020204030204" pitchFamily="34" charset="0"/>
                <a:cs typeface="Times New Roman" panose="02020603050405020304" pitchFamily="18" charset="0"/>
              </a:rPr>
              <a:t>Diseño y  elección de tecnología. Definición de los pipelines (ETL) uso de Python/Oracle/Neo4j</a:t>
            </a:r>
          </a:p>
          <a:p>
            <a:pPr marL="342900" indent="-342900">
              <a:lnSpc>
                <a:spcPct val="107000"/>
              </a:lnSpc>
              <a:buFont typeface="Arial" panose="020B0604020202020204" pitchFamily="34" charset="0"/>
              <a:buChar char="•"/>
              <a:tabLst>
                <a:tab pos="457200" algn="l"/>
              </a:tabLst>
            </a:pPr>
            <a:r>
              <a:rPr lang="es-ES" sz="1100">
                <a:latin typeface="Calibri" panose="020F0502020204030204" pitchFamily="34" charset="0"/>
                <a:ea typeface="+mn-lt"/>
                <a:cs typeface="Times New Roman" panose="02020603050405020304" pitchFamily="18" charset="0"/>
              </a:rPr>
              <a:t>Comunicación y liderazgo ante el cliente y equipo</a:t>
            </a:r>
          </a:p>
          <a:p>
            <a:pPr marL="342900" indent="-342900">
              <a:lnSpc>
                <a:spcPct val="107000"/>
              </a:lnSpc>
              <a:buFont typeface="Arial" panose="020B0604020202020204" pitchFamily="34" charset="0"/>
              <a:buChar char="•"/>
              <a:tabLst>
                <a:tab pos="457200" algn="l"/>
              </a:tabLst>
            </a:pPr>
            <a:r>
              <a:rPr lang="es-ES" sz="1100">
                <a:latin typeface="Calibri" panose="020F0502020204030204" pitchFamily="34" charset="0"/>
                <a:ea typeface="+mn-lt"/>
                <a:cs typeface="Times New Roman" panose="02020603050405020304" pitchFamily="18" charset="0"/>
              </a:rPr>
              <a:t>Definir tareas, trasladar y asignarlas.</a:t>
            </a:r>
            <a:endParaRPr lang="es-ES" sz="1100">
              <a:ea typeface="+mn-lt"/>
              <a:cs typeface="+mn-lt"/>
            </a:endParaRPr>
          </a:p>
          <a:p>
            <a:pPr algn="just"/>
            <a:endParaRPr lang="es-ES" sz="1100" b="1">
              <a:latin typeface="Soho Gothic Pro" panose="020B0503030504020204" pitchFamily="34" charset="77"/>
            </a:endParaRPr>
          </a:p>
        </p:txBody>
      </p:sp>
      <p:sp>
        <p:nvSpPr>
          <p:cNvPr id="28" name="CuadroTexto 27">
            <a:extLst>
              <a:ext uri="{FF2B5EF4-FFF2-40B4-BE49-F238E27FC236}">
                <a16:creationId xmlns:a16="http://schemas.microsoft.com/office/drawing/2014/main" id="{0F4E0202-A252-624B-BDF1-C6AE5E8A25DE}"/>
              </a:ext>
            </a:extLst>
          </p:cNvPr>
          <p:cNvSpPr txBox="1"/>
          <p:nvPr/>
        </p:nvSpPr>
        <p:spPr>
          <a:xfrm>
            <a:off x="6670089" y="160952"/>
            <a:ext cx="2731759" cy="707886"/>
          </a:xfrm>
          <a:prstGeom prst="rect">
            <a:avLst/>
          </a:prstGeom>
          <a:noFill/>
        </p:spPr>
        <p:txBody>
          <a:bodyPr wrap="square" lIns="91440" tIns="45720" rIns="91440" bIns="45720" rtlCol="0" anchor="t">
            <a:spAutoFit/>
          </a:bodyPr>
          <a:lstStyle/>
          <a:p>
            <a:r>
              <a:rPr lang="es-ES" sz="2000">
                <a:solidFill>
                  <a:srgbClr val="FFFDEF"/>
                </a:solidFill>
                <a:ea typeface="+mn-lt"/>
                <a:cs typeface="+mn-lt"/>
              </a:rPr>
              <a:t>Luis Mariano Moyano</a:t>
            </a:r>
            <a:endParaRPr lang="es-ES" sz="2000">
              <a:ea typeface="+mn-lt"/>
              <a:cs typeface="+mn-lt"/>
            </a:endParaRPr>
          </a:p>
          <a:p>
            <a:endParaRPr lang="es-ES" sz="2000">
              <a:solidFill>
                <a:schemeClr val="bg1"/>
              </a:solidFill>
              <a:latin typeface="Soho Gothic Pro Medium" panose="020B0503030504020204" pitchFamily="34" charset="77"/>
            </a:endParaRPr>
          </a:p>
        </p:txBody>
      </p:sp>
      <p:sp>
        <p:nvSpPr>
          <p:cNvPr id="29" name="CuadroTexto 28">
            <a:extLst>
              <a:ext uri="{FF2B5EF4-FFF2-40B4-BE49-F238E27FC236}">
                <a16:creationId xmlns:a16="http://schemas.microsoft.com/office/drawing/2014/main" id="{2671AB7D-9A8C-BF47-AEB3-28A9D0EE694D}"/>
              </a:ext>
            </a:extLst>
          </p:cNvPr>
          <p:cNvSpPr txBox="1"/>
          <p:nvPr/>
        </p:nvSpPr>
        <p:spPr>
          <a:xfrm>
            <a:off x="191384" y="3406104"/>
            <a:ext cx="551757" cy="507831"/>
          </a:xfrm>
          <a:prstGeom prst="rect">
            <a:avLst/>
          </a:prstGeom>
          <a:noFill/>
        </p:spPr>
        <p:txBody>
          <a:bodyPr wrap="square" lIns="91440" tIns="45720" rIns="91440" bIns="45720" rtlCol="0" anchor="t">
            <a:spAutoFit/>
          </a:bodyPr>
          <a:lstStyle/>
          <a:p>
            <a:r>
              <a:rPr lang="es-ES" sz="900">
                <a:ea typeface="+mn-lt"/>
                <a:cs typeface="+mn-lt"/>
              </a:rPr>
              <a:t>ACT</a:t>
            </a:r>
            <a:endParaRPr lang="en-US" sz="900">
              <a:ea typeface="+mn-lt"/>
              <a:cs typeface="+mn-lt"/>
            </a:endParaRPr>
          </a:p>
          <a:p>
            <a:r>
              <a:rPr lang="es-ES" sz="900">
                <a:ea typeface="+mn-lt"/>
                <a:cs typeface="+mn-lt"/>
              </a:rPr>
              <a:t>—</a:t>
            </a:r>
            <a:endParaRPr lang="en-US" sz="900">
              <a:ea typeface="+mn-lt"/>
              <a:cs typeface="+mn-lt"/>
            </a:endParaRPr>
          </a:p>
          <a:p>
            <a:r>
              <a:rPr lang="es-ES" sz="900">
                <a:ea typeface="+mn-lt"/>
                <a:cs typeface="+mn-lt"/>
              </a:rPr>
              <a:t>2019</a:t>
            </a:r>
            <a:endParaRPr lang="es-ES" sz="900">
              <a:latin typeface="Soho Gothic Pro Medium" panose="020B0503030504020204" pitchFamily="34" charset="77"/>
            </a:endParaRPr>
          </a:p>
        </p:txBody>
      </p:sp>
    </p:spTree>
    <p:extLst>
      <p:ext uri="{BB962C8B-B14F-4D97-AF65-F5344CB8AC3E}">
        <p14:creationId xmlns:p14="http://schemas.microsoft.com/office/powerpoint/2010/main" val="858662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3849" y="2165"/>
            <a:ext cx="9381793" cy="597942"/>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98260" y="-93159"/>
            <a:ext cx="2827094" cy="6948995"/>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90914" y="722429"/>
            <a:ext cx="9323047" cy="645887"/>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r>
              <a:rPr lang="en-US" sz="1199" spc="-1" dirty="0">
                <a:ea typeface="Soho Gothic Pro Light"/>
              </a:rPr>
              <a:t>Data engineering experience, with 9 years of professional experience The last 4 years focused on the Big Data Advanced Analytics world under </a:t>
            </a:r>
            <a:r>
              <a:rPr lang="en-US" sz="1199" spc="-1" dirty="0">
                <a:ea typeface="Soho Gothic Pro Light"/>
              </a:rPr>
              <a:t>a Big </a:t>
            </a:r>
            <a:r>
              <a:rPr lang="en-US" sz="1199" spc="-1" dirty="0">
                <a:ea typeface="Soho Gothic Pro Light"/>
              </a:rPr>
              <a:t>Data Engineer role, assuming a multidisciplinary profile that encompasses from the business perspective,</a:t>
            </a:r>
          </a:p>
          <a:p>
            <a:r>
              <a:rPr lang="en-US" sz="1199" spc="-1" dirty="0">
                <a:ea typeface="Soho Gothic Pro Light"/>
              </a:rPr>
              <a:t>passing through the technical area and collaborating in the digital transformation of large multinationals from different sectors</a:t>
            </a:r>
            <a:endParaRPr lang="es-ES" sz="1199" spc="-1" dirty="0">
              <a:ea typeface="Soho Gothic Pro Light"/>
            </a:endParaRPr>
          </a:p>
        </p:txBody>
      </p:sp>
      <p:sp>
        <p:nvSpPr>
          <p:cNvPr id="98" name="CuadroTexto 39_0"/>
          <p:cNvSpPr/>
          <p:nvPr/>
        </p:nvSpPr>
        <p:spPr>
          <a:xfrm>
            <a:off x="90913" y="3315243"/>
            <a:ext cx="674182" cy="784189"/>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s-ES" sz="899" b="1" spc="-1">
                <a:ea typeface="Soho Gothic Pro Light"/>
              </a:rPr>
              <a:t>11/2018</a:t>
            </a:r>
            <a:endParaRPr lang="es-ES" sz="899" b="1" spc="-1">
              <a:latin typeface="Arial"/>
            </a:endParaRPr>
          </a:p>
          <a:p>
            <a:r>
              <a:rPr lang="es-ES" sz="899" b="1" spc="-1">
                <a:ea typeface="Soho Gothic Pro Light"/>
              </a:rPr>
              <a:t>—</a:t>
            </a:r>
            <a:endParaRPr lang="es-ES" sz="899" b="1" spc="-1">
              <a:latin typeface="Arial"/>
            </a:endParaRPr>
          </a:p>
          <a:p>
            <a:pPr>
              <a:lnSpc>
                <a:spcPct val="100000"/>
              </a:lnSpc>
            </a:pPr>
            <a:endParaRPr lang="es-ES" sz="899" b="1" spc="-1">
              <a:latin typeface="Soho Gothic Pro Light"/>
              <a:ea typeface="Soho Gothic Pro Light"/>
            </a:endParaRPr>
          </a:p>
          <a:p>
            <a:pPr>
              <a:lnSpc>
                <a:spcPct val="100000"/>
              </a:lnSpc>
            </a:pPr>
            <a:r>
              <a:rPr lang="es-ES" sz="899" b="1" spc="-1">
                <a:latin typeface="Soho Gothic Pro Light"/>
                <a:ea typeface="Soho Gothic Pro Light"/>
              </a:rPr>
              <a:t>01/2017</a:t>
            </a:r>
            <a:endParaRPr lang="es-ES" sz="899" b="1" spc="-1">
              <a:latin typeface="Arial"/>
            </a:endParaRPr>
          </a:p>
          <a:p>
            <a:pPr>
              <a:lnSpc>
                <a:spcPct val="100000"/>
              </a:lnSpc>
            </a:pPr>
            <a:endParaRPr lang="es-ES" sz="899" spc="-1">
              <a:latin typeface="Arial"/>
            </a:endParaRPr>
          </a:p>
        </p:txBody>
      </p:sp>
      <p:sp>
        <p:nvSpPr>
          <p:cNvPr id="99" name="CuadroTexto 44_0"/>
          <p:cNvSpPr/>
          <p:nvPr/>
        </p:nvSpPr>
        <p:spPr>
          <a:xfrm>
            <a:off x="697168" y="1747277"/>
            <a:ext cx="4014353" cy="144552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r>
              <a:rPr lang="en-US" sz="1099" b="1" spc="-1" dirty="0" err="1">
                <a:ea typeface="Soho Gothic Pro Light"/>
              </a:rPr>
              <a:t>Telefónica</a:t>
            </a:r>
            <a:r>
              <a:rPr lang="en-US" sz="1099" b="1" spc="-1" dirty="0">
                <a:ea typeface="Soho Gothic Pro Light"/>
              </a:rPr>
              <a:t> Group</a:t>
            </a:r>
          </a:p>
          <a:p>
            <a:pPr algn="just"/>
            <a:r>
              <a:rPr lang="en-US" sz="1099" spc="-1" dirty="0">
                <a:ea typeface="Soho Gothic Pro Light"/>
              </a:rPr>
              <a:t>Lead Big Data </a:t>
            </a:r>
            <a:r>
              <a:rPr lang="en-US" sz="1099" spc="-1" dirty="0">
                <a:ea typeface="Soho Gothic Pro Light"/>
              </a:rPr>
              <a:t>/NoSQL Engineer</a:t>
            </a:r>
            <a:endParaRPr lang="es-ES" sz="1099" spc="-1" dirty="0">
              <a:latin typeface="Arial"/>
            </a:endParaRPr>
          </a:p>
          <a:p>
            <a:pPr marL="171267" indent="-170907" algn="just">
              <a:buClr>
                <a:srgbClr val="1A3B47"/>
              </a:buClr>
              <a:buFont typeface="Arial,Sans-Serif"/>
              <a:buChar char="•"/>
            </a:pPr>
            <a:r>
              <a:rPr lang="en-US" sz="1099" spc="-1" dirty="0"/>
              <a:t>Within Telefonica Data, collaborating in B2B projects related to Big Data and Advanced Analytics under the role of Big Data Engineer. The projects range from taking requirements with the client to the design, development, and </a:t>
            </a:r>
            <a:r>
              <a:rPr lang="en-US" sz="1099" spc="-1" dirty="0"/>
              <a:t>implementation of </a:t>
            </a:r>
            <a:r>
              <a:rPr lang="en-US" sz="1099" spc="-1" dirty="0"/>
              <a:t>solutions from a technical point of view.</a:t>
            </a:r>
            <a:endParaRPr lang="es-ES" sz="1099" spc="-1" dirty="0"/>
          </a:p>
        </p:txBody>
      </p:sp>
      <p:sp>
        <p:nvSpPr>
          <p:cNvPr id="102" name="CuadroTexto 54_0"/>
          <p:cNvSpPr/>
          <p:nvPr/>
        </p:nvSpPr>
        <p:spPr>
          <a:xfrm>
            <a:off x="9436370" y="5924279"/>
            <a:ext cx="1607824" cy="275360"/>
          </a:xfrm>
          <a:prstGeom prst="rect">
            <a:avLst/>
          </a:prstGeom>
          <a:noFill/>
          <a:ln w="0">
            <a:noFill/>
          </a:ln>
        </p:spPr>
        <p:style>
          <a:lnRef idx="0">
            <a:scrgbClr r="0" g="0" b="0"/>
          </a:lnRef>
          <a:fillRef idx="0">
            <a:scrgbClr r="0" g="0" b="0"/>
          </a:fillRef>
          <a:effectRef idx="0">
            <a:scrgbClr r="0" g="0" b="0"/>
          </a:effectRef>
          <a:fontRef idx="minor"/>
        </p:style>
        <p:txBody>
          <a:bodyPr lIns="89943" tIns="44972" rIns="89943" bIns="44972">
            <a:spAutoFit/>
          </a:bodyPr>
          <a:lstStyle/>
          <a:p>
            <a:pPr>
              <a:lnSpc>
                <a:spcPct val="100000"/>
              </a:lnSpc>
            </a:pPr>
            <a:r>
              <a:rPr lang="es-ES" sz="1199" spc="-1" err="1">
                <a:latin typeface="Soho Gothic Pro"/>
              </a:rPr>
              <a:t>Languajes</a:t>
            </a:r>
            <a:endParaRPr lang="es-ES" sz="1199" spc="-1">
              <a:latin typeface="Arial"/>
            </a:endParaRPr>
          </a:p>
        </p:txBody>
      </p:sp>
      <p:sp>
        <p:nvSpPr>
          <p:cNvPr id="103" name="CuadroTexto 55_0"/>
          <p:cNvSpPr/>
          <p:nvPr/>
        </p:nvSpPr>
        <p:spPr>
          <a:xfrm>
            <a:off x="9472707" y="6145198"/>
            <a:ext cx="2710528" cy="707315"/>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s-ES" sz="999" b="1" spc="-1" err="1">
                <a:latin typeface="Soho Gothic Pro Light"/>
                <a:ea typeface="Soho Gothic Pro Light"/>
              </a:rPr>
              <a:t>Spanish</a:t>
            </a:r>
            <a:r>
              <a:rPr lang="es-ES" sz="999" b="1" spc="-1">
                <a:latin typeface="Soho Gothic Pro Light"/>
                <a:ea typeface="Soho Gothic Pro Light"/>
              </a:rPr>
              <a:t> - </a:t>
            </a:r>
            <a:r>
              <a:rPr lang="es-ES" sz="999" spc="-1" err="1">
                <a:latin typeface="Soho Gothic Pro Light"/>
                <a:ea typeface="Soho Gothic Pro Light"/>
              </a:rPr>
              <a:t>Native</a:t>
            </a:r>
            <a:endParaRPr lang="es-ES" sz="999" spc="-1">
              <a:latin typeface="Soho Gothic Pro Light"/>
              <a:ea typeface="Soho Gothic Pro Light"/>
            </a:endParaRPr>
          </a:p>
          <a:p>
            <a:pPr>
              <a:lnSpc>
                <a:spcPct val="100000"/>
              </a:lnSpc>
            </a:pPr>
            <a:r>
              <a:rPr lang="es-ES" sz="999" b="1" spc="-1">
                <a:latin typeface="Soho Gothic Pro Light"/>
                <a:ea typeface="Soho Gothic Pro Light"/>
              </a:rPr>
              <a:t>English - </a:t>
            </a:r>
            <a:r>
              <a:rPr lang="es-ES" sz="999" spc="-1">
                <a:latin typeface="Soho Gothic Pro Light"/>
                <a:ea typeface="Soho Gothic Pro Light"/>
              </a:rPr>
              <a:t>C1</a:t>
            </a:r>
          </a:p>
          <a:p>
            <a:pPr>
              <a:lnSpc>
                <a:spcPct val="100000"/>
              </a:lnSpc>
            </a:pPr>
            <a:r>
              <a:rPr lang="es-ES" sz="999" b="1" spc="-1">
                <a:latin typeface="Soho Gothic Pro Light"/>
                <a:cs typeface="Arial"/>
              </a:rPr>
              <a:t>German</a:t>
            </a:r>
            <a:r>
              <a:rPr lang="es-ES" sz="999" spc="-1">
                <a:latin typeface="Soho Gothic Pro Light"/>
                <a:cs typeface="Arial"/>
              </a:rPr>
              <a:t>: A1</a:t>
            </a:r>
          </a:p>
          <a:p>
            <a:pPr>
              <a:lnSpc>
                <a:spcPct val="100000"/>
              </a:lnSpc>
            </a:pPr>
            <a:r>
              <a:rPr lang="es-ES" sz="999" b="1" spc="-1">
                <a:latin typeface="Soho Gothic Pro Light"/>
                <a:cs typeface="Arial"/>
              </a:rPr>
              <a:t>French:</a:t>
            </a:r>
            <a:r>
              <a:rPr lang="es-ES" sz="999" spc="-1">
                <a:latin typeface="Soho Gothic Pro Light"/>
                <a:cs typeface="Arial"/>
              </a:rPr>
              <a:t> A1</a:t>
            </a:r>
            <a:endParaRPr lang="es-ES" sz="999" spc="-1">
              <a:latin typeface="Arial"/>
              <a:cs typeface="Arial"/>
            </a:endParaRPr>
          </a:p>
        </p:txBody>
      </p:sp>
      <p:sp>
        <p:nvSpPr>
          <p:cNvPr id="106" name="CuadroTexto 30_0"/>
          <p:cNvSpPr/>
          <p:nvPr/>
        </p:nvSpPr>
        <p:spPr>
          <a:xfrm>
            <a:off x="90914" y="154709"/>
            <a:ext cx="2729596" cy="39998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r>
              <a:rPr lang="es-ES" sz="1999" spc="-1">
                <a:solidFill>
                  <a:schemeClr val="bg1"/>
                </a:solidFill>
                <a:latin typeface="Soho Gothic Pro Light"/>
                <a:ea typeface="Soho Gothic Pro Light"/>
              </a:rPr>
              <a:t>P.N.F.H.</a:t>
            </a:r>
          </a:p>
        </p:txBody>
      </p:sp>
      <p:sp>
        <p:nvSpPr>
          <p:cNvPr id="109" name="CuadroTexto 37_0"/>
          <p:cNvSpPr/>
          <p:nvPr/>
        </p:nvSpPr>
        <p:spPr>
          <a:xfrm>
            <a:off x="9413961" y="4811774"/>
            <a:ext cx="1964359" cy="275360"/>
          </a:xfrm>
          <a:prstGeom prst="rect">
            <a:avLst/>
          </a:prstGeom>
          <a:noFill/>
          <a:ln w="0">
            <a:noFill/>
          </a:ln>
        </p:spPr>
        <p:style>
          <a:lnRef idx="0">
            <a:scrgbClr r="0" g="0" b="0"/>
          </a:lnRef>
          <a:fillRef idx="0">
            <a:scrgbClr r="0" g="0" b="0"/>
          </a:fillRef>
          <a:effectRef idx="0">
            <a:scrgbClr r="0" g="0" b="0"/>
          </a:effectRef>
          <a:fontRef idx="minor"/>
        </p:style>
        <p:txBody>
          <a:bodyPr lIns="89943" tIns="44972" rIns="89943" bIns="44972">
            <a:spAutoFit/>
          </a:bodyPr>
          <a:lstStyle/>
          <a:p>
            <a:pPr>
              <a:lnSpc>
                <a:spcPct val="100000"/>
              </a:lnSpc>
            </a:pPr>
            <a:r>
              <a:rPr lang="es-ES" sz="1199" spc="-1">
                <a:latin typeface="Soho Gothic Pro"/>
              </a:rPr>
              <a:t>IT</a:t>
            </a:r>
            <a:endParaRPr lang="es-ES" sz="1199" spc="-1">
              <a:latin typeface="Arial"/>
            </a:endParaRPr>
          </a:p>
        </p:txBody>
      </p:sp>
      <p:sp>
        <p:nvSpPr>
          <p:cNvPr id="110" name="CuadroTexto 52_0"/>
          <p:cNvSpPr/>
          <p:nvPr/>
        </p:nvSpPr>
        <p:spPr>
          <a:xfrm>
            <a:off x="9398260" y="5017437"/>
            <a:ext cx="2784975" cy="861075"/>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r>
              <a:rPr lang="en-US" sz="999" b="1" spc="-1" dirty="0">
                <a:latin typeface="Soho Gothic Pro Light"/>
                <a:ea typeface="Soho Gothic Pro Light"/>
              </a:rPr>
              <a:t>Programming languages</a:t>
            </a:r>
            <a:r>
              <a:rPr lang="en-US" sz="999" spc="-1" dirty="0">
                <a:ea typeface="Soho Gothic Pro Light"/>
              </a:rPr>
              <a:t>: Python, Scala, R, Java,, Airflow, Tableau, Power BI, </a:t>
            </a:r>
            <a:r>
              <a:rPr lang="en-US" sz="999" spc="-1" dirty="0" err="1">
                <a:ea typeface="Soho Gothic Pro Light"/>
              </a:rPr>
              <a:t>Dataiku</a:t>
            </a:r>
            <a:r>
              <a:rPr lang="en-US" sz="999" spc="-1" dirty="0">
                <a:ea typeface="Soho Gothic Pro Light"/>
              </a:rPr>
              <a:t>,,, </a:t>
            </a:r>
          </a:p>
          <a:p>
            <a:r>
              <a:rPr lang="en-US" sz="999" b="1" spc="-1" dirty="0">
                <a:latin typeface="Soho Gothic Pro Light"/>
                <a:ea typeface="Soho Gothic Pro Light"/>
              </a:rPr>
              <a:t>Databases</a:t>
            </a:r>
            <a:r>
              <a:rPr lang="en-US" sz="999" spc="-1" dirty="0">
                <a:latin typeface="Soho Gothic Pro Light"/>
                <a:ea typeface="Soho Gothic Pro Light"/>
              </a:rPr>
              <a:t>: </a:t>
            </a:r>
            <a:r>
              <a:rPr lang="en-US" sz="999" spc="-1" dirty="0">
                <a:ea typeface="Soho Gothic Pro Light"/>
              </a:rPr>
              <a:t>MySQL, PostgreSQL, MongoDB</a:t>
            </a:r>
            <a:endParaRPr lang="en-US" sz="999" spc="-1" dirty="0">
              <a:latin typeface="Soho Gothic Pro Light"/>
              <a:ea typeface="Soho Gothic Pro Light"/>
            </a:endParaRPr>
          </a:p>
          <a:p>
            <a:pPr>
              <a:lnSpc>
                <a:spcPct val="100000"/>
              </a:lnSpc>
            </a:pPr>
            <a:r>
              <a:rPr lang="en-US" sz="999" b="1" spc="-1" dirty="0">
                <a:ea typeface="Soho Gothic Pro Light"/>
              </a:rPr>
              <a:t>Big Data (technology): </a:t>
            </a:r>
            <a:r>
              <a:rPr lang="en-US" sz="999" spc="-1" dirty="0">
                <a:ea typeface="Soho Gothic Pro Light"/>
              </a:rPr>
              <a:t>Spark, Kafka, </a:t>
            </a:r>
            <a:r>
              <a:rPr lang="en-US" sz="999" spc="-1" dirty="0" err="1">
                <a:ea typeface="Soho Gothic Pro Light"/>
              </a:rPr>
              <a:t>Sqoop</a:t>
            </a:r>
            <a:r>
              <a:rPr lang="en-US" sz="999" spc="-1" dirty="0">
                <a:ea typeface="Soho Gothic Pro Light"/>
              </a:rPr>
              <a:t>, Hive, Flume, Hadoop, AWS, Azure, Docker</a:t>
            </a:r>
          </a:p>
        </p:txBody>
      </p:sp>
      <p:sp>
        <p:nvSpPr>
          <p:cNvPr id="112" name="CuadroTexto 56_0"/>
          <p:cNvSpPr/>
          <p:nvPr/>
        </p:nvSpPr>
        <p:spPr>
          <a:xfrm>
            <a:off x="9473067" y="129885"/>
            <a:ext cx="1964359" cy="275360"/>
          </a:xfrm>
          <a:prstGeom prst="rect">
            <a:avLst/>
          </a:prstGeom>
          <a:noFill/>
          <a:ln w="0">
            <a:noFill/>
          </a:ln>
        </p:spPr>
        <p:style>
          <a:lnRef idx="0">
            <a:scrgbClr r="0" g="0" b="0"/>
          </a:lnRef>
          <a:fillRef idx="0">
            <a:scrgbClr r="0" g="0" b="0"/>
          </a:fillRef>
          <a:effectRef idx="0">
            <a:scrgbClr r="0" g="0" b="0"/>
          </a:effectRef>
          <a:fontRef idx="minor"/>
        </p:style>
        <p:txBody>
          <a:bodyPr lIns="89943" tIns="44972" rIns="89943" bIns="44972">
            <a:spAutoFit/>
          </a:bodyPr>
          <a:lstStyle/>
          <a:p>
            <a:pPr>
              <a:lnSpc>
                <a:spcPct val="100000"/>
              </a:lnSpc>
            </a:pPr>
            <a:r>
              <a:rPr lang="es-ES" sz="1199" spc="-1" err="1">
                <a:latin typeface="Soho Gothic Pro"/>
              </a:rPr>
              <a:t>Education</a:t>
            </a:r>
            <a:endParaRPr lang="es-ES" sz="1199" spc="-1">
              <a:latin typeface="Arial"/>
            </a:endParaRPr>
          </a:p>
        </p:txBody>
      </p:sp>
      <p:sp>
        <p:nvSpPr>
          <p:cNvPr id="113" name="CuadroTexto 70_0"/>
          <p:cNvSpPr/>
          <p:nvPr/>
        </p:nvSpPr>
        <p:spPr>
          <a:xfrm>
            <a:off x="9824925" y="485036"/>
            <a:ext cx="2347877" cy="246034"/>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n-US" sz="999" spc="-1">
                <a:ea typeface="Soho Gothic Pro Light"/>
              </a:rPr>
              <a:t>Executive MBA, EAE Business School</a:t>
            </a:r>
          </a:p>
        </p:txBody>
      </p:sp>
      <p:sp>
        <p:nvSpPr>
          <p:cNvPr id="114" name="CuadroTexto 73_0"/>
          <p:cNvSpPr/>
          <p:nvPr/>
        </p:nvSpPr>
        <p:spPr>
          <a:xfrm>
            <a:off x="9435946" y="423518"/>
            <a:ext cx="543322" cy="369017"/>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s-ES" sz="899" spc="-1">
                <a:latin typeface="Soho Gothic Pro Medium"/>
              </a:rPr>
              <a:t>2019-2021</a:t>
            </a:r>
            <a:endParaRPr lang="es-ES" sz="899" spc="-1">
              <a:latin typeface="Arial"/>
              <a:cs typeface="Arial"/>
            </a:endParaRPr>
          </a:p>
        </p:txBody>
      </p:sp>
      <p:sp>
        <p:nvSpPr>
          <p:cNvPr id="117" name="CuadroTexto 33_0"/>
          <p:cNvSpPr/>
          <p:nvPr/>
        </p:nvSpPr>
        <p:spPr>
          <a:xfrm>
            <a:off x="9434695" y="3214574"/>
            <a:ext cx="2612269" cy="275360"/>
          </a:xfrm>
          <a:prstGeom prst="rect">
            <a:avLst/>
          </a:prstGeom>
          <a:noFill/>
          <a:ln w="0">
            <a:noFill/>
          </a:ln>
        </p:spPr>
        <p:style>
          <a:lnRef idx="0">
            <a:scrgbClr r="0" g="0" b="0"/>
          </a:lnRef>
          <a:fillRef idx="0">
            <a:scrgbClr r="0" g="0" b="0"/>
          </a:fillRef>
          <a:effectRef idx="0">
            <a:scrgbClr r="0" g="0" b="0"/>
          </a:effectRef>
          <a:fontRef idx="minor"/>
        </p:style>
        <p:txBody>
          <a:bodyPr wrap="square" lIns="89943" tIns="44972" rIns="89943" bIns="44972" anchor="t">
            <a:spAutoFit/>
          </a:bodyPr>
          <a:lstStyle/>
          <a:p>
            <a:pPr>
              <a:lnSpc>
                <a:spcPct val="100000"/>
              </a:lnSpc>
            </a:pPr>
            <a:r>
              <a:rPr lang="es-ES" sz="1199" b="1" spc="-1" dirty="0" err="1">
                <a:latin typeface="Soho Gothic Pro Light"/>
              </a:rPr>
              <a:t>Relevant</a:t>
            </a:r>
            <a:r>
              <a:rPr lang="es-ES" sz="1199" b="1" spc="-1" dirty="0">
                <a:latin typeface="Soho Gothic Pro Light"/>
              </a:rPr>
              <a:t> Training </a:t>
            </a:r>
            <a:r>
              <a:rPr lang="es-ES" sz="1199" b="1" spc="-1" dirty="0" err="1">
                <a:latin typeface="Soho Gothic Pro Light"/>
              </a:rPr>
              <a:t>Courses</a:t>
            </a:r>
            <a:endParaRPr lang="es-ES" sz="1199" spc="-1" dirty="0">
              <a:latin typeface="Arial"/>
            </a:endParaRPr>
          </a:p>
        </p:txBody>
      </p:sp>
      <p:sp>
        <p:nvSpPr>
          <p:cNvPr id="30" name="CuadroTexto 44_0"/>
          <p:cNvSpPr/>
          <p:nvPr/>
        </p:nvSpPr>
        <p:spPr>
          <a:xfrm>
            <a:off x="700532" y="3492104"/>
            <a:ext cx="3925152" cy="430631"/>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lnSpc>
                <a:spcPct val="100000"/>
              </a:lnSpc>
            </a:pPr>
            <a:r>
              <a:rPr lang="en-US" sz="1099" b="1" spc="-1">
                <a:ea typeface="Soho Gothic Pro Light"/>
              </a:rPr>
              <a:t>Synergic Partners – TFCA Data Company</a:t>
            </a:r>
          </a:p>
          <a:p>
            <a:pPr algn="just">
              <a:lnSpc>
                <a:spcPct val="100000"/>
              </a:lnSpc>
            </a:pPr>
            <a:r>
              <a:rPr lang="en-US" sz="1099" spc="-1">
                <a:ea typeface="Soho Gothic Pro Light"/>
              </a:rPr>
              <a:t>Big Data Engineer</a:t>
            </a:r>
            <a:endParaRPr lang="es-ES" sz="1099" spc="-1">
              <a:ea typeface="Soho Gothic Pro Light"/>
            </a:endParaRPr>
          </a:p>
        </p:txBody>
      </p:sp>
      <p:sp>
        <p:nvSpPr>
          <p:cNvPr id="33" name="CuadroTexto 39_0"/>
          <p:cNvSpPr/>
          <p:nvPr/>
        </p:nvSpPr>
        <p:spPr>
          <a:xfrm>
            <a:off x="165564" y="1747276"/>
            <a:ext cx="646665" cy="64581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899" b="1" spc="-1">
                <a:latin typeface="Soho Gothic Pro Light"/>
                <a:ea typeface="Soho Gothic Pro Light"/>
              </a:rPr>
              <a:t>ACT</a:t>
            </a:r>
            <a:endParaRPr lang="es-ES" sz="899" b="1" spc="-1">
              <a:latin typeface="Arial"/>
            </a:endParaRPr>
          </a:p>
          <a:p>
            <a:pPr>
              <a:lnSpc>
                <a:spcPct val="100000"/>
              </a:lnSpc>
            </a:pPr>
            <a:r>
              <a:rPr lang="es-ES" sz="899" b="1" spc="-1">
                <a:latin typeface="Soho Gothic Pro Light"/>
                <a:ea typeface="Soho Gothic Pro Light"/>
              </a:rPr>
              <a:t>—</a:t>
            </a:r>
            <a:endParaRPr lang="es-ES" sz="899" b="1" spc="-1">
              <a:latin typeface="Arial"/>
            </a:endParaRPr>
          </a:p>
          <a:p>
            <a:pPr>
              <a:lnSpc>
                <a:spcPct val="100000"/>
              </a:lnSpc>
            </a:pPr>
            <a:r>
              <a:rPr lang="es-ES" sz="899" b="1" spc="-1">
                <a:latin typeface="Soho Gothic Pro Light"/>
                <a:ea typeface="Soho Gothic Pro Light"/>
              </a:rPr>
              <a:t>11/2018</a:t>
            </a:r>
            <a:endParaRPr lang="es-ES" sz="899" b="1" spc="-1">
              <a:latin typeface="Arial"/>
            </a:endParaRPr>
          </a:p>
          <a:p>
            <a:pPr>
              <a:lnSpc>
                <a:spcPct val="100000"/>
              </a:lnSpc>
            </a:pPr>
            <a:endParaRPr lang="es-ES" sz="899" spc="-1">
              <a:latin typeface="Arial"/>
            </a:endParaRPr>
          </a:p>
        </p:txBody>
      </p:sp>
      <p:sp>
        <p:nvSpPr>
          <p:cNvPr id="39" name="CuadroTexto 40_0"/>
          <p:cNvSpPr/>
          <p:nvPr/>
        </p:nvSpPr>
        <p:spPr>
          <a:xfrm>
            <a:off x="3453350" y="112616"/>
            <a:ext cx="2691100" cy="461478"/>
          </a:xfrm>
          <a:prstGeom prst="rect">
            <a:avLst/>
          </a:prstGeom>
          <a:noFill/>
          <a:ln w="0">
            <a:noFill/>
          </a:ln>
        </p:spPr>
        <p:style>
          <a:lnRef idx="0">
            <a:scrgbClr r="0" g="0" b="0"/>
          </a:lnRef>
          <a:fillRef idx="0">
            <a:scrgbClr r="0" g="0" b="0"/>
          </a:fillRef>
          <a:effectRef idx="0">
            <a:scrgbClr r="0" g="0" b="0"/>
          </a:effectRef>
          <a:fontRef idx="minor"/>
        </p:style>
        <p:txBody>
          <a:bodyPr lIns="91382" tIns="45691" rIns="91382" bIns="45691" anchor="t">
            <a:spAutoFit/>
          </a:bodyPr>
          <a:lstStyle/>
          <a:p>
            <a:pPr>
              <a:lnSpc>
                <a:spcPct val="100000"/>
              </a:lnSpc>
            </a:pPr>
            <a:r>
              <a:rPr lang="es-ES" sz="2399" spc="-1">
                <a:solidFill>
                  <a:schemeClr val="bg1"/>
                </a:solidFill>
                <a:latin typeface="Soho Gothic Pro Medium"/>
              </a:rPr>
              <a:t>Data </a:t>
            </a:r>
            <a:r>
              <a:rPr lang="es-ES" sz="2399" spc="-1" err="1">
                <a:solidFill>
                  <a:schemeClr val="bg1"/>
                </a:solidFill>
                <a:latin typeface="Soho Gothic Pro Medium"/>
              </a:rPr>
              <a:t>Engineer</a:t>
            </a:r>
            <a:endParaRPr lang="es-ES" sz="2399" spc="-1">
              <a:solidFill>
                <a:schemeClr val="bg1"/>
              </a:solidFill>
              <a:latin typeface="Arial"/>
            </a:endParaRPr>
          </a:p>
        </p:txBody>
      </p:sp>
      <p:sp>
        <p:nvSpPr>
          <p:cNvPr id="41" name="CuadroTexto 50_0"/>
          <p:cNvSpPr/>
          <p:nvPr/>
        </p:nvSpPr>
        <p:spPr>
          <a:xfrm>
            <a:off x="9471062" y="3445012"/>
            <a:ext cx="2649367" cy="1320903"/>
          </a:xfrm>
          <a:prstGeom prst="rect">
            <a:avLst/>
          </a:prstGeom>
          <a:noFill/>
          <a:ln w="0">
            <a:noFill/>
          </a:ln>
        </p:spPr>
        <p:style>
          <a:lnRef idx="0">
            <a:scrgbClr r="0" g="0" b="0"/>
          </a:lnRef>
          <a:fillRef idx="0">
            <a:scrgbClr r="0" g="0" b="0"/>
          </a:fillRef>
          <a:effectRef idx="0">
            <a:scrgbClr r="0" g="0" b="0"/>
          </a:effectRef>
          <a:fontRef idx="minor"/>
        </p:style>
        <p:txBody>
          <a:bodyPr wrap="square" lIns="89943" tIns="44972" rIns="89943" bIns="44972">
            <a:spAutoFit/>
          </a:bodyPr>
          <a:lstStyle/>
          <a:p>
            <a:pPr algn="just"/>
            <a:r>
              <a:rPr lang="es-ES" sz="999" spc="-1" dirty="0">
                <a:ea typeface="Soho Gothic Pro Light"/>
              </a:rPr>
              <a:t>08/21 – DA100 </a:t>
            </a:r>
            <a:r>
              <a:rPr lang="es-ES" sz="999" spc="-1" dirty="0" err="1">
                <a:ea typeface="Soho Gothic Pro Light"/>
              </a:rPr>
              <a:t>Analyzing</a:t>
            </a:r>
            <a:r>
              <a:rPr lang="es-ES" sz="999" spc="-1" dirty="0">
                <a:ea typeface="Soho Gothic Pro Light"/>
              </a:rPr>
              <a:t> Data w PBI</a:t>
            </a:r>
          </a:p>
          <a:p>
            <a:pPr algn="just"/>
            <a:r>
              <a:rPr lang="en-US" sz="999" spc="-1" dirty="0">
                <a:ea typeface="Soho Gothic Pro Light"/>
              </a:rPr>
              <a:t>02/19 – DS with Python – </a:t>
            </a:r>
            <a:r>
              <a:rPr lang="en-US" sz="999" spc="-1" dirty="0" err="1">
                <a:ea typeface="Soho Gothic Pro Light"/>
              </a:rPr>
              <a:t>Datacamp</a:t>
            </a:r>
            <a:endParaRPr lang="en-US" sz="999" spc="-1" dirty="0">
              <a:ea typeface="Soho Gothic Pro Light"/>
            </a:endParaRPr>
          </a:p>
          <a:p>
            <a:pPr algn="just"/>
            <a:r>
              <a:rPr lang="en-US" sz="999" spc="-1" dirty="0">
                <a:ea typeface="Soho Gothic Pro Light"/>
              </a:rPr>
              <a:t>12/17 – DA with Python – </a:t>
            </a:r>
            <a:r>
              <a:rPr lang="en-US" sz="999" spc="-1" dirty="0" err="1">
                <a:ea typeface="Soho Gothic Pro Light"/>
              </a:rPr>
              <a:t>Datacamp</a:t>
            </a:r>
            <a:endParaRPr lang="en-US" sz="999" spc="-1" dirty="0">
              <a:ea typeface="Soho Gothic Pro Light"/>
            </a:endParaRPr>
          </a:p>
          <a:p>
            <a:pPr algn="just"/>
            <a:r>
              <a:rPr lang="en-US" sz="999" spc="-1" dirty="0">
                <a:ea typeface="Soho Gothic Pro Light"/>
              </a:rPr>
              <a:t>WIP – DP-203 Azure Data Engineer</a:t>
            </a:r>
          </a:p>
          <a:p>
            <a:pPr algn="just"/>
            <a:r>
              <a:rPr lang="en-US" sz="999" spc="-1" dirty="0">
                <a:ea typeface="Soho Gothic Pro Light"/>
              </a:rPr>
              <a:t>WIP – Admin RDB M Azure DP-300T00</a:t>
            </a:r>
          </a:p>
          <a:p>
            <a:pPr algn="just"/>
            <a:r>
              <a:rPr lang="en-US" sz="999" spc="-1" dirty="0">
                <a:ea typeface="Soho Gothic Pro Light"/>
              </a:rPr>
              <a:t>07/21 – LPIC-1</a:t>
            </a:r>
          </a:p>
          <a:p>
            <a:pPr algn="just"/>
            <a:r>
              <a:rPr lang="en-US" sz="999" spc="-1" dirty="0">
                <a:ea typeface="Soho Gothic Pro Light"/>
              </a:rPr>
              <a:t>10/20 – </a:t>
            </a:r>
            <a:r>
              <a:rPr lang="en-US" sz="999" spc="-1" dirty="0" err="1">
                <a:ea typeface="Soho Gothic Pro Light"/>
              </a:rPr>
              <a:t>Dataiku</a:t>
            </a:r>
            <a:r>
              <a:rPr lang="en-US" sz="999" spc="-1" dirty="0">
                <a:ea typeface="Soho Gothic Pro Light"/>
              </a:rPr>
              <a:t> DSS </a:t>
            </a:r>
            <a:r>
              <a:rPr lang="en-US" sz="999" spc="-1" dirty="0" err="1">
                <a:ea typeface="Soho Gothic Pro Light"/>
              </a:rPr>
              <a:t>Certificacion</a:t>
            </a:r>
            <a:r>
              <a:rPr lang="en-US" sz="999" spc="-1" dirty="0">
                <a:ea typeface="Soho Gothic Pro Light"/>
              </a:rPr>
              <a:t> L1</a:t>
            </a:r>
          </a:p>
          <a:p>
            <a:pPr algn="just"/>
            <a:r>
              <a:rPr lang="en-US" sz="999" spc="-1" dirty="0">
                <a:ea typeface="Soho Gothic Pro Light"/>
              </a:rPr>
              <a:t>11/20 – Python </a:t>
            </a:r>
            <a:r>
              <a:rPr lang="en-US" sz="999" spc="-1" dirty="0" err="1">
                <a:ea typeface="Soho Gothic Pro Light"/>
              </a:rPr>
              <a:t>programer</a:t>
            </a:r>
            <a:r>
              <a:rPr lang="en-US" sz="999" spc="-1" dirty="0">
                <a:ea typeface="Soho Gothic Pro Light"/>
              </a:rPr>
              <a:t> - </a:t>
            </a:r>
            <a:r>
              <a:rPr lang="en-US" sz="999" spc="-1" dirty="0" err="1">
                <a:ea typeface="Soho Gothic Pro Light"/>
              </a:rPr>
              <a:t>Datacamp</a:t>
            </a:r>
            <a:endParaRPr lang="es-ES" sz="999" spc="-1" dirty="0">
              <a:ea typeface="Soho Gothic Pro Light"/>
            </a:endParaRPr>
          </a:p>
        </p:txBody>
      </p:sp>
      <p:sp>
        <p:nvSpPr>
          <p:cNvPr id="42" name="CuadroTexto 44_0"/>
          <p:cNvSpPr/>
          <p:nvPr/>
        </p:nvSpPr>
        <p:spPr>
          <a:xfrm>
            <a:off x="697168" y="4335212"/>
            <a:ext cx="4014353" cy="76892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r>
              <a:rPr lang="es-ES" sz="1099" b="1" spc="-1">
                <a:ea typeface="Soho Gothic Pro Light"/>
              </a:rPr>
              <a:t>NAFERINA</a:t>
            </a:r>
            <a:endParaRPr lang="en-US" sz="1099" b="1" spc="-1">
              <a:ea typeface="Soho Gothic Pro Light"/>
            </a:endParaRPr>
          </a:p>
          <a:p>
            <a:pPr algn="just"/>
            <a:r>
              <a:rPr lang="en-US" sz="1099" spc="-1">
                <a:ea typeface="Soho Gothic Pro Light"/>
              </a:rPr>
              <a:t>Founder business and investment</a:t>
            </a:r>
            <a:endParaRPr lang="es-ES" sz="1099" spc="-1">
              <a:latin typeface="Arial"/>
            </a:endParaRPr>
          </a:p>
          <a:p>
            <a:pPr marL="171267" indent="-170907" algn="just">
              <a:buClr>
                <a:srgbClr val="1A3B47"/>
              </a:buClr>
              <a:buFont typeface="Arial,Sans-Serif"/>
              <a:buChar char="•"/>
            </a:pPr>
            <a:r>
              <a:rPr lang="en-US" sz="1099" spc="-1"/>
              <a:t>Entrepreneurship in the creation and implementation of restoration, real estate business and investment firm.</a:t>
            </a:r>
            <a:endParaRPr lang="es-ES" sz="1099" spc="-1"/>
          </a:p>
        </p:txBody>
      </p:sp>
      <p:sp>
        <p:nvSpPr>
          <p:cNvPr id="44" name="CuadroTexto 39_0"/>
          <p:cNvSpPr/>
          <p:nvPr/>
        </p:nvSpPr>
        <p:spPr>
          <a:xfrm>
            <a:off x="90913" y="4335211"/>
            <a:ext cx="674182" cy="64581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s-ES" sz="899" b="1" spc="-1">
                <a:ea typeface="Soho Gothic Pro Light"/>
              </a:rPr>
              <a:t>11/2018</a:t>
            </a:r>
            <a:endParaRPr lang="es-ES" sz="899" b="1" spc="-1">
              <a:latin typeface="Arial"/>
            </a:endParaRPr>
          </a:p>
          <a:p>
            <a:r>
              <a:rPr lang="es-ES" sz="899" b="1" spc="-1">
                <a:ea typeface="Soho Gothic Pro Light"/>
              </a:rPr>
              <a:t>—</a:t>
            </a:r>
            <a:endParaRPr lang="es-ES" sz="899" b="1" spc="-1">
              <a:latin typeface="Arial"/>
            </a:endParaRPr>
          </a:p>
          <a:p>
            <a:pPr>
              <a:lnSpc>
                <a:spcPct val="100000"/>
              </a:lnSpc>
            </a:pPr>
            <a:endParaRPr lang="es-ES" sz="899" b="1" spc="-1">
              <a:ea typeface="Soho Gothic Pro Light"/>
            </a:endParaRPr>
          </a:p>
          <a:p>
            <a:pPr>
              <a:lnSpc>
                <a:spcPct val="100000"/>
              </a:lnSpc>
            </a:pPr>
            <a:r>
              <a:rPr lang="es-ES" sz="899" b="1" spc="-1">
                <a:ea typeface="Soho Gothic Pro Light"/>
              </a:rPr>
              <a:t>03/2015</a:t>
            </a:r>
            <a:endParaRPr lang="es-ES" sz="899" spc="-1">
              <a:latin typeface="Arial"/>
            </a:endParaRPr>
          </a:p>
        </p:txBody>
      </p:sp>
      <p:sp>
        <p:nvSpPr>
          <p:cNvPr id="45" name="CuadroTexto 44_0"/>
          <p:cNvSpPr/>
          <p:nvPr/>
        </p:nvSpPr>
        <p:spPr>
          <a:xfrm>
            <a:off x="697168" y="5424265"/>
            <a:ext cx="4014353" cy="76892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r>
              <a:rPr lang="es-ES" sz="1099" b="1" spc="-1">
                <a:ea typeface="Soho Gothic Pro Light"/>
              </a:rPr>
              <a:t>GS GROUP</a:t>
            </a:r>
          </a:p>
          <a:p>
            <a:pPr algn="just"/>
            <a:r>
              <a:rPr lang="en-US" sz="1099" spc="-1">
                <a:ea typeface="Soho Gothic Pro Light"/>
              </a:rPr>
              <a:t>Commercial intermediary</a:t>
            </a:r>
          </a:p>
          <a:p>
            <a:pPr algn="just"/>
            <a:r>
              <a:rPr lang="en-US" sz="1099" spc="-1"/>
              <a:t>Commercial intermediary in whole and retail sales of technological products.</a:t>
            </a:r>
            <a:endParaRPr lang="es-ES" sz="1099" spc="-1"/>
          </a:p>
        </p:txBody>
      </p:sp>
      <p:sp>
        <p:nvSpPr>
          <p:cNvPr id="46" name="CuadroTexto 39_0"/>
          <p:cNvSpPr/>
          <p:nvPr/>
        </p:nvSpPr>
        <p:spPr>
          <a:xfrm>
            <a:off x="90913" y="5424264"/>
            <a:ext cx="674182" cy="64581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s-ES" sz="899" b="1" spc="-1">
                <a:ea typeface="Soho Gothic Pro Light"/>
              </a:rPr>
              <a:t>11/2014</a:t>
            </a:r>
            <a:endParaRPr lang="es-ES" sz="899" b="1" spc="-1">
              <a:latin typeface="Arial"/>
            </a:endParaRPr>
          </a:p>
          <a:p>
            <a:r>
              <a:rPr lang="es-ES" sz="899" b="1" spc="-1">
                <a:ea typeface="Soho Gothic Pro Light"/>
              </a:rPr>
              <a:t>—</a:t>
            </a:r>
            <a:endParaRPr lang="es-ES" sz="899" b="1" spc="-1">
              <a:latin typeface="Arial"/>
            </a:endParaRPr>
          </a:p>
          <a:p>
            <a:pPr>
              <a:lnSpc>
                <a:spcPct val="100000"/>
              </a:lnSpc>
            </a:pPr>
            <a:endParaRPr lang="es-ES" sz="899" b="1" spc="-1">
              <a:ea typeface="Soho Gothic Pro Light"/>
            </a:endParaRPr>
          </a:p>
          <a:p>
            <a:pPr>
              <a:lnSpc>
                <a:spcPct val="100000"/>
              </a:lnSpc>
            </a:pPr>
            <a:r>
              <a:rPr lang="es-ES" sz="899" b="1" spc="-1">
                <a:ea typeface="Soho Gothic Pro Light"/>
              </a:rPr>
              <a:t>09/2014</a:t>
            </a:r>
            <a:endParaRPr lang="es-ES" sz="899" spc="-1">
              <a:latin typeface="Arial"/>
            </a:endParaRPr>
          </a:p>
        </p:txBody>
      </p:sp>
      <p:sp>
        <p:nvSpPr>
          <p:cNvPr id="47" name="CuadroTexto 44_0"/>
          <p:cNvSpPr/>
          <p:nvPr/>
        </p:nvSpPr>
        <p:spPr>
          <a:xfrm>
            <a:off x="5537822" y="1747276"/>
            <a:ext cx="4014353" cy="938077"/>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r>
              <a:rPr lang="es-ES" sz="1099" b="1" spc="-1">
                <a:ea typeface="Soho Gothic Pro Light"/>
              </a:rPr>
              <a:t>Canal de </a:t>
            </a:r>
            <a:r>
              <a:rPr lang="es-ES" sz="1099" b="1" spc="-1" err="1">
                <a:ea typeface="Soho Gothic Pro Light"/>
              </a:rPr>
              <a:t>Isabell</a:t>
            </a:r>
            <a:r>
              <a:rPr lang="es-ES" sz="1099" b="1" spc="-1">
                <a:ea typeface="Soho Gothic Pro Light"/>
              </a:rPr>
              <a:t> II</a:t>
            </a:r>
          </a:p>
          <a:p>
            <a:pPr algn="just"/>
            <a:r>
              <a:rPr lang="en-US" sz="1099" spc="-1">
                <a:ea typeface="Soho Gothic Pro Light"/>
              </a:rPr>
              <a:t>Geological Engineer</a:t>
            </a:r>
          </a:p>
          <a:p>
            <a:pPr algn="just"/>
            <a:r>
              <a:rPr lang="en-US" sz="1099" spc="-1"/>
              <a:t>Geological engineer in the Groundwater Prospecting Division. Developing a predictive model in aquifer artificial recharge project in Madrid.</a:t>
            </a:r>
            <a:endParaRPr lang="es-ES" sz="1099" spc="-1"/>
          </a:p>
        </p:txBody>
      </p:sp>
      <p:sp>
        <p:nvSpPr>
          <p:cNvPr id="48" name="CuadroTexto 39_0"/>
          <p:cNvSpPr/>
          <p:nvPr/>
        </p:nvSpPr>
        <p:spPr>
          <a:xfrm>
            <a:off x="4931568" y="1747276"/>
            <a:ext cx="674182" cy="64581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s-ES" sz="899" b="1" spc="-1">
                <a:ea typeface="Soho Gothic Pro Light"/>
              </a:rPr>
              <a:t>04/2014</a:t>
            </a:r>
            <a:endParaRPr lang="es-ES" sz="899" b="1" spc="-1">
              <a:latin typeface="Arial"/>
            </a:endParaRPr>
          </a:p>
          <a:p>
            <a:r>
              <a:rPr lang="es-ES" sz="899" b="1" spc="-1">
                <a:ea typeface="Soho Gothic Pro Light"/>
              </a:rPr>
              <a:t>—</a:t>
            </a:r>
            <a:endParaRPr lang="es-ES" sz="899" b="1" spc="-1">
              <a:latin typeface="Arial"/>
            </a:endParaRPr>
          </a:p>
          <a:p>
            <a:pPr>
              <a:lnSpc>
                <a:spcPct val="100000"/>
              </a:lnSpc>
            </a:pPr>
            <a:endParaRPr lang="es-ES" sz="899" b="1" spc="-1">
              <a:ea typeface="Soho Gothic Pro Light"/>
            </a:endParaRPr>
          </a:p>
          <a:p>
            <a:pPr>
              <a:lnSpc>
                <a:spcPct val="100000"/>
              </a:lnSpc>
            </a:pPr>
            <a:r>
              <a:rPr lang="es-ES" sz="899" b="1" spc="-1">
                <a:ea typeface="Soho Gothic Pro Light"/>
              </a:rPr>
              <a:t>04/2013</a:t>
            </a:r>
            <a:endParaRPr lang="es-ES" sz="899" spc="-1">
              <a:latin typeface="Arial"/>
            </a:endParaRPr>
          </a:p>
        </p:txBody>
      </p:sp>
      <p:sp>
        <p:nvSpPr>
          <p:cNvPr id="49" name="CuadroTexto 44_0"/>
          <p:cNvSpPr/>
          <p:nvPr/>
        </p:nvSpPr>
        <p:spPr>
          <a:xfrm>
            <a:off x="5537822" y="3005539"/>
            <a:ext cx="3755513" cy="938077"/>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r>
              <a:rPr lang="es-ES" sz="1099" b="1" spc="-1">
                <a:ea typeface="Soho Gothic Pro Light"/>
              </a:rPr>
              <a:t>TRAGSATEC</a:t>
            </a:r>
          </a:p>
          <a:p>
            <a:pPr algn="just"/>
            <a:r>
              <a:rPr lang="en-US" sz="1099" spc="-1">
                <a:ea typeface="Soho Gothic Pro Light"/>
              </a:rPr>
              <a:t>Geological Engineer</a:t>
            </a:r>
          </a:p>
          <a:p>
            <a:pPr algn="just"/>
            <a:r>
              <a:rPr lang="en-US" sz="1099" spc="-1"/>
              <a:t>University internship in the Geological Department. Management, treatment, and data modeling in Diagnosis of official </a:t>
            </a:r>
            <a:r>
              <a:rPr lang="en-US" sz="1099" spc="-1" err="1"/>
              <a:t>piezometric</a:t>
            </a:r>
            <a:r>
              <a:rPr lang="en-US" sz="1099" spc="-1"/>
              <a:t> networks</a:t>
            </a:r>
            <a:endParaRPr lang="es-ES" sz="1099" spc="-1"/>
          </a:p>
        </p:txBody>
      </p:sp>
      <p:sp>
        <p:nvSpPr>
          <p:cNvPr id="50" name="CuadroTexto 39_0"/>
          <p:cNvSpPr/>
          <p:nvPr/>
        </p:nvSpPr>
        <p:spPr>
          <a:xfrm>
            <a:off x="4931567" y="2910430"/>
            <a:ext cx="674182" cy="64581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s-ES" sz="899" b="1" spc="-1">
                <a:ea typeface="Soho Gothic Pro Light"/>
              </a:rPr>
              <a:t>09/2012</a:t>
            </a:r>
            <a:endParaRPr lang="es-ES" sz="899" b="1" spc="-1">
              <a:latin typeface="Arial"/>
            </a:endParaRPr>
          </a:p>
          <a:p>
            <a:r>
              <a:rPr lang="es-ES" sz="899" b="1" spc="-1">
                <a:ea typeface="Soho Gothic Pro Light"/>
              </a:rPr>
              <a:t>—</a:t>
            </a:r>
            <a:endParaRPr lang="es-ES" sz="899" b="1" spc="-1">
              <a:latin typeface="Arial"/>
            </a:endParaRPr>
          </a:p>
          <a:p>
            <a:pPr>
              <a:lnSpc>
                <a:spcPct val="100000"/>
              </a:lnSpc>
            </a:pPr>
            <a:endParaRPr lang="es-ES" sz="899" b="1" spc="-1">
              <a:ea typeface="Soho Gothic Pro Light"/>
            </a:endParaRPr>
          </a:p>
          <a:p>
            <a:pPr>
              <a:lnSpc>
                <a:spcPct val="100000"/>
              </a:lnSpc>
            </a:pPr>
            <a:r>
              <a:rPr lang="es-ES" sz="899" b="1" spc="-1">
                <a:ea typeface="Soho Gothic Pro Light"/>
              </a:rPr>
              <a:t>07/2012</a:t>
            </a:r>
            <a:endParaRPr lang="es-ES" sz="899" spc="-1">
              <a:latin typeface="Arial"/>
            </a:endParaRPr>
          </a:p>
        </p:txBody>
      </p:sp>
      <p:sp>
        <p:nvSpPr>
          <p:cNvPr id="51" name="CuadroTexto 44_0"/>
          <p:cNvSpPr/>
          <p:nvPr/>
        </p:nvSpPr>
        <p:spPr>
          <a:xfrm>
            <a:off x="5537822" y="4335213"/>
            <a:ext cx="3755513" cy="430631"/>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r>
              <a:rPr lang="es-ES" sz="1099" b="1" spc="-1">
                <a:ea typeface="Soho Gothic Pro Light"/>
              </a:rPr>
              <a:t>CIVIL PROTECTION VOLUNTEER</a:t>
            </a:r>
          </a:p>
          <a:p>
            <a:pPr algn="just"/>
            <a:r>
              <a:rPr lang="en-US" sz="1099" spc="-1">
                <a:ea typeface="Soho Gothic Pro Light"/>
              </a:rPr>
              <a:t>Emergency technician volunteer</a:t>
            </a:r>
            <a:endParaRPr lang="es-ES" sz="1099" spc="-1"/>
          </a:p>
        </p:txBody>
      </p:sp>
      <p:sp>
        <p:nvSpPr>
          <p:cNvPr id="52" name="CuadroTexto 39_0"/>
          <p:cNvSpPr/>
          <p:nvPr/>
        </p:nvSpPr>
        <p:spPr>
          <a:xfrm>
            <a:off x="4931567" y="4335211"/>
            <a:ext cx="674182" cy="645818"/>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s-ES" sz="899" b="1" spc="-1">
                <a:ea typeface="Soho Gothic Pro Light"/>
              </a:rPr>
              <a:t>12/2010</a:t>
            </a:r>
            <a:endParaRPr lang="es-ES" sz="899" b="1" spc="-1">
              <a:latin typeface="Arial"/>
            </a:endParaRPr>
          </a:p>
          <a:p>
            <a:r>
              <a:rPr lang="es-ES" sz="899" b="1" spc="-1">
                <a:ea typeface="Soho Gothic Pro Light"/>
              </a:rPr>
              <a:t>—</a:t>
            </a:r>
            <a:endParaRPr lang="es-ES" sz="899" b="1" spc="-1">
              <a:latin typeface="Arial"/>
            </a:endParaRPr>
          </a:p>
          <a:p>
            <a:pPr>
              <a:lnSpc>
                <a:spcPct val="100000"/>
              </a:lnSpc>
            </a:pPr>
            <a:endParaRPr lang="es-ES" sz="899" b="1" spc="-1">
              <a:ea typeface="Soho Gothic Pro Light"/>
            </a:endParaRPr>
          </a:p>
          <a:p>
            <a:pPr>
              <a:lnSpc>
                <a:spcPct val="100000"/>
              </a:lnSpc>
            </a:pPr>
            <a:r>
              <a:rPr lang="es-ES" sz="899" b="1" spc="-1">
                <a:ea typeface="Soho Gothic Pro Light"/>
              </a:rPr>
              <a:t>08/2006</a:t>
            </a:r>
            <a:endParaRPr lang="es-ES" sz="899" spc="-1">
              <a:latin typeface="Arial"/>
            </a:endParaRPr>
          </a:p>
        </p:txBody>
      </p:sp>
      <p:sp>
        <p:nvSpPr>
          <p:cNvPr id="53" name="CuadroTexto 70_0"/>
          <p:cNvSpPr/>
          <p:nvPr/>
        </p:nvSpPr>
        <p:spPr>
          <a:xfrm>
            <a:off x="9824925" y="732027"/>
            <a:ext cx="2347877" cy="399794"/>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s-ES" sz="999" spc="-1">
                <a:ea typeface="Soho Gothic Pro Light"/>
              </a:rPr>
              <a:t>Big Data </a:t>
            </a:r>
            <a:r>
              <a:rPr lang="es-ES" sz="999" spc="-1" err="1">
                <a:ea typeface="Soho Gothic Pro Light"/>
              </a:rPr>
              <a:t>Processing</a:t>
            </a:r>
            <a:r>
              <a:rPr lang="es-ES" sz="999" spc="-1">
                <a:ea typeface="Soho Gothic Pro Light"/>
              </a:rPr>
              <a:t>, Fundación Telefónica</a:t>
            </a:r>
            <a:endParaRPr lang="en-US" sz="999" spc="-1">
              <a:ea typeface="Soho Gothic Pro Light"/>
            </a:endParaRPr>
          </a:p>
        </p:txBody>
      </p:sp>
      <p:sp>
        <p:nvSpPr>
          <p:cNvPr id="54" name="CuadroTexto 73_0"/>
          <p:cNvSpPr/>
          <p:nvPr/>
        </p:nvSpPr>
        <p:spPr>
          <a:xfrm>
            <a:off x="9435946" y="747405"/>
            <a:ext cx="543322" cy="369017"/>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s-ES" sz="899" spc="-1">
                <a:latin typeface="Soho Gothic Pro Medium"/>
              </a:rPr>
              <a:t>2018-2017</a:t>
            </a:r>
            <a:endParaRPr lang="es-ES" sz="899" spc="-1">
              <a:latin typeface="Arial"/>
              <a:cs typeface="Arial"/>
            </a:endParaRPr>
          </a:p>
        </p:txBody>
      </p:sp>
      <p:sp>
        <p:nvSpPr>
          <p:cNvPr id="55" name="CuadroTexto 70_0"/>
          <p:cNvSpPr/>
          <p:nvPr/>
        </p:nvSpPr>
        <p:spPr>
          <a:xfrm>
            <a:off x="9824925" y="1056907"/>
            <a:ext cx="2347877" cy="399794"/>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n-US" sz="999" spc="-1">
                <a:ea typeface="Soho Gothic Pro Light"/>
              </a:rPr>
              <a:t>Data Science Program, Johns Hopkins University</a:t>
            </a:r>
          </a:p>
        </p:txBody>
      </p:sp>
      <p:sp>
        <p:nvSpPr>
          <p:cNvPr id="56" name="CuadroTexto 73_0"/>
          <p:cNvSpPr/>
          <p:nvPr/>
        </p:nvSpPr>
        <p:spPr>
          <a:xfrm>
            <a:off x="9435946" y="1072285"/>
            <a:ext cx="543322" cy="369017"/>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s-ES" sz="899" spc="-1">
                <a:latin typeface="Soho Gothic Pro Medium"/>
              </a:rPr>
              <a:t>2018-2017</a:t>
            </a:r>
            <a:endParaRPr lang="es-ES" sz="899" spc="-1">
              <a:latin typeface="Arial"/>
              <a:cs typeface="Arial"/>
            </a:endParaRPr>
          </a:p>
        </p:txBody>
      </p:sp>
      <p:sp>
        <p:nvSpPr>
          <p:cNvPr id="57" name="CuadroTexto 70_0"/>
          <p:cNvSpPr/>
          <p:nvPr/>
        </p:nvSpPr>
        <p:spPr>
          <a:xfrm>
            <a:off x="9833711" y="1426212"/>
            <a:ext cx="2347877" cy="399794"/>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s-ES" sz="999" spc="-1">
                <a:ea typeface="Soho Gothic Pro Light"/>
              </a:rPr>
              <a:t>DEU Dirección General Y Estratégica, UNED</a:t>
            </a:r>
            <a:endParaRPr lang="en-US" sz="999" spc="-1">
              <a:ea typeface="Soho Gothic Pro Light"/>
            </a:endParaRPr>
          </a:p>
        </p:txBody>
      </p:sp>
      <p:sp>
        <p:nvSpPr>
          <p:cNvPr id="58" name="CuadroTexto 73_0"/>
          <p:cNvSpPr/>
          <p:nvPr/>
        </p:nvSpPr>
        <p:spPr>
          <a:xfrm>
            <a:off x="9444732" y="1441591"/>
            <a:ext cx="543322" cy="369017"/>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s-ES" sz="899" spc="-1">
                <a:latin typeface="Soho Gothic Pro Medium"/>
              </a:rPr>
              <a:t>2016-2014</a:t>
            </a:r>
            <a:endParaRPr lang="es-ES" sz="899" spc="-1">
              <a:latin typeface="Arial"/>
              <a:cs typeface="Arial"/>
            </a:endParaRPr>
          </a:p>
        </p:txBody>
      </p:sp>
      <p:sp>
        <p:nvSpPr>
          <p:cNvPr id="59" name="CuadroTexto 70_0"/>
          <p:cNvSpPr/>
          <p:nvPr/>
        </p:nvSpPr>
        <p:spPr>
          <a:xfrm>
            <a:off x="9833711" y="1809327"/>
            <a:ext cx="2347877" cy="399794"/>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s-ES" sz="999" spc="-1">
                <a:ea typeface="Soho Gothic Pro Light"/>
              </a:rPr>
              <a:t>DEU Dirección Financiera de la Empresa, UNED</a:t>
            </a:r>
            <a:endParaRPr lang="en-US" sz="999" spc="-1">
              <a:ea typeface="Soho Gothic Pro Light"/>
            </a:endParaRPr>
          </a:p>
        </p:txBody>
      </p:sp>
      <p:sp>
        <p:nvSpPr>
          <p:cNvPr id="60" name="CuadroTexto 73_0"/>
          <p:cNvSpPr/>
          <p:nvPr/>
        </p:nvSpPr>
        <p:spPr>
          <a:xfrm>
            <a:off x="9444732" y="1824705"/>
            <a:ext cx="543322" cy="369017"/>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s-ES" sz="899" spc="-1">
                <a:latin typeface="Soho Gothic Pro Medium"/>
              </a:rPr>
              <a:t>2015-2014</a:t>
            </a:r>
            <a:endParaRPr lang="es-ES" sz="899" spc="-1">
              <a:latin typeface="Arial"/>
              <a:cs typeface="Arial"/>
            </a:endParaRPr>
          </a:p>
        </p:txBody>
      </p:sp>
      <p:sp>
        <p:nvSpPr>
          <p:cNvPr id="61" name="CuadroTexto 70_0"/>
          <p:cNvSpPr/>
          <p:nvPr/>
        </p:nvSpPr>
        <p:spPr>
          <a:xfrm>
            <a:off x="9833711" y="2162076"/>
            <a:ext cx="2347877" cy="399794"/>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n-US" sz="999" spc="-1">
                <a:ea typeface="Soho Gothic Pro Light"/>
              </a:rPr>
              <a:t>Master In Professional Development, CIFF</a:t>
            </a:r>
          </a:p>
        </p:txBody>
      </p:sp>
      <p:sp>
        <p:nvSpPr>
          <p:cNvPr id="62" name="CuadroTexto 73_0"/>
          <p:cNvSpPr/>
          <p:nvPr/>
        </p:nvSpPr>
        <p:spPr>
          <a:xfrm>
            <a:off x="9444732" y="2177455"/>
            <a:ext cx="543322" cy="369017"/>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s-ES" sz="899" spc="-1">
                <a:latin typeface="Soho Gothic Pro Medium"/>
              </a:rPr>
              <a:t>2014-2013</a:t>
            </a:r>
            <a:endParaRPr lang="es-ES" sz="899" spc="-1">
              <a:latin typeface="Arial"/>
              <a:cs typeface="Arial"/>
            </a:endParaRPr>
          </a:p>
        </p:txBody>
      </p:sp>
      <p:sp>
        <p:nvSpPr>
          <p:cNvPr id="63" name="CuadroTexto 70_0"/>
          <p:cNvSpPr/>
          <p:nvPr/>
        </p:nvSpPr>
        <p:spPr>
          <a:xfrm>
            <a:off x="9833711" y="2505525"/>
            <a:ext cx="2347877" cy="399794"/>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n-US" sz="999" spc="-1">
                <a:ea typeface="Soho Gothic Pro Light"/>
              </a:rPr>
              <a:t>Geological Engineer, </a:t>
            </a:r>
            <a:r>
              <a:rPr lang="en-US" sz="999" spc="-1" err="1">
                <a:ea typeface="Soho Gothic Pro Light"/>
              </a:rPr>
              <a:t>Univer</a:t>
            </a:r>
            <a:r>
              <a:rPr lang="en-US" sz="999" spc="-1">
                <a:ea typeface="Soho Gothic Pro Light"/>
              </a:rPr>
              <a:t>. </a:t>
            </a:r>
            <a:r>
              <a:rPr lang="en-US" sz="999" spc="-1" err="1">
                <a:ea typeface="Soho Gothic Pro Light"/>
              </a:rPr>
              <a:t>Complutense</a:t>
            </a:r>
            <a:r>
              <a:rPr lang="en-US" sz="999" spc="-1">
                <a:ea typeface="Soho Gothic Pro Light"/>
              </a:rPr>
              <a:t> de Madrid</a:t>
            </a:r>
          </a:p>
        </p:txBody>
      </p:sp>
      <p:sp>
        <p:nvSpPr>
          <p:cNvPr id="64" name="CuadroTexto 73_0"/>
          <p:cNvSpPr/>
          <p:nvPr/>
        </p:nvSpPr>
        <p:spPr>
          <a:xfrm>
            <a:off x="9444732" y="2520903"/>
            <a:ext cx="543322" cy="369017"/>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s-ES" sz="899" spc="-1">
                <a:latin typeface="Soho Gothic Pro Medium"/>
              </a:rPr>
              <a:t>2014-2006</a:t>
            </a:r>
            <a:endParaRPr lang="es-ES" sz="899" spc="-1">
              <a:latin typeface="Arial"/>
              <a:cs typeface="Arial"/>
            </a:endParaRPr>
          </a:p>
        </p:txBody>
      </p:sp>
      <p:sp>
        <p:nvSpPr>
          <p:cNvPr id="66" name="CuadroTexto 70_0"/>
          <p:cNvSpPr/>
          <p:nvPr/>
        </p:nvSpPr>
        <p:spPr>
          <a:xfrm>
            <a:off x="9833711" y="2805612"/>
            <a:ext cx="2347877" cy="399794"/>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n-US" sz="999" spc="-1">
                <a:ea typeface="Soho Gothic Pro Light"/>
              </a:rPr>
              <a:t>Geological Degree, </a:t>
            </a:r>
            <a:r>
              <a:rPr lang="en-US" sz="999" spc="-1" err="1">
                <a:ea typeface="Soho Gothic Pro Light"/>
              </a:rPr>
              <a:t>Univer</a:t>
            </a:r>
            <a:r>
              <a:rPr lang="en-US" sz="999" spc="-1">
                <a:ea typeface="Soho Gothic Pro Light"/>
              </a:rPr>
              <a:t>. </a:t>
            </a:r>
            <a:r>
              <a:rPr lang="en-US" sz="999" spc="-1" err="1">
                <a:ea typeface="Soho Gothic Pro Light"/>
              </a:rPr>
              <a:t>Complutense</a:t>
            </a:r>
            <a:r>
              <a:rPr lang="en-US" sz="999" spc="-1">
                <a:ea typeface="Soho Gothic Pro Light"/>
              </a:rPr>
              <a:t> de Madrid</a:t>
            </a:r>
          </a:p>
        </p:txBody>
      </p:sp>
      <p:sp>
        <p:nvSpPr>
          <p:cNvPr id="67" name="CuadroTexto 73_0"/>
          <p:cNvSpPr/>
          <p:nvPr/>
        </p:nvSpPr>
        <p:spPr>
          <a:xfrm>
            <a:off x="9444732" y="2820990"/>
            <a:ext cx="543322" cy="369017"/>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nSpc>
                <a:spcPct val="100000"/>
              </a:lnSpc>
            </a:pPr>
            <a:r>
              <a:rPr lang="es-ES" sz="899" spc="-1">
                <a:latin typeface="Soho Gothic Pro Medium"/>
              </a:rPr>
              <a:t>2012-2006</a:t>
            </a:r>
            <a:endParaRPr lang="es-ES" sz="899" spc="-1">
              <a:latin typeface="Arial"/>
              <a:cs typeface="Arial"/>
            </a:endParaRPr>
          </a:p>
        </p:txBody>
      </p:sp>
      <p:sp>
        <p:nvSpPr>
          <p:cNvPr id="68" name="CuadroTexto 30_0"/>
          <p:cNvSpPr/>
          <p:nvPr/>
        </p:nvSpPr>
        <p:spPr>
          <a:xfrm>
            <a:off x="5715000" y="-25637"/>
            <a:ext cx="3643200" cy="707886"/>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s-ES" sz="2000" spc="-1" dirty="0">
                <a:solidFill>
                  <a:schemeClr val="bg1"/>
                </a:solidFill>
                <a:ea typeface="Soho Gothic Pro Light"/>
              </a:rPr>
              <a:t>Pablo Navarro Fernández-Hidalgo</a:t>
            </a:r>
          </a:p>
        </p:txBody>
      </p:sp>
    </p:spTree>
    <p:extLst>
      <p:ext uri="{BB962C8B-B14F-4D97-AF65-F5344CB8AC3E}">
        <p14:creationId xmlns:p14="http://schemas.microsoft.com/office/powerpoint/2010/main" val="41490407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3849" y="2165"/>
            <a:ext cx="9381793" cy="597942"/>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6141" y="2165"/>
            <a:ext cx="2827094" cy="685367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90913" y="695234"/>
            <a:ext cx="9252635" cy="645887"/>
          </a:xfrm>
          <a:prstGeom prst="rect">
            <a:avLst/>
          </a:prstGeom>
          <a:noFill/>
          <a:ln w="0">
            <a:noFill/>
          </a:ln>
        </p:spPr>
        <p:style>
          <a:lnRef idx="0">
            <a:scrgbClr r="0" g="0" b="0"/>
          </a:lnRef>
          <a:fillRef idx="0">
            <a:scrgbClr r="0" g="0" b="0"/>
          </a:fillRef>
          <a:effectRef idx="0">
            <a:scrgbClr r="0" g="0" b="0"/>
          </a:effectRef>
          <a:fontRef idx="minor"/>
        </p:style>
        <p:txBody>
          <a:bodyPr lIns="91382" tIns="45691" rIns="91382" bIns="45691" anchor="t">
            <a:spAutoFit/>
          </a:bodyPr>
          <a:lstStyle/>
          <a:p>
            <a:pPr marL="0" lvl="1" algn="just" defTabSz="913882">
              <a:defRPr b="0" i="0"/>
            </a:pPr>
            <a:r>
              <a:rPr lang="es-ES" sz="1199">
                <a:ea typeface="+mn-lt"/>
                <a:cs typeface="+mn-lt"/>
              </a:rPr>
              <a:t>Data </a:t>
            </a:r>
            <a:r>
              <a:rPr lang="es-ES" sz="1199" err="1">
                <a:ea typeface="+mn-lt"/>
                <a:cs typeface="+mn-lt"/>
              </a:rPr>
              <a:t>engineer</a:t>
            </a:r>
            <a:r>
              <a:rPr lang="es-ES" sz="1199">
                <a:ea typeface="+mn-lt"/>
                <a:cs typeface="+mn-lt"/>
              </a:rPr>
              <a:t> </a:t>
            </a:r>
            <a:r>
              <a:rPr lang="es-ES" sz="1199" err="1">
                <a:ea typeface="+mn-lt"/>
                <a:cs typeface="+mn-lt"/>
              </a:rPr>
              <a:t>with</a:t>
            </a:r>
            <a:r>
              <a:rPr lang="es-ES" sz="1199">
                <a:ea typeface="+mn-lt"/>
                <a:cs typeface="+mn-lt"/>
              </a:rPr>
              <a:t> 2 </a:t>
            </a:r>
            <a:r>
              <a:rPr lang="es-ES" sz="1199" err="1">
                <a:ea typeface="+mn-lt"/>
                <a:cs typeface="+mn-lt"/>
              </a:rPr>
              <a:t>years</a:t>
            </a:r>
            <a:r>
              <a:rPr lang="es-ES" sz="1199">
                <a:ea typeface="+mn-lt"/>
                <a:cs typeface="+mn-lt"/>
              </a:rPr>
              <a:t> </a:t>
            </a:r>
            <a:r>
              <a:rPr lang="es-ES" sz="1199" err="1">
                <a:ea typeface="+mn-lt"/>
                <a:cs typeface="+mn-lt"/>
              </a:rPr>
              <a:t>of</a:t>
            </a:r>
            <a:r>
              <a:rPr lang="es-ES" sz="1199">
                <a:ea typeface="+mn-lt"/>
                <a:cs typeface="+mn-lt"/>
              </a:rPr>
              <a:t> </a:t>
            </a:r>
            <a:r>
              <a:rPr lang="es-ES" sz="1199" err="1">
                <a:ea typeface="+mn-lt"/>
                <a:cs typeface="+mn-lt"/>
              </a:rPr>
              <a:t>experience</a:t>
            </a:r>
            <a:r>
              <a:rPr lang="es-ES" sz="1199">
                <a:ea typeface="+mn-lt"/>
                <a:cs typeface="+mn-lt"/>
              </a:rPr>
              <a:t> in </a:t>
            </a:r>
            <a:r>
              <a:rPr lang="es-ES" sz="1199" err="1">
                <a:ea typeface="+mn-lt"/>
                <a:cs typeface="+mn-lt"/>
              </a:rPr>
              <a:t>the</a:t>
            </a:r>
            <a:r>
              <a:rPr lang="es-ES" sz="1199">
                <a:ea typeface="+mn-lt"/>
                <a:cs typeface="+mn-lt"/>
              </a:rPr>
              <a:t> IT sector, </a:t>
            </a:r>
            <a:r>
              <a:rPr lang="es-ES" sz="1199" err="1">
                <a:ea typeface="+mn-lt"/>
                <a:cs typeface="+mn-lt"/>
              </a:rPr>
              <a:t>helping</a:t>
            </a:r>
            <a:r>
              <a:rPr lang="es-ES" sz="1199">
                <a:ea typeface="+mn-lt"/>
                <a:cs typeface="+mn-lt"/>
              </a:rPr>
              <a:t> </a:t>
            </a:r>
            <a:r>
              <a:rPr lang="es-ES" sz="1199" err="1">
                <a:ea typeface="+mn-lt"/>
                <a:cs typeface="+mn-lt"/>
              </a:rPr>
              <a:t>to</a:t>
            </a:r>
            <a:r>
              <a:rPr lang="es-ES" sz="1199">
                <a:ea typeface="+mn-lt"/>
                <a:cs typeface="+mn-lt"/>
              </a:rPr>
              <a:t> define and </a:t>
            </a:r>
            <a:r>
              <a:rPr lang="es-ES" sz="1199" err="1">
                <a:ea typeface="+mn-lt"/>
                <a:cs typeface="+mn-lt"/>
              </a:rPr>
              <a:t>implement</a:t>
            </a:r>
            <a:r>
              <a:rPr lang="es-ES" sz="1199">
                <a:ea typeface="+mn-lt"/>
                <a:cs typeface="+mn-lt"/>
              </a:rPr>
              <a:t> Big Data and Cloud </a:t>
            </a:r>
            <a:r>
              <a:rPr lang="es-ES" sz="1199" err="1">
                <a:ea typeface="+mn-lt"/>
                <a:cs typeface="+mn-lt"/>
              </a:rPr>
              <a:t>solutions</a:t>
            </a:r>
            <a:r>
              <a:rPr lang="es-ES" sz="1199">
                <a:ea typeface="+mn-lt"/>
                <a:cs typeface="+mn-lt"/>
              </a:rPr>
              <a:t> </a:t>
            </a:r>
            <a:r>
              <a:rPr lang="es-ES" sz="1199" err="1">
                <a:ea typeface="+mn-lt"/>
                <a:cs typeface="+mn-lt"/>
              </a:rPr>
              <a:t>for</a:t>
            </a:r>
            <a:r>
              <a:rPr lang="es-ES" sz="1199">
                <a:ea typeface="+mn-lt"/>
                <a:cs typeface="+mn-lt"/>
              </a:rPr>
              <a:t> </a:t>
            </a:r>
            <a:r>
              <a:rPr lang="es-ES" sz="1199" err="1">
                <a:ea typeface="+mn-lt"/>
                <a:cs typeface="+mn-lt"/>
              </a:rPr>
              <a:t>projects</a:t>
            </a:r>
            <a:r>
              <a:rPr lang="es-ES" sz="1199">
                <a:ea typeface="+mn-lt"/>
                <a:cs typeface="+mn-lt"/>
              </a:rPr>
              <a:t> in </a:t>
            </a:r>
            <a:r>
              <a:rPr lang="es-ES" sz="1199" err="1">
                <a:ea typeface="+mn-lt"/>
                <a:cs typeface="+mn-lt"/>
              </a:rPr>
              <a:t>the</a:t>
            </a:r>
            <a:r>
              <a:rPr lang="es-ES" sz="1199">
                <a:ea typeface="+mn-lt"/>
                <a:cs typeface="+mn-lt"/>
              </a:rPr>
              <a:t> </a:t>
            </a:r>
            <a:r>
              <a:rPr lang="es-ES" sz="1199" err="1">
                <a:ea typeface="+mn-lt"/>
                <a:cs typeface="+mn-lt"/>
              </a:rPr>
              <a:t>sectors</a:t>
            </a:r>
            <a:r>
              <a:rPr lang="es-ES" sz="1199">
                <a:ea typeface="+mn-lt"/>
                <a:cs typeface="+mn-lt"/>
              </a:rPr>
              <a:t> </a:t>
            </a:r>
            <a:r>
              <a:rPr lang="es-ES" sz="1199" err="1">
                <a:ea typeface="+mn-lt"/>
                <a:cs typeface="+mn-lt"/>
              </a:rPr>
              <a:t>of</a:t>
            </a:r>
            <a:r>
              <a:rPr lang="es-ES" sz="1199">
                <a:ea typeface="+mn-lt"/>
                <a:cs typeface="+mn-lt"/>
              </a:rPr>
              <a:t> </a:t>
            </a:r>
            <a:r>
              <a:rPr lang="es-ES" sz="1199" err="1">
                <a:ea typeface="+mn-lt"/>
                <a:cs typeface="+mn-lt"/>
              </a:rPr>
              <a:t>energy</a:t>
            </a:r>
            <a:r>
              <a:rPr lang="es-ES" sz="1199">
                <a:ea typeface="+mn-lt"/>
                <a:cs typeface="+mn-lt"/>
              </a:rPr>
              <a:t> and </a:t>
            </a:r>
            <a:r>
              <a:rPr lang="es-ES" sz="1199" err="1">
                <a:ea typeface="+mn-lt"/>
                <a:cs typeface="+mn-lt"/>
              </a:rPr>
              <a:t>public</a:t>
            </a:r>
            <a:r>
              <a:rPr lang="es-ES" sz="1199">
                <a:ea typeface="+mn-lt"/>
                <a:cs typeface="+mn-lt"/>
              </a:rPr>
              <a:t> </a:t>
            </a:r>
            <a:r>
              <a:rPr lang="es-ES" sz="1199" err="1">
                <a:ea typeface="+mn-lt"/>
                <a:cs typeface="+mn-lt"/>
              </a:rPr>
              <a:t>administrations</a:t>
            </a:r>
            <a:r>
              <a:rPr lang="es-ES" sz="1199">
                <a:ea typeface="+mn-lt"/>
                <a:cs typeface="+mn-lt"/>
              </a:rPr>
              <a:t>. In </a:t>
            </a:r>
            <a:r>
              <a:rPr lang="es-ES" sz="1199" err="1">
                <a:ea typeface="+mn-lt"/>
                <a:cs typeface="+mn-lt"/>
              </a:rPr>
              <a:t>the</a:t>
            </a:r>
            <a:r>
              <a:rPr lang="es-ES" sz="1199">
                <a:ea typeface="+mn-lt"/>
                <a:cs typeface="+mn-lt"/>
              </a:rPr>
              <a:t> </a:t>
            </a:r>
            <a:r>
              <a:rPr lang="es-ES" sz="1199" err="1">
                <a:ea typeface="+mn-lt"/>
                <a:cs typeface="+mn-lt"/>
              </a:rPr>
              <a:t>last</a:t>
            </a:r>
            <a:r>
              <a:rPr lang="es-ES" sz="1199">
                <a:ea typeface="+mn-lt"/>
                <a:cs typeface="+mn-lt"/>
              </a:rPr>
              <a:t> 2 </a:t>
            </a:r>
            <a:r>
              <a:rPr lang="es-ES" sz="1199" err="1">
                <a:ea typeface="+mn-lt"/>
                <a:cs typeface="+mn-lt"/>
              </a:rPr>
              <a:t>years</a:t>
            </a:r>
            <a:r>
              <a:rPr lang="es-ES" sz="1199">
                <a:ea typeface="+mn-lt"/>
                <a:cs typeface="+mn-lt"/>
              </a:rPr>
              <a:t> he has </a:t>
            </a:r>
            <a:r>
              <a:rPr lang="es-ES" sz="1199" err="1">
                <a:ea typeface="+mn-lt"/>
                <a:cs typeface="+mn-lt"/>
              </a:rPr>
              <a:t>been</a:t>
            </a:r>
            <a:r>
              <a:rPr lang="es-ES" sz="1199">
                <a:ea typeface="+mn-lt"/>
                <a:cs typeface="+mn-lt"/>
              </a:rPr>
              <a:t> </a:t>
            </a:r>
            <a:r>
              <a:rPr lang="es-ES" sz="1199" err="1">
                <a:ea typeface="+mn-lt"/>
                <a:cs typeface="+mn-lt"/>
              </a:rPr>
              <a:t>working</a:t>
            </a:r>
            <a:r>
              <a:rPr lang="es-ES" sz="1199">
                <a:ea typeface="+mn-lt"/>
                <a:cs typeface="+mn-lt"/>
              </a:rPr>
              <a:t> </a:t>
            </a:r>
            <a:r>
              <a:rPr lang="es-ES" sz="1199" err="1">
                <a:ea typeface="+mn-lt"/>
                <a:cs typeface="+mn-lt"/>
              </a:rPr>
              <a:t>on</a:t>
            </a:r>
            <a:r>
              <a:rPr lang="es-ES" sz="1199">
                <a:ea typeface="+mn-lt"/>
                <a:cs typeface="+mn-lt"/>
              </a:rPr>
              <a:t> </a:t>
            </a:r>
            <a:r>
              <a:rPr lang="es-ES" sz="1199" err="1">
                <a:ea typeface="+mn-lt"/>
                <a:cs typeface="+mn-lt"/>
              </a:rPr>
              <a:t>projects</a:t>
            </a:r>
            <a:r>
              <a:rPr lang="es-ES" sz="1199">
                <a:ea typeface="+mn-lt"/>
                <a:cs typeface="+mn-lt"/>
              </a:rPr>
              <a:t> </a:t>
            </a:r>
            <a:r>
              <a:rPr lang="es-ES" sz="1199" err="1">
                <a:ea typeface="+mn-lt"/>
                <a:cs typeface="+mn-lt"/>
              </a:rPr>
              <a:t>using</a:t>
            </a:r>
            <a:r>
              <a:rPr lang="es-ES" sz="1199">
                <a:ea typeface="+mn-lt"/>
                <a:cs typeface="+mn-lt"/>
              </a:rPr>
              <a:t> </a:t>
            </a:r>
            <a:r>
              <a:rPr lang="es-ES" sz="1199" err="1">
                <a:ea typeface="+mn-lt"/>
                <a:cs typeface="+mn-lt"/>
              </a:rPr>
              <a:t>technologies</a:t>
            </a:r>
            <a:r>
              <a:rPr lang="es-ES" sz="1199">
                <a:ea typeface="+mn-lt"/>
                <a:cs typeface="+mn-lt"/>
              </a:rPr>
              <a:t> </a:t>
            </a:r>
            <a:r>
              <a:rPr lang="es-ES" sz="1199" err="1">
                <a:ea typeface="+mn-lt"/>
                <a:cs typeface="+mn-lt"/>
              </a:rPr>
              <a:t>like</a:t>
            </a:r>
            <a:r>
              <a:rPr lang="es-ES" sz="1199">
                <a:ea typeface="+mn-lt"/>
                <a:cs typeface="+mn-lt"/>
              </a:rPr>
              <a:t> </a:t>
            </a:r>
            <a:r>
              <a:rPr lang="es-ES" sz="1199" err="1">
                <a:ea typeface="+mn-lt"/>
                <a:cs typeface="+mn-lt"/>
              </a:rPr>
              <a:t>Spark</a:t>
            </a:r>
            <a:r>
              <a:rPr lang="es-ES" sz="1199">
                <a:ea typeface="+mn-lt"/>
                <a:cs typeface="+mn-lt"/>
              </a:rPr>
              <a:t>, HDFS, MongoDB, </a:t>
            </a:r>
            <a:r>
              <a:rPr lang="es-ES" sz="1199" err="1">
                <a:ea typeface="+mn-lt"/>
                <a:cs typeface="+mn-lt"/>
              </a:rPr>
              <a:t>Kudu</a:t>
            </a:r>
            <a:r>
              <a:rPr lang="es-ES" sz="1199">
                <a:ea typeface="+mn-lt"/>
                <a:cs typeface="+mn-lt"/>
              </a:rPr>
              <a:t>, Neo4j, </a:t>
            </a:r>
            <a:r>
              <a:rPr lang="es-ES" sz="1199" err="1">
                <a:ea typeface="+mn-lt"/>
                <a:cs typeface="+mn-lt"/>
              </a:rPr>
              <a:t>Hive</a:t>
            </a:r>
            <a:r>
              <a:rPr lang="es-ES" sz="1199">
                <a:ea typeface="+mn-lt"/>
                <a:cs typeface="+mn-lt"/>
              </a:rPr>
              <a:t> in Scala and Python </a:t>
            </a:r>
            <a:r>
              <a:rPr lang="es-ES" sz="1199" err="1">
                <a:ea typeface="+mn-lt"/>
                <a:cs typeface="+mn-lt"/>
              </a:rPr>
              <a:t>languages</a:t>
            </a:r>
            <a:r>
              <a:rPr lang="es-ES" sz="1199">
                <a:ea typeface="+mn-lt"/>
                <a:cs typeface="+mn-lt"/>
              </a:rPr>
              <a:t>.</a:t>
            </a:r>
            <a:endParaRPr lang="es-ES">
              <a:ea typeface="+mn-lt"/>
              <a:cs typeface="+mn-lt"/>
            </a:endParaRPr>
          </a:p>
        </p:txBody>
      </p:sp>
      <p:sp>
        <p:nvSpPr>
          <p:cNvPr id="102" name="CuadroTexto 54_0"/>
          <p:cNvSpPr/>
          <p:nvPr/>
        </p:nvSpPr>
        <p:spPr>
          <a:xfrm>
            <a:off x="9436370" y="4350762"/>
            <a:ext cx="1607824" cy="275360"/>
          </a:xfrm>
          <a:prstGeom prst="rect">
            <a:avLst/>
          </a:prstGeom>
          <a:noFill/>
          <a:ln w="0">
            <a:noFill/>
          </a:ln>
        </p:spPr>
        <p:style>
          <a:lnRef idx="0">
            <a:scrgbClr r="0" g="0" b="0"/>
          </a:lnRef>
          <a:fillRef idx="0">
            <a:scrgbClr r="0" g="0" b="0"/>
          </a:fillRef>
          <a:effectRef idx="0">
            <a:scrgbClr r="0" g="0" b="0"/>
          </a:effectRef>
          <a:fontRef idx="minor"/>
        </p:style>
        <p:txBody>
          <a:bodyPr lIns="89943" tIns="44972" rIns="89943" bIns="44972" anchor="t">
            <a:spAutoFit/>
          </a:bodyPr>
          <a:lstStyle/>
          <a:p>
            <a:pPr>
              <a:lnSpc>
                <a:spcPct val="100000"/>
              </a:lnSpc>
            </a:pPr>
            <a:r>
              <a:rPr lang="es-ES" sz="1199" spc="-1" err="1">
                <a:latin typeface="Soho Gothic Pro"/>
              </a:rPr>
              <a:t>Languages</a:t>
            </a:r>
            <a:endParaRPr lang="es-ES" sz="1199" spc="-1" err="1">
              <a:latin typeface="Arial"/>
            </a:endParaRPr>
          </a:p>
        </p:txBody>
      </p:sp>
      <p:sp>
        <p:nvSpPr>
          <p:cNvPr id="103" name="CuadroTexto 55_0"/>
          <p:cNvSpPr/>
          <p:nvPr/>
        </p:nvSpPr>
        <p:spPr>
          <a:xfrm>
            <a:off x="9472707" y="4704777"/>
            <a:ext cx="2710528" cy="861075"/>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r>
              <a:rPr lang="es-ES" sz="999" b="1" spc="-1" dirty="0">
                <a:latin typeface="Soho Gothic Pro Light"/>
                <a:ea typeface="Soho Gothic Pro Light"/>
              </a:rPr>
              <a:t>Spanish - </a:t>
            </a:r>
            <a:r>
              <a:rPr lang="es-ES" sz="999" spc="-1" dirty="0" err="1">
                <a:latin typeface="Soho Gothic Pro Light"/>
                <a:ea typeface="Soho Gothic Pro Light"/>
              </a:rPr>
              <a:t>Native</a:t>
            </a:r>
            <a:endParaRPr lang="es-ES" sz="999" spc="-1" dirty="0">
              <a:latin typeface="Soho Gothic Pro Light"/>
              <a:ea typeface="Soho Gothic Pro Light"/>
            </a:endParaRPr>
          </a:p>
          <a:p>
            <a:r>
              <a:rPr lang="ca-ES" sz="999" b="1" spc="-1" dirty="0">
                <a:latin typeface="Soho Gothic Pro Light"/>
                <a:ea typeface="Soho Gothic Pro Light"/>
              </a:rPr>
              <a:t>Catalan - </a:t>
            </a:r>
            <a:r>
              <a:rPr lang="ca-ES" sz="999" spc="-1" dirty="0" err="1">
                <a:latin typeface="Soho Gothic Pro Light"/>
              </a:rPr>
              <a:t>Native</a:t>
            </a:r>
            <a:r>
              <a:rPr lang="ca-ES" sz="999" b="1" spc="-1" dirty="0">
                <a:latin typeface="Soho Gothic Pro Light"/>
                <a:ea typeface="Soho Gothic Pro Light"/>
              </a:rPr>
              <a:t> </a:t>
            </a:r>
            <a:r>
              <a:rPr lang="ca-ES" sz="1749" dirty="0"/>
              <a:t/>
            </a:r>
            <a:br>
              <a:rPr lang="ca-ES" sz="1749" dirty="0"/>
            </a:br>
            <a:r>
              <a:rPr lang="es-ES" sz="999" b="1" spc="-1" dirty="0">
                <a:latin typeface="Soho Gothic Pro Light"/>
              </a:rPr>
              <a:t>English</a:t>
            </a:r>
            <a:r>
              <a:rPr lang="es-ES" sz="999" b="1" spc="-1" dirty="0">
                <a:latin typeface="Soho Gothic Pro Light"/>
                <a:ea typeface="Soho Gothic Pro Light"/>
              </a:rPr>
              <a:t> </a:t>
            </a:r>
            <a:r>
              <a:rPr lang="es-ES" sz="999" b="1" spc="-1" dirty="0">
                <a:latin typeface="Soho Gothic Pro Light"/>
                <a:ea typeface="Soho Gothic Pro Light"/>
              </a:rPr>
              <a:t>– </a:t>
            </a:r>
            <a:r>
              <a:rPr lang="es-ES" sz="999" spc="-1" dirty="0">
                <a:latin typeface="Soho Gothic Pro Light"/>
              </a:rPr>
              <a:t>B2</a:t>
            </a:r>
            <a:endParaRPr lang="es-ES" sz="999" spc="-1" dirty="0">
              <a:latin typeface="Soho Gothic Pro Light"/>
            </a:endParaRPr>
          </a:p>
          <a:p>
            <a:pPr>
              <a:lnSpc>
                <a:spcPct val="100000"/>
              </a:lnSpc>
            </a:pPr>
            <a:endParaRPr lang="es-ES" sz="999" spc="-1" dirty="0">
              <a:solidFill>
                <a:srgbClr val="FF0000"/>
              </a:solidFill>
              <a:latin typeface="Arial"/>
            </a:endParaRPr>
          </a:p>
          <a:p>
            <a:pPr>
              <a:lnSpc>
                <a:spcPct val="100000"/>
              </a:lnSpc>
            </a:pPr>
            <a:endParaRPr lang="es-ES" sz="999" spc="-1" dirty="0">
              <a:solidFill>
                <a:srgbClr val="FF0000"/>
              </a:solidFill>
              <a:latin typeface="Arial"/>
            </a:endParaRPr>
          </a:p>
        </p:txBody>
      </p:sp>
      <p:sp>
        <p:nvSpPr>
          <p:cNvPr id="105" name="CuadroTexto 40_0"/>
          <p:cNvSpPr/>
          <p:nvPr/>
        </p:nvSpPr>
        <p:spPr>
          <a:xfrm>
            <a:off x="3453350" y="112616"/>
            <a:ext cx="2691100" cy="461478"/>
          </a:xfrm>
          <a:prstGeom prst="rect">
            <a:avLst/>
          </a:prstGeom>
          <a:noFill/>
          <a:ln w="0">
            <a:noFill/>
          </a:ln>
        </p:spPr>
        <p:style>
          <a:lnRef idx="0">
            <a:scrgbClr r="0" g="0" b="0"/>
          </a:lnRef>
          <a:fillRef idx="0">
            <a:scrgbClr r="0" g="0" b="0"/>
          </a:fillRef>
          <a:effectRef idx="0">
            <a:scrgbClr r="0" g="0" b="0"/>
          </a:effectRef>
          <a:fontRef idx="minor"/>
        </p:style>
        <p:txBody>
          <a:bodyPr lIns="91382" tIns="45691" rIns="91382" bIns="45691" anchor="t">
            <a:spAutoFit/>
          </a:bodyPr>
          <a:lstStyle/>
          <a:p>
            <a:pPr>
              <a:lnSpc>
                <a:spcPct val="100000"/>
              </a:lnSpc>
            </a:pPr>
            <a:r>
              <a:rPr lang="es-ES" sz="2399" spc="-1">
                <a:solidFill>
                  <a:schemeClr val="bg1"/>
                </a:solidFill>
                <a:latin typeface="Soho Gothic Pro Medium"/>
              </a:rPr>
              <a:t>Data </a:t>
            </a:r>
            <a:r>
              <a:rPr lang="es-ES" sz="2399" spc="-1" err="1">
                <a:solidFill>
                  <a:schemeClr val="bg1"/>
                </a:solidFill>
                <a:latin typeface="Soho Gothic Pro Medium"/>
              </a:rPr>
              <a:t>Engineer</a:t>
            </a:r>
            <a:endParaRPr lang="es-ES" sz="2399" spc="-1">
              <a:solidFill>
                <a:schemeClr val="bg1"/>
              </a:solidFill>
              <a:latin typeface="Arial"/>
              <a:cs typeface="Arial"/>
            </a:endParaRPr>
          </a:p>
        </p:txBody>
      </p:sp>
      <p:sp>
        <p:nvSpPr>
          <p:cNvPr id="106" name="CuadroTexto 30_0"/>
          <p:cNvSpPr/>
          <p:nvPr/>
        </p:nvSpPr>
        <p:spPr>
          <a:xfrm>
            <a:off x="90914" y="154709"/>
            <a:ext cx="2729596" cy="39998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1999" spc="-1">
                <a:solidFill>
                  <a:schemeClr val="bg1"/>
                </a:solidFill>
                <a:latin typeface="Soho Gothic Pro Light"/>
                <a:ea typeface="Soho Gothic Pro Light"/>
              </a:rPr>
              <a:t>A.G.C.</a:t>
            </a:r>
            <a:endParaRPr lang="es-ES" sz="1999" spc="-1">
              <a:solidFill>
                <a:schemeClr val="bg1"/>
              </a:solidFill>
              <a:latin typeface="Arial"/>
            </a:endParaRPr>
          </a:p>
        </p:txBody>
      </p:sp>
      <p:sp>
        <p:nvSpPr>
          <p:cNvPr id="109" name="CuadroTexto 37_0"/>
          <p:cNvSpPr/>
          <p:nvPr/>
        </p:nvSpPr>
        <p:spPr>
          <a:xfrm>
            <a:off x="9445365" y="2574827"/>
            <a:ext cx="1964359" cy="275360"/>
          </a:xfrm>
          <a:prstGeom prst="rect">
            <a:avLst/>
          </a:prstGeom>
          <a:noFill/>
          <a:ln w="0">
            <a:noFill/>
          </a:ln>
        </p:spPr>
        <p:style>
          <a:lnRef idx="0">
            <a:scrgbClr r="0" g="0" b="0"/>
          </a:lnRef>
          <a:fillRef idx="0">
            <a:scrgbClr r="0" g="0" b="0"/>
          </a:fillRef>
          <a:effectRef idx="0">
            <a:scrgbClr r="0" g="0" b="0"/>
          </a:effectRef>
          <a:fontRef idx="minor"/>
        </p:style>
        <p:txBody>
          <a:bodyPr lIns="89943" tIns="44972" rIns="89943" bIns="44972" anchor="t">
            <a:spAutoFit/>
          </a:bodyPr>
          <a:lstStyle/>
          <a:p>
            <a:pPr>
              <a:lnSpc>
                <a:spcPct val="100000"/>
              </a:lnSpc>
            </a:pPr>
            <a:r>
              <a:rPr lang="es-ES" sz="1199" spc="-1">
                <a:latin typeface="Soho Gothic Pro"/>
              </a:rPr>
              <a:t>IT</a:t>
            </a:r>
            <a:endParaRPr lang="es-ES" sz="1199" spc="-1">
              <a:latin typeface="Arial"/>
            </a:endParaRPr>
          </a:p>
        </p:txBody>
      </p:sp>
      <p:sp>
        <p:nvSpPr>
          <p:cNvPr id="110" name="CuadroTexto 52_0"/>
          <p:cNvSpPr/>
          <p:nvPr/>
        </p:nvSpPr>
        <p:spPr>
          <a:xfrm>
            <a:off x="9434931" y="2867035"/>
            <a:ext cx="2737870" cy="1168595"/>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r>
              <a:rPr lang="en-US" sz="999" b="1" spc="-1" dirty="0">
                <a:latin typeface="Soho Gothic Pro Light"/>
                <a:ea typeface="Soho Gothic Pro Light"/>
              </a:rPr>
              <a:t>Programming languages</a:t>
            </a:r>
            <a:r>
              <a:rPr lang="en-US" sz="999" spc="-1" dirty="0">
                <a:latin typeface="Soho Gothic Pro Light"/>
                <a:ea typeface="Soho Gothic Pro Light"/>
              </a:rPr>
              <a:t>: </a:t>
            </a:r>
            <a:r>
              <a:rPr lang="en-US" sz="999" i="1" spc="-1" dirty="0">
                <a:ea typeface="Soho Gothic Pro Light"/>
              </a:rPr>
              <a:t>Java, Scala, Python.</a:t>
            </a:r>
            <a:endParaRPr lang="es-ES" sz="1749" dirty="0">
              <a:latin typeface="Soho Gothic Pro Light"/>
              <a:ea typeface="Soho Gothic Pro Light"/>
            </a:endParaRPr>
          </a:p>
          <a:p>
            <a:r>
              <a:rPr lang="en-US" sz="999" b="1" spc="-1" dirty="0">
                <a:ea typeface="+mn-lt"/>
                <a:cs typeface="+mn-lt"/>
              </a:rPr>
              <a:t>Scripting: </a:t>
            </a:r>
            <a:r>
              <a:rPr lang="en-US" sz="999" i="1" spc="-1" dirty="0"/>
              <a:t>Linux Scripting</a:t>
            </a:r>
          </a:p>
          <a:p>
            <a:r>
              <a:rPr lang="en-US" sz="999" b="1" spc="-1" dirty="0">
                <a:latin typeface="Soho Gothic Pro Light"/>
                <a:ea typeface="Soho Gothic Pro Light"/>
              </a:rPr>
              <a:t>Databases: </a:t>
            </a:r>
            <a:r>
              <a:rPr lang="en-US" sz="999" i="1" spc="-1" dirty="0" err="1">
                <a:ea typeface="Soho Gothic Pro Light"/>
              </a:rPr>
              <a:t>Mysql</a:t>
            </a:r>
            <a:r>
              <a:rPr lang="en-US" sz="999" i="1" spc="-1" dirty="0">
                <a:ea typeface="Soho Gothic Pro Light"/>
              </a:rPr>
              <a:t>, PostgreSQL</a:t>
            </a:r>
            <a:endParaRPr lang="es-ES" sz="1749" dirty="0"/>
          </a:p>
          <a:p>
            <a:pPr>
              <a:lnSpc>
                <a:spcPct val="100000"/>
              </a:lnSpc>
            </a:pPr>
            <a:r>
              <a:rPr lang="en-US" sz="999" b="1" spc="-1" dirty="0">
                <a:ea typeface="Soho Gothic Pro Light"/>
              </a:rPr>
              <a:t>Big Data (</a:t>
            </a:r>
            <a:r>
              <a:rPr lang="en-US" sz="999" b="1" spc="-1" dirty="0" err="1">
                <a:ea typeface="Soho Gothic Pro Light"/>
              </a:rPr>
              <a:t>tecnología</a:t>
            </a:r>
            <a:r>
              <a:rPr lang="en-US" sz="999" b="1" spc="-1" dirty="0">
                <a:ea typeface="Soho Gothic Pro Light"/>
              </a:rPr>
              <a:t>): </a:t>
            </a:r>
            <a:r>
              <a:rPr lang="en-US" sz="999" i="1" spc="-1" dirty="0">
                <a:ea typeface="Soho Gothic Pro Light"/>
              </a:rPr>
              <a:t>Hadoop, MongoDB, neo4j , kudu, impala</a:t>
            </a:r>
          </a:p>
          <a:p>
            <a:pPr>
              <a:lnSpc>
                <a:spcPct val="100000"/>
              </a:lnSpc>
            </a:pPr>
            <a:r>
              <a:rPr lang="en-US" sz="999" b="1" spc="-1" dirty="0">
                <a:latin typeface="Soho Gothic Pro Light"/>
                <a:ea typeface="Soho Gothic Pro Light"/>
              </a:rPr>
              <a:t>Platforms</a:t>
            </a:r>
            <a:r>
              <a:rPr lang="en-US" sz="999" spc="-1" dirty="0">
                <a:latin typeface="Soho Gothic Pro Light"/>
                <a:ea typeface="Soho Gothic Pro Light"/>
              </a:rPr>
              <a:t>: </a:t>
            </a:r>
            <a:r>
              <a:rPr lang="en-US" sz="999" spc="-1" dirty="0">
                <a:ea typeface="Soho Gothic Pro Light"/>
              </a:rPr>
              <a:t>Cloudera</a:t>
            </a:r>
            <a:endParaRPr lang="en-US" sz="999" i="1" spc="-1" dirty="0">
              <a:ea typeface="Soho Gothic Pro Light"/>
            </a:endParaRPr>
          </a:p>
          <a:p>
            <a:r>
              <a:rPr lang="en-US" sz="999" b="1" spc="-1" dirty="0" err="1">
                <a:ea typeface="Soho Gothic Pro Light"/>
              </a:rPr>
              <a:t>Devops</a:t>
            </a:r>
            <a:r>
              <a:rPr lang="en-US" sz="999" spc="-1" dirty="0">
                <a:ea typeface="Soho Gothic Pro Light"/>
              </a:rPr>
              <a:t>: </a:t>
            </a:r>
            <a:r>
              <a:rPr lang="en-US" sz="999" spc="-1" dirty="0" err="1">
                <a:ea typeface="Soho Gothic Pro Light"/>
              </a:rPr>
              <a:t>Git</a:t>
            </a:r>
            <a:r>
              <a:rPr lang="en-US" sz="999" spc="-1" dirty="0">
                <a:ea typeface="Soho Gothic Pro Light"/>
              </a:rPr>
              <a:t>, Maven</a:t>
            </a:r>
            <a:endParaRPr lang="en-US" sz="999" i="1" spc="-1" dirty="0">
              <a:ea typeface="Soho Gothic Pro Light"/>
            </a:endParaRPr>
          </a:p>
        </p:txBody>
      </p:sp>
      <p:sp>
        <p:nvSpPr>
          <p:cNvPr id="111" name="CuadroTexto 50_0"/>
          <p:cNvSpPr/>
          <p:nvPr/>
        </p:nvSpPr>
        <p:spPr>
          <a:xfrm>
            <a:off x="9533868" y="2032363"/>
            <a:ext cx="2380754" cy="399794"/>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r>
              <a:rPr lang="es-ES" sz="999" spc="-1" dirty="0">
                <a:ea typeface="Soho Gothic Pro Light"/>
              </a:rPr>
              <a:t>2021 | </a:t>
            </a:r>
            <a:r>
              <a:rPr lang="es-ES" sz="999" spc="-1" dirty="0">
                <a:ea typeface="+mn-lt"/>
                <a:cs typeface="+mn-lt"/>
              </a:rPr>
              <a:t>MongoDB </a:t>
            </a:r>
            <a:r>
              <a:rPr lang="es-ES" sz="999" spc="-1" dirty="0" err="1">
                <a:ea typeface="+mn-lt"/>
                <a:cs typeface="+mn-lt"/>
              </a:rPr>
              <a:t>Certified</a:t>
            </a:r>
            <a:r>
              <a:rPr lang="es-ES" sz="999" spc="-1" dirty="0">
                <a:ea typeface="+mn-lt"/>
                <a:cs typeface="+mn-lt"/>
              </a:rPr>
              <a:t> </a:t>
            </a:r>
            <a:r>
              <a:rPr lang="es-ES" sz="999" spc="-1" dirty="0" err="1">
                <a:ea typeface="+mn-lt"/>
                <a:cs typeface="+mn-lt"/>
              </a:rPr>
              <a:t>developer</a:t>
            </a:r>
            <a:r>
              <a:rPr lang="es-ES" sz="999" spc="-1" dirty="0">
                <a:ea typeface="+mn-lt"/>
                <a:cs typeface="+mn-lt"/>
              </a:rPr>
              <a:t> </a:t>
            </a:r>
            <a:r>
              <a:rPr lang="es-ES" sz="999" spc="-1" dirty="0" err="1">
                <a:ea typeface="+mn-lt"/>
                <a:cs typeface="+mn-lt"/>
              </a:rPr>
              <a:t>Associate</a:t>
            </a:r>
            <a:endParaRPr lang="es-ES" sz="1749" dirty="0">
              <a:ea typeface="Soho Gothic Pro Light"/>
            </a:endParaRPr>
          </a:p>
        </p:txBody>
      </p:sp>
      <p:sp>
        <p:nvSpPr>
          <p:cNvPr id="112" name="CuadroTexto 56_0"/>
          <p:cNvSpPr/>
          <p:nvPr/>
        </p:nvSpPr>
        <p:spPr>
          <a:xfrm>
            <a:off x="9473067" y="129885"/>
            <a:ext cx="1964359" cy="275360"/>
          </a:xfrm>
          <a:prstGeom prst="rect">
            <a:avLst/>
          </a:prstGeom>
          <a:noFill/>
          <a:ln w="0">
            <a:noFill/>
          </a:ln>
        </p:spPr>
        <p:style>
          <a:lnRef idx="0">
            <a:scrgbClr r="0" g="0" b="0"/>
          </a:lnRef>
          <a:fillRef idx="0">
            <a:scrgbClr r="0" g="0" b="0"/>
          </a:fillRef>
          <a:effectRef idx="0">
            <a:scrgbClr r="0" g="0" b="0"/>
          </a:effectRef>
          <a:fontRef idx="minor"/>
        </p:style>
        <p:txBody>
          <a:bodyPr lIns="89943" tIns="44972" rIns="89943" bIns="44972" anchor="t">
            <a:spAutoFit/>
          </a:bodyPr>
          <a:lstStyle/>
          <a:p>
            <a:pPr>
              <a:lnSpc>
                <a:spcPct val="100000"/>
              </a:lnSpc>
            </a:pPr>
            <a:r>
              <a:rPr lang="es-ES" sz="1199" spc="-1" err="1">
                <a:latin typeface="Soho Gothic Pro"/>
              </a:rPr>
              <a:t>Education</a:t>
            </a:r>
            <a:endParaRPr lang="es-ES" sz="1199" spc="-1" err="1">
              <a:latin typeface="Arial"/>
            </a:endParaRPr>
          </a:p>
        </p:txBody>
      </p:sp>
      <p:sp>
        <p:nvSpPr>
          <p:cNvPr id="113" name="CuadroTexto 70_0"/>
          <p:cNvSpPr/>
          <p:nvPr/>
        </p:nvSpPr>
        <p:spPr>
          <a:xfrm>
            <a:off x="9824925" y="1041347"/>
            <a:ext cx="2347877" cy="399794"/>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r>
              <a:rPr lang="es-ES" sz="999" b="1" spc="-1" err="1"/>
              <a:t>Computer</a:t>
            </a:r>
            <a:r>
              <a:rPr lang="es-ES" sz="999" b="1" spc="-1"/>
              <a:t> </a:t>
            </a:r>
            <a:r>
              <a:rPr lang="es-ES" sz="999" b="1" spc="-1" err="1"/>
              <a:t>Engineering</a:t>
            </a:r>
            <a:endParaRPr lang="es-ES" err="1"/>
          </a:p>
          <a:p>
            <a:r>
              <a:rPr lang="es-ES" sz="999" spc="-1"/>
              <a:t>Universidad Autónoma de Barcelona</a:t>
            </a:r>
          </a:p>
        </p:txBody>
      </p:sp>
      <p:sp>
        <p:nvSpPr>
          <p:cNvPr id="114" name="CuadroTexto 73_0"/>
          <p:cNvSpPr/>
          <p:nvPr/>
        </p:nvSpPr>
        <p:spPr>
          <a:xfrm>
            <a:off x="9428095" y="1002298"/>
            <a:ext cx="551172" cy="507388"/>
          </a:xfrm>
          <a:prstGeom prst="rect">
            <a:avLst/>
          </a:prstGeom>
          <a:noFill/>
          <a:ln w="0">
            <a:noFill/>
          </a:ln>
        </p:spPr>
        <p:style>
          <a:lnRef idx="0">
            <a:scrgbClr r="0" g="0" b="0"/>
          </a:lnRef>
          <a:fillRef idx="0">
            <a:scrgbClr r="0" g="0" b="0"/>
          </a:fillRef>
          <a:effectRef idx="0">
            <a:scrgbClr r="0" g="0" b="0"/>
          </a:effectRef>
          <a:fontRef idx="minor"/>
        </p:style>
        <p:txBody>
          <a:bodyPr lIns="91382" tIns="45691" rIns="91382" bIns="45691" anchor="t">
            <a:spAutoFit/>
          </a:bodyPr>
          <a:lstStyle/>
          <a:p>
            <a:pPr>
              <a:lnSpc>
                <a:spcPct val="100000"/>
              </a:lnSpc>
            </a:pPr>
            <a:r>
              <a:rPr lang="es-ES" sz="899" spc="-1">
                <a:latin typeface="Soho Gothic Pro Medium"/>
              </a:rPr>
              <a:t>2015</a:t>
            </a:r>
            <a:endParaRPr lang="es-ES" sz="899" spc="-1">
              <a:latin typeface="Arial"/>
              <a:cs typeface="Arial"/>
            </a:endParaRPr>
          </a:p>
          <a:p>
            <a:pPr>
              <a:lnSpc>
                <a:spcPct val="100000"/>
              </a:lnSpc>
            </a:pPr>
            <a:r>
              <a:rPr lang="es-ES" sz="899" spc="-1">
                <a:latin typeface="Soho Gothic Pro Medium"/>
              </a:rPr>
              <a:t>—</a:t>
            </a:r>
            <a:endParaRPr lang="es-ES" sz="899" spc="-1">
              <a:latin typeface="Arial"/>
              <a:cs typeface="Arial"/>
            </a:endParaRPr>
          </a:p>
          <a:p>
            <a:pPr>
              <a:lnSpc>
                <a:spcPct val="100000"/>
              </a:lnSpc>
            </a:pPr>
            <a:r>
              <a:rPr lang="es-ES" sz="899" spc="-1">
                <a:latin typeface="Soho Gothic Pro Medium"/>
              </a:rPr>
              <a:t>2019</a:t>
            </a:r>
            <a:endParaRPr lang="es-ES" sz="899" spc="-1">
              <a:latin typeface="Arial"/>
              <a:cs typeface="Arial"/>
            </a:endParaRPr>
          </a:p>
        </p:txBody>
      </p:sp>
      <p:sp>
        <p:nvSpPr>
          <p:cNvPr id="117" name="CuadroTexto 33_0"/>
          <p:cNvSpPr/>
          <p:nvPr/>
        </p:nvSpPr>
        <p:spPr>
          <a:xfrm>
            <a:off x="9537826" y="1621142"/>
            <a:ext cx="1964359" cy="275360"/>
          </a:xfrm>
          <a:prstGeom prst="rect">
            <a:avLst/>
          </a:prstGeom>
          <a:noFill/>
          <a:ln w="0">
            <a:noFill/>
          </a:ln>
        </p:spPr>
        <p:style>
          <a:lnRef idx="0">
            <a:scrgbClr r="0" g="0" b="0"/>
          </a:lnRef>
          <a:fillRef idx="0">
            <a:scrgbClr r="0" g="0" b="0"/>
          </a:fillRef>
          <a:effectRef idx="0">
            <a:scrgbClr r="0" g="0" b="0"/>
          </a:effectRef>
          <a:fontRef idx="minor"/>
        </p:style>
        <p:txBody>
          <a:bodyPr lIns="89943" tIns="44972" rIns="89943" bIns="44972" anchor="t">
            <a:spAutoFit/>
          </a:bodyPr>
          <a:lstStyle/>
          <a:p>
            <a:r>
              <a:rPr lang="es-ES" sz="1199" b="1" spc="-1" err="1">
                <a:latin typeface="Soho Gothic Pro Light"/>
              </a:rPr>
              <a:t>Relevant</a:t>
            </a:r>
            <a:r>
              <a:rPr lang="es-ES" sz="1199" b="1" spc="-1">
                <a:latin typeface="Soho Gothic Pro Light"/>
              </a:rPr>
              <a:t> </a:t>
            </a:r>
            <a:r>
              <a:rPr lang="es-ES" sz="1199" b="1" spc="-1" err="1">
                <a:latin typeface="Soho Gothic Pro Light"/>
              </a:rPr>
              <a:t>courses</a:t>
            </a:r>
            <a:endParaRPr lang="es-ES" sz="1199" spc="-1" err="1">
              <a:latin typeface="Arial"/>
              <a:cs typeface="Arial"/>
            </a:endParaRPr>
          </a:p>
        </p:txBody>
      </p:sp>
      <p:sp>
        <p:nvSpPr>
          <p:cNvPr id="27" name="CuadroTexto 44_0"/>
          <p:cNvSpPr/>
          <p:nvPr/>
        </p:nvSpPr>
        <p:spPr>
          <a:xfrm>
            <a:off x="689216" y="1429125"/>
            <a:ext cx="4212939" cy="3982698"/>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gn="just">
              <a:lnSpc>
                <a:spcPct val="100000"/>
              </a:lnSpc>
            </a:pPr>
            <a:r>
              <a:rPr lang="es-ES" sz="1099" b="1" spc="-1" err="1">
                <a:solidFill>
                  <a:srgbClr val="1A3B47"/>
                </a:solidFill>
                <a:latin typeface="Soho Gothic Pro Light"/>
              </a:rPr>
              <a:t>Minsait</a:t>
            </a:r>
            <a:r>
              <a:rPr lang="es-ES" sz="1099" b="1" spc="-1">
                <a:solidFill>
                  <a:srgbClr val="1A3B47"/>
                </a:solidFill>
                <a:latin typeface="Soho Gothic Pro Light"/>
              </a:rPr>
              <a:t> </a:t>
            </a:r>
            <a:r>
              <a:rPr lang="es-ES" sz="1099" b="1" spc="-1" err="1">
                <a:solidFill>
                  <a:srgbClr val="1A3B47"/>
                </a:solidFill>
                <a:latin typeface="Soho Gothic Pro Light"/>
              </a:rPr>
              <a:t>by</a:t>
            </a:r>
            <a:r>
              <a:rPr lang="es-ES" sz="1099" b="1" spc="-1">
                <a:solidFill>
                  <a:srgbClr val="1A3B47"/>
                </a:solidFill>
                <a:latin typeface="Soho Gothic Pro Light"/>
              </a:rPr>
              <a:t> Indra (Barcelona, España)</a:t>
            </a:r>
          </a:p>
          <a:p>
            <a:pPr algn="just"/>
            <a:r>
              <a:rPr lang="es-ES" sz="1099" spc="-1">
                <a:latin typeface="Soho Gothic Pro Light"/>
              </a:rPr>
              <a:t>Data </a:t>
            </a:r>
            <a:r>
              <a:rPr lang="es-ES" sz="1099" spc="-1" err="1">
                <a:latin typeface="Soho Gothic Pro Light"/>
              </a:rPr>
              <a:t>Engineer</a:t>
            </a:r>
            <a:endParaRPr lang="es-ES" sz="1099" spc="-1">
              <a:latin typeface="Arial"/>
            </a:endParaRPr>
          </a:p>
          <a:p>
            <a:pPr algn="just">
              <a:lnSpc>
                <a:spcPct val="100000"/>
              </a:lnSpc>
            </a:pPr>
            <a:endParaRPr lang="es-ES" sz="1099" spc="-1">
              <a:solidFill>
                <a:srgbClr val="FF0000"/>
              </a:solidFill>
              <a:latin typeface="Arial"/>
              <a:cs typeface="Arial"/>
            </a:endParaRPr>
          </a:p>
          <a:p>
            <a:pPr algn="just">
              <a:buClr>
                <a:srgbClr val="1A3B47"/>
              </a:buClr>
            </a:pPr>
            <a:r>
              <a:rPr lang="es-ES" sz="1099" b="1" spc="-1">
                <a:ea typeface="+mn-lt"/>
                <a:cs typeface="+mn-lt"/>
              </a:rPr>
              <a:t>ENEL</a:t>
            </a:r>
            <a:endParaRPr lang="es-ES" b="1"/>
          </a:p>
          <a:p>
            <a:pPr marL="171357" indent="-171357" algn="just">
              <a:buClr>
                <a:srgbClr val="1A3B47"/>
              </a:buClr>
              <a:buFont typeface="Arial"/>
              <a:buChar char="•"/>
            </a:pPr>
            <a:r>
              <a:rPr lang="es-ES" sz="1099" spc="-1" err="1">
                <a:ea typeface="+mn-lt"/>
                <a:cs typeface="+mn-lt"/>
              </a:rPr>
              <a:t>Design</a:t>
            </a:r>
            <a:r>
              <a:rPr lang="es-ES" sz="1099" spc="-1">
                <a:ea typeface="+mn-lt"/>
                <a:cs typeface="+mn-lt"/>
              </a:rPr>
              <a:t> and </a:t>
            </a:r>
            <a:r>
              <a:rPr lang="es-ES" sz="1099" spc="-1" err="1">
                <a:ea typeface="+mn-lt"/>
                <a:cs typeface="+mn-lt"/>
              </a:rPr>
              <a:t>implementation</a:t>
            </a:r>
            <a:r>
              <a:rPr lang="es-ES" sz="1099" spc="-1">
                <a:ea typeface="+mn-lt"/>
                <a:cs typeface="+mn-lt"/>
              </a:rPr>
              <a:t> </a:t>
            </a:r>
            <a:r>
              <a:rPr lang="es-ES" sz="1099" spc="-1" err="1">
                <a:ea typeface="+mn-lt"/>
                <a:cs typeface="+mn-lt"/>
              </a:rPr>
              <a:t>for</a:t>
            </a:r>
            <a:r>
              <a:rPr lang="es-ES" sz="1099" spc="-1">
                <a:ea typeface="+mn-lt"/>
                <a:cs typeface="+mn-lt"/>
              </a:rPr>
              <a:t> a </a:t>
            </a:r>
            <a:r>
              <a:rPr lang="es-ES" sz="1099" spc="-1" err="1">
                <a:ea typeface="+mn-lt"/>
                <a:cs typeface="+mn-lt"/>
              </a:rPr>
              <a:t>project</a:t>
            </a:r>
            <a:r>
              <a:rPr lang="es-ES" sz="1099" spc="-1">
                <a:ea typeface="+mn-lt"/>
                <a:cs typeface="+mn-lt"/>
              </a:rPr>
              <a:t> in </a:t>
            </a:r>
            <a:r>
              <a:rPr lang="es-ES" sz="1099" spc="-1" err="1">
                <a:ea typeface="+mn-lt"/>
                <a:cs typeface="+mn-lt"/>
              </a:rPr>
              <a:t>the</a:t>
            </a:r>
            <a:r>
              <a:rPr lang="es-ES" sz="1099" spc="-1">
                <a:ea typeface="+mn-lt"/>
                <a:cs typeface="+mn-lt"/>
              </a:rPr>
              <a:t> </a:t>
            </a:r>
            <a:r>
              <a:rPr lang="es-ES" sz="1099" spc="-1" err="1">
                <a:ea typeface="+mn-lt"/>
                <a:cs typeface="+mn-lt"/>
              </a:rPr>
              <a:t>energy</a:t>
            </a:r>
            <a:r>
              <a:rPr lang="es-ES" sz="1099" spc="-1">
                <a:ea typeface="+mn-lt"/>
                <a:cs typeface="+mn-lt"/>
              </a:rPr>
              <a:t> sector in </a:t>
            </a:r>
            <a:r>
              <a:rPr lang="es-ES" sz="1099" spc="-1" err="1">
                <a:ea typeface="+mn-lt"/>
                <a:cs typeface="+mn-lt"/>
              </a:rPr>
              <a:t>which</a:t>
            </a:r>
            <a:r>
              <a:rPr lang="es-ES" sz="1099" spc="-1">
                <a:ea typeface="+mn-lt"/>
                <a:cs typeface="+mn-lt"/>
              </a:rPr>
              <a:t> a </a:t>
            </a:r>
            <a:r>
              <a:rPr lang="es-ES" sz="1099" spc="-1" err="1">
                <a:ea typeface="+mn-lt"/>
                <a:cs typeface="+mn-lt"/>
              </a:rPr>
              <a:t>Datalake</a:t>
            </a:r>
            <a:r>
              <a:rPr lang="es-ES" sz="1099" spc="-1">
                <a:ea typeface="+mn-lt"/>
                <a:cs typeface="+mn-lt"/>
              </a:rPr>
              <a:t> </a:t>
            </a:r>
            <a:r>
              <a:rPr lang="es-ES" sz="1099" spc="-1" err="1">
                <a:ea typeface="+mn-lt"/>
                <a:cs typeface="+mn-lt"/>
              </a:rPr>
              <a:t>was</a:t>
            </a:r>
            <a:r>
              <a:rPr lang="es-ES" sz="1099" spc="-1">
                <a:ea typeface="+mn-lt"/>
                <a:cs typeface="+mn-lt"/>
              </a:rPr>
              <a:t> </a:t>
            </a:r>
            <a:r>
              <a:rPr lang="es-ES" sz="1099" spc="-1" err="1">
                <a:ea typeface="+mn-lt"/>
                <a:cs typeface="+mn-lt"/>
              </a:rPr>
              <a:t>created</a:t>
            </a:r>
            <a:r>
              <a:rPr lang="es-ES" sz="1099" spc="-1">
                <a:ea typeface="+mn-lt"/>
                <a:cs typeface="+mn-lt"/>
              </a:rPr>
              <a:t> </a:t>
            </a:r>
            <a:r>
              <a:rPr lang="es-ES" sz="1099" spc="-1" err="1">
                <a:ea typeface="+mn-lt"/>
                <a:cs typeface="+mn-lt"/>
              </a:rPr>
              <a:t>through</a:t>
            </a:r>
            <a:r>
              <a:rPr lang="es-ES" sz="1099" spc="-1">
                <a:ea typeface="+mn-lt"/>
                <a:cs typeface="+mn-lt"/>
              </a:rPr>
              <a:t> </a:t>
            </a:r>
            <a:r>
              <a:rPr lang="es-ES" sz="1099" spc="-1" err="1">
                <a:ea typeface="+mn-lt"/>
                <a:cs typeface="+mn-lt"/>
              </a:rPr>
              <a:t>the</a:t>
            </a:r>
            <a:r>
              <a:rPr lang="es-ES" sz="1099" spc="-1">
                <a:ea typeface="+mn-lt"/>
                <a:cs typeface="+mn-lt"/>
              </a:rPr>
              <a:t> </a:t>
            </a:r>
            <a:r>
              <a:rPr lang="es-ES" sz="1099" spc="-1" err="1">
                <a:ea typeface="+mn-lt"/>
                <a:cs typeface="+mn-lt"/>
              </a:rPr>
              <a:t>source</a:t>
            </a:r>
            <a:r>
              <a:rPr lang="es-ES" sz="1099" spc="-1">
                <a:ea typeface="+mn-lt"/>
                <a:cs typeface="+mn-lt"/>
              </a:rPr>
              <a:t> data </a:t>
            </a:r>
            <a:r>
              <a:rPr lang="es-ES" sz="1099" spc="-1" err="1">
                <a:ea typeface="+mn-lt"/>
                <a:cs typeface="+mn-lt"/>
              </a:rPr>
              <a:t>extracted</a:t>
            </a:r>
            <a:r>
              <a:rPr lang="es-ES" sz="1099" spc="-1">
                <a:ea typeface="+mn-lt"/>
                <a:cs typeface="+mn-lt"/>
              </a:rPr>
              <a:t> </a:t>
            </a:r>
            <a:r>
              <a:rPr lang="es-ES" sz="1099" spc="-1" err="1">
                <a:ea typeface="+mn-lt"/>
                <a:cs typeface="+mn-lt"/>
              </a:rPr>
              <a:t>with</a:t>
            </a:r>
            <a:r>
              <a:rPr lang="es-ES" sz="1099" spc="-1">
                <a:ea typeface="+mn-lt"/>
                <a:cs typeface="+mn-lt"/>
              </a:rPr>
              <a:t> </a:t>
            </a:r>
            <a:r>
              <a:rPr lang="es-ES" sz="1099" spc="-1" err="1">
                <a:ea typeface="+mn-lt"/>
                <a:cs typeface="+mn-lt"/>
              </a:rPr>
              <a:t>an</a:t>
            </a:r>
            <a:r>
              <a:rPr lang="es-ES" sz="1099" spc="-1">
                <a:ea typeface="+mn-lt"/>
                <a:cs typeface="+mn-lt"/>
              </a:rPr>
              <a:t> ETL in Python, </a:t>
            </a:r>
            <a:r>
              <a:rPr lang="es-ES" sz="1099" spc="-1" err="1">
                <a:ea typeface="+mn-lt"/>
                <a:cs typeface="+mn-lt"/>
              </a:rPr>
              <a:t>used</a:t>
            </a:r>
            <a:r>
              <a:rPr lang="es-ES" sz="1099" spc="-1">
                <a:ea typeface="+mn-lt"/>
                <a:cs typeface="+mn-lt"/>
              </a:rPr>
              <a:t> </a:t>
            </a:r>
            <a:r>
              <a:rPr lang="es-ES" sz="1099" spc="-1" err="1">
                <a:ea typeface="+mn-lt"/>
                <a:cs typeface="+mn-lt"/>
              </a:rPr>
              <a:t>for</a:t>
            </a:r>
            <a:r>
              <a:rPr lang="es-ES" sz="1099" spc="-1">
                <a:ea typeface="+mn-lt"/>
                <a:cs typeface="+mn-lt"/>
              </a:rPr>
              <a:t> </a:t>
            </a:r>
            <a:r>
              <a:rPr lang="es-ES" sz="1099" spc="-1" err="1">
                <a:ea typeface="+mn-lt"/>
                <a:cs typeface="+mn-lt"/>
              </a:rPr>
              <a:t>the</a:t>
            </a:r>
            <a:r>
              <a:rPr lang="es-ES" sz="1099" spc="-1">
                <a:ea typeface="+mn-lt"/>
                <a:cs typeface="+mn-lt"/>
              </a:rPr>
              <a:t> </a:t>
            </a:r>
            <a:r>
              <a:rPr lang="es-ES" sz="1099" spc="-1" err="1">
                <a:ea typeface="+mn-lt"/>
                <a:cs typeface="+mn-lt"/>
              </a:rPr>
              <a:t>development</a:t>
            </a:r>
            <a:r>
              <a:rPr lang="es-ES" sz="1099" spc="-1">
                <a:ea typeface="+mn-lt"/>
                <a:cs typeface="+mn-lt"/>
              </a:rPr>
              <a:t> </a:t>
            </a:r>
            <a:r>
              <a:rPr lang="es-ES" sz="1099" spc="-1" err="1">
                <a:ea typeface="+mn-lt"/>
                <a:cs typeface="+mn-lt"/>
              </a:rPr>
              <a:t>of</a:t>
            </a:r>
            <a:r>
              <a:rPr lang="es-ES" sz="1099" spc="-1">
                <a:ea typeface="+mn-lt"/>
                <a:cs typeface="+mn-lt"/>
              </a:rPr>
              <a:t> a predictive </a:t>
            </a:r>
            <a:r>
              <a:rPr lang="es-ES" sz="1099" spc="-1" err="1">
                <a:ea typeface="+mn-lt"/>
                <a:cs typeface="+mn-lt"/>
              </a:rPr>
              <a:t>model</a:t>
            </a:r>
            <a:r>
              <a:rPr lang="es-ES" sz="1099" spc="-1">
                <a:ea typeface="+mn-lt"/>
                <a:cs typeface="+mn-lt"/>
              </a:rPr>
              <a:t>.</a:t>
            </a:r>
            <a:endParaRPr lang="es-ES">
              <a:ea typeface="+mn-lt"/>
              <a:cs typeface="+mn-lt"/>
            </a:endParaRPr>
          </a:p>
          <a:p>
            <a:pPr algn="just">
              <a:buClr>
                <a:srgbClr val="1A3B47"/>
              </a:buClr>
              <a:buFont typeface="Arial"/>
              <a:buChar char="•"/>
            </a:pPr>
            <a:endParaRPr lang="es-ES" sz="1099" spc="-1">
              <a:ea typeface="+mn-lt"/>
              <a:cs typeface="+mn-lt"/>
            </a:endParaRPr>
          </a:p>
          <a:p>
            <a:pPr algn="just">
              <a:buClr>
                <a:srgbClr val="1A3B47"/>
              </a:buClr>
            </a:pPr>
            <a:r>
              <a:rPr lang="es-ES" sz="1099" b="1" spc="-1">
                <a:ea typeface="+mn-lt"/>
                <a:cs typeface="+mn-lt"/>
              </a:rPr>
              <a:t>ATC (Agencia Tributaria Catalunya)</a:t>
            </a:r>
            <a:endParaRPr lang="es-ES" sz="1749" b="1">
              <a:ea typeface="+mn-lt"/>
              <a:cs typeface="+mn-lt"/>
            </a:endParaRPr>
          </a:p>
          <a:p>
            <a:pPr marL="171357" indent="-171357" algn="just">
              <a:buClr>
                <a:srgbClr val="1A3B47"/>
              </a:buClr>
              <a:buFont typeface="Arial"/>
              <a:buChar char="•"/>
            </a:pPr>
            <a:r>
              <a:rPr lang="es-ES" sz="1099" spc="-1">
                <a:ea typeface="+mn-lt"/>
                <a:cs typeface="+mn-lt"/>
              </a:rPr>
              <a:t>ETL </a:t>
            </a:r>
            <a:r>
              <a:rPr lang="es-ES" sz="1099" spc="-1" err="1">
                <a:ea typeface="+mn-lt"/>
                <a:cs typeface="+mn-lt"/>
              </a:rPr>
              <a:t>development</a:t>
            </a:r>
            <a:r>
              <a:rPr lang="es-ES" sz="1099" spc="-1">
                <a:ea typeface="+mn-lt"/>
                <a:cs typeface="+mn-lt"/>
              </a:rPr>
              <a:t> </a:t>
            </a:r>
            <a:r>
              <a:rPr lang="es-ES" sz="1099" spc="-1" err="1">
                <a:ea typeface="+mn-lt"/>
                <a:cs typeface="+mn-lt"/>
              </a:rPr>
              <a:t>using</a:t>
            </a:r>
            <a:r>
              <a:rPr lang="es-ES" sz="1099" spc="-1">
                <a:ea typeface="+mn-lt"/>
                <a:cs typeface="+mn-lt"/>
              </a:rPr>
              <a:t> </a:t>
            </a:r>
            <a:r>
              <a:rPr lang="es-ES" sz="1099" spc="-1" err="1">
                <a:ea typeface="+mn-lt"/>
                <a:cs typeface="+mn-lt"/>
              </a:rPr>
              <a:t>languages</a:t>
            </a:r>
            <a:r>
              <a:rPr lang="es-ES" sz="1099" spc="-1">
                <a:ea typeface="+mn-lt"/>
                <a:cs typeface="+mn-lt"/>
              </a:rPr>
              <a:t> </a:t>
            </a:r>
            <a:r>
              <a:rPr lang="es-ES" sz="1099" spc="-1" err="1">
                <a:ea typeface="+mn-lt"/>
                <a:cs typeface="+mn-lt"/>
              </a:rPr>
              <a:t>like</a:t>
            </a:r>
            <a:r>
              <a:rPr lang="es-ES" sz="1099" spc="-1">
                <a:ea typeface="+mn-lt"/>
                <a:cs typeface="+mn-lt"/>
              </a:rPr>
              <a:t> Python </a:t>
            </a:r>
            <a:r>
              <a:rPr lang="es-ES" sz="1099" spc="-1" err="1">
                <a:ea typeface="+mn-lt"/>
                <a:cs typeface="+mn-lt"/>
              </a:rPr>
              <a:t>or</a:t>
            </a:r>
            <a:r>
              <a:rPr lang="es-ES" sz="1099" spc="-1">
                <a:ea typeface="+mn-lt"/>
                <a:cs typeface="+mn-lt"/>
              </a:rPr>
              <a:t> Scala and Big Data </a:t>
            </a:r>
            <a:r>
              <a:rPr lang="es-ES" sz="1099" spc="-1" err="1">
                <a:ea typeface="+mn-lt"/>
                <a:cs typeface="+mn-lt"/>
              </a:rPr>
              <a:t>technologies</a:t>
            </a:r>
            <a:r>
              <a:rPr lang="es-ES" sz="1099" spc="-1">
                <a:ea typeface="+mn-lt"/>
                <a:cs typeface="+mn-lt"/>
              </a:rPr>
              <a:t> </a:t>
            </a:r>
            <a:r>
              <a:rPr lang="es-ES" sz="1099" spc="-1" err="1">
                <a:ea typeface="+mn-lt"/>
                <a:cs typeface="+mn-lt"/>
              </a:rPr>
              <a:t>such</a:t>
            </a:r>
            <a:r>
              <a:rPr lang="es-ES" sz="1099" spc="-1">
                <a:ea typeface="+mn-lt"/>
                <a:cs typeface="+mn-lt"/>
              </a:rPr>
              <a:t> as </a:t>
            </a:r>
            <a:r>
              <a:rPr lang="es-ES" sz="1099" spc="-1" err="1">
                <a:ea typeface="+mn-lt"/>
                <a:cs typeface="+mn-lt"/>
              </a:rPr>
              <a:t>Spark</a:t>
            </a:r>
            <a:r>
              <a:rPr lang="es-ES" sz="1099" spc="-1">
                <a:ea typeface="+mn-lt"/>
                <a:cs typeface="+mn-lt"/>
              </a:rPr>
              <a:t>.</a:t>
            </a:r>
          </a:p>
          <a:p>
            <a:pPr marL="171357" indent="-171357" algn="just">
              <a:buFont typeface="Arial"/>
              <a:buChar char="•"/>
            </a:pPr>
            <a:r>
              <a:rPr lang="es-ES" sz="1099" spc="-1" err="1">
                <a:ea typeface="+mn-lt"/>
                <a:cs typeface="+mn-lt"/>
              </a:rPr>
              <a:t>Support</a:t>
            </a:r>
            <a:r>
              <a:rPr lang="es-ES" sz="1099" spc="-1">
                <a:ea typeface="+mn-lt"/>
                <a:cs typeface="+mn-lt"/>
              </a:rPr>
              <a:t> in </a:t>
            </a:r>
            <a:r>
              <a:rPr lang="es-ES" sz="1099" spc="-1" err="1">
                <a:ea typeface="+mn-lt"/>
                <a:cs typeface="+mn-lt"/>
              </a:rPr>
              <a:t>the</a:t>
            </a:r>
            <a:r>
              <a:rPr lang="es-ES" sz="1099" spc="-1">
                <a:ea typeface="+mn-lt"/>
                <a:cs typeface="+mn-lt"/>
              </a:rPr>
              <a:t> </a:t>
            </a:r>
            <a:r>
              <a:rPr lang="es-ES" sz="1099" spc="-1" err="1">
                <a:ea typeface="+mn-lt"/>
                <a:cs typeface="+mn-lt"/>
              </a:rPr>
              <a:t>development</a:t>
            </a:r>
            <a:r>
              <a:rPr lang="es-ES" sz="1099" spc="-1">
                <a:ea typeface="+mn-lt"/>
                <a:cs typeface="+mn-lt"/>
              </a:rPr>
              <a:t> </a:t>
            </a:r>
            <a:r>
              <a:rPr lang="es-ES" sz="1099" spc="-1" err="1">
                <a:ea typeface="+mn-lt"/>
                <a:cs typeface="+mn-lt"/>
              </a:rPr>
              <a:t>of</a:t>
            </a:r>
            <a:r>
              <a:rPr lang="es-ES" sz="1099" spc="-1">
                <a:ea typeface="+mn-lt"/>
                <a:cs typeface="+mn-lt"/>
              </a:rPr>
              <a:t> a </a:t>
            </a:r>
            <a:r>
              <a:rPr lang="es-ES" sz="1099" spc="-1" err="1">
                <a:ea typeface="+mn-lt"/>
                <a:cs typeface="+mn-lt"/>
              </a:rPr>
              <a:t>graph</a:t>
            </a:r>
            <a:r>
              <a:rPr lang="es-ES" sz="1099" spc="-1">
                <a:ea typeface="+mn-lt"/>
                <a:cs typeface="+mn-lt"/>
              </a:rPr>
              <a:t> in Neo4j, </a:t>
            </a:r>
            <a:r>
              <a:rPr lang="es-ES" sz="1099" spc="-1" err="1">
                <a:ea typeface="+mn-lt"/>
                <a:cs typeface="+mn-lt"/>
              </a:rPr>
              <a:t>built</a:t>
            </a:r>
            <a:r>
              <a:rPr lang="es-ES" sz="1099" spc="-1">
                <a:ea typeface="+mn-lt"/>
                <a:cs typeface="+mn-lt"/>
              </a:rPr>
              <a:t> </a:t>
            </a:r>
            <a:r>
              <a:rPr lang="es-ES" sz="1099" spc="-1" err="1">
                <a:ea typeface="+mn-lt"/>
                <a:cs typeface="+mn-lt"/>
              </a:rPr>
              <a:t>from</a:t>
            </a:r>
            <a:r>
              <a:rPr lang="es-ES" sz="1099" spc="-1">
                <a:ea typeface="+mn-lt"/>
                <a:cs typeface="+mn-lt"/>
              </a:rPr>
              <a:t> </a:t>
            </a:r>
            <a:r>
              <a:rPr lang="es-ES" sz="1099" spc="-1" err="1">
                <a:ea typeface="+mn-lt"/>
                <a:cs typeface="+mn-lt"/>
              </a:rPr>
              <a:t>the</a:t>
            </a:r>
            <a:r>
              <a:rPr lang="es-ES" sz="1099" spc="-1">
                <a:ea typeface="+mn-lt"/>
                <a:cs typeface="+mn-lt"/>
              </a:rPr>
              <a:t> data </a:t>
            </a:r>
            <a:r>
              <a:rPr lang="es-ES" sz="1099" spc="-1" err="1">
                <a:ea typeface="+mn-lt"/>
                <a:cs typeface="+mn-lt"/>
              </a:rPr>
              <a:t>stored</a:t>
            </a:r>
            <a:r>
              <a:rPr lang="es-ES" sz="1099" spc="-1">
                <a:ea typeface="+mn-lt"/>
                <a:cs typeface="+mn-lt"/>
              </a:rPr>
              <a:t> in </a:t>
            </a:r>
            <a:r>
              <a:rPr lang="es-ES" sz="1099" spc="-1" err="1">
                <a:ea typeface="+mn-lt"/>
                <a:cs typeface="+mn-lt"/>
              </a:rPr>
              <a:t>another</a:t>
            </a:r>
            <a:r>
              <a:rPr lang="es-ES" sz="1099" spc="-1">
                <a:ea typeface="+mn-lt"/>
                <a:cs typeface="+mn-lt"/>
              </a:rPr>
              <a:t> MongoDB </a:t>
            </a:r>
            <a:r>
              <a:rPr lang="es-ES" sz="1099" spc="-1" err="1">
                <a:ea typeface="+mn-lt"/>
                <a:cs typeface="+mn-lt"/>
              </a:rPr>
              <a:t>database</a:t>
            </a:r>
            <a:r>
              <a:rPr lang="es-ES" sz="1099" spc="-1">
                <a:ea typeface="+mn-lt"/>
                <a:cs typeface="+mn-lt"/>
              </a:rPr>
              <a:t>.</a:t>
            </a:r>
            <a:endParaRPr lang="es-ES" sz="1749">
              <a:ea typeface="+mn-lt"/>
              <a:cs typeface="+mn-lt"/>
            </a:endParaRPr>
          </a:p>
          <a:p>
            <a:pPr marL="170723" indent="-170723" algn="just">
              <a:buFont typeface="Arial,Sans-Serif"/>
              <a:buChar char="•"/>
            </a:pPr>
            <a:r>
              <a:rPr lang="es-ES" sz="1099" spc="-1">
                <a:ea typeface="+mn-lt"/>
                <a:cs typeface="+mn-lt"/>
              </a:rPr>
              <a:t>API </a:t>
            </a:r>
            <a:r>
              <a:rPr lang="es-ES" sz="1099" spc="-1" err="1">
                <a:ea typeface="+mn-lt"/>
                <a:cs typeface="+mn-lt"/>
              </a:rPr>
              <a:t>development</a:t>
            </a:r>
            <a:r>
              <a:rPr lang="es-ES" sz="1099" spc="-1">
                <a:ea typeface="+mn-lt"/>
                <a:cs typeface="+mn-lt"/>
              </a:rPr>
              <a:t> in </a:t>
            </a:r>
            <a:r>
              <a:rPr lang="es-ES" sz="1099" spc="-1" err="1">
                <a:ea typeface="+mn-lt"/>
                <a:cs typeface="+mn-lt"/>
              </a:rPr>
              <a:t>both</a:t>
            </a:r>
            <a:r>
              <a:rPr lang="es-ES" sz="1099" spc="-1">
                <a:ea typeface="+mn-lt"/>
                <a:cs typeface="+mn-lt"/>
              </a:rPr>
              <a:t> Python and Java.</a:t>
            </a:r>
            <a:endParaRPr lang="en-US" sz="1099" spc="-1">
              <a:ea typeface="+mn-lt"/>
              <a:cs typeface="+mn-lt"/>
            </a:endParaRPr>
          </a:p>
          <a:p>
            <a:pPr marL="170723" indent="-170723" algn="just">
              <a:buFont typeface="Arial,Sans-Serif"/>
              <a:buChar char="•"/>
            </a:pPr>
            <a:endParaRPr lang="es-ES" sz="1099" b="1" spc="-1">
              <a:ea typeface="+mn-lt"/>
              <a:cs typeface="+mn-lt"/>
            </a:endParaRPr>
          </a:p>
          <a:p>
            <a:pPr algn="just"/>
            <a:r>
              <a:rPr lang="es-ES" sz="1099" b="1" spc="-1">
                <a:ea typeface="+mn-lt"/>
                <a:cs typeface="+mn-lt"/>
              </a:rPr>
              <a:t>SUNAT (Agencia Tributaria Perú)</a:t>
            </a:r>
            <a:endParaRPr lang="es-ES" sz="1099" b="1" spc="-1">
              <a:solidFill>
                <a:srgbClr val="1A3B47"/>
              </a:solidFill>
            </a:endParaRPr>
          </a:p>
          <a:p>
            <a:pPr algn="just"/>
            <a:endParaRPr lang="es-ES" sz="1099" b="1" spc="-1">
              <a:ea typeface="+mn-lt"/>
              <a:cs typeface="+mn-lt"/>
            </a:endParaRPr>
          </a:p>
          <a:p>
            <a:pPr marL="171357" indent="-171357" algn="just">
              <a:buClr>
                <a:srgbClr val="1A3B47"/>
              </a:buClr>
              <a:buFont typeface="Arial"/>
              <a:buChar char="•"/>
            </a:pPr>
            <a:r>
              <a:rPr lang="es-ES" sz="1099" spc="-1" err="1">
                <a:ea typeface="+mn-lt"/>
                <a:cs typeface="+mn-lt"/>
              </a:rPr>
              <a:t>Definition</a:t>
            </a:r>
            <a:r>
              <a:rPr lang="es-ES" sz="1099" spc="-1">
                <a:ea typeface="+mn-lt"/>
                <a:cs typeface="+mn-lt"/>
              </a:rPr>
              <a:t> </a:t>
            </a:r>
            <a:r>
              <a:rPr lang="es-ES" sz="1099" spc="-1" err="1">
                <a:ea typeface="+mn-lt"/>
                <a:cs typeface="+mn-lt"/>
              </a:rPr>
              <a:t>of</a:t>
            </a:r>
            <a:r>
              <a:rPr lang="es-ES" sz="1099" spc="-1">
                <a:ea typeface="+mn-lt"/>
                <a:cs typeface="+mn-lt"/>
              </a:rPr>
              <a:t> </a:t>
            </a:r>
            <a:r>
              <a:rPr lang="es-ES" sz="1099" spc="-1" err="1">
                <a:ea typeface="+mn-lt"/>
                <a:cs typeface="+mn-lt"/>
              </a:rPr>
              <a:t>the</a:t>
            </a:r>
            <a:r>
              <a:rPr lang="es-ES" sz="1099" spc="-1">
                <a:ea typeface="+mn-lt"/>
                <a:cs typeface="+mn-lt"/>
              </a:rPr>
              <a:t> </a:t>
            </a:r>
            <a:r>
              <a:rPr lang="es-ES" sz="1099" spc="-1" err="1">
                <a:ea typeface="+mn-lt"/>
                <a:cs typeface="+mn-lt"/>
              </a:rPr>
              <a:t>entities</a:t>
            </a:r>
            <a:r>
              <a:rPr lang="es-ES" sz="1099" spc="-1">
                <a:ea typeface="+mn-lt"/>
                <a:cs typeface="+mn-lt"/>
              </a:rPr>
              <a:t> in </a:t>
            </a:r>
            <a:r>
              <a:rPr lang="es-ES" sz="1099" spc="-1" err="1">
                <a:ea typeface="+mn-lt"/>
                <a:cs typeface="+mn-lt"/>
              </a:rPr>
              <a:t>the</a:t>
            </a:r>
            <a:r>
              <a:rPr lang="es-ES" sz="1099" spc="-1">
                <a:ea typeface="+mn-lt"/>
                <a:cs typeface="+mn-lt"/>
              </a:rPr>
              <a:t> </a:t>
            </a:r>
            <a:r>
              <a:rPr lang="es-ES" sz="1099" spc="-1" err="1">
                <a:ea typeface="+mn-lt"/>
                <a:cs typeface="+mn-lt"/>
              </a:rPr>
              <a:t>logic</a:t>
            </a:r>
            <a:r>
              <a:rPr lang="es-ES" sz="1099" spc="-1">
                <a:ea typeface="+mn-lt"/>
                <a:cs typeface="+mn-lt"/>
              </a:rPr>
              <a:t> </a:t>
            </a:r>
            <a:r>
              <a:rPr lang="es-ES" sz="1099" spc="-1" err="1">
                <a:ea typeface="+mn-lt"/>
                <a:cs typeface="+mn-lt"/>
              </a:rPr>
              <a:t>model</a:t>
            </a:r>
            <a:r>
              <a:rPr lang="es-ES" sz="1099" spc="-1">
                <a:ea typeface="+mn-lt"/>
                <a:cs typeface="+mn-lt"/>
              </a:rPr>
              <a:t>.</a:t>
            </a:r>
            <a:endParaRPr lang="es-ES">
              <a:ea typeface="+mn-lt"/>
              <a:cs typeface="+mn-lt"/>
            </a:endParaRPr>
          </a:p>
          <a:p>
            <a:pPr marL="171357" indent="-171357" algn="just">
              <a:buClr>
                <a:srgbClr val="1A3B47"/>
              </a:buClr>
              <a:buFont typeface="Arial"/>
              <a:buChar char="•"/>
            </a:pPr>
            <a:r>
              <a:rPr lang="es-ES" sz="1099" spc="-1">
                <a:ea typeface="+mn-lt"/>
                <a:cs typeface="+mn-lt"/>
              </a:rPr>
              <a:t>Transfer </a:t>
            </a:r>
            <a:r>
              <a:rPr lang="es-ES" sz="1099" spc="-1" err="1">
                <a:ea typeface="+mn-lt"/>
                <a:cs typeface="+mn-lt"/>
              </a:rPr>
              <a:t>of</a:t>
            </a:r>
            <a:r>
              <a:rPr lang="es-ES" sz="1099" spc="-1">
                <a:ea typeface="+mn-lt"/>
                <a:cs typeface="+mn-lt"/>
              </a:rPr>
              <a:t> </a:t>
            </a:r>
            <a:r>
              <a:rPr lang="es-ES" sz="1099" spc="-1" err="1">
                <a:ea typeface="+mn-lt"/>
                <a:cs typeface="+mn-lt"/>
              </a:rPr>
              <a:t>customer</a:t>
            </a:r>
            <a:r>
              <a:rPr lang="es-ES" sz="1099" spc="-1">
                <a:ea typeface="+mn-lt"/>
                <a:cs typeface="+mn-lt"/>
              </a:rPr>
              <a:t> </a:t>
            </a:r>
            <a:r>
              <a:rPr lang="es-ES" sz="1099" spc="-1" err="1">
                <a:ea typeface="+mn-lt"/>
                <a:cs typeface="+mn-lt"/>
              </a:rPr>
              <a:t>requirements</a:t>
            </a:r>
            <a:r>
              <a:rPr lang="es-ES" sz="1099" spc="-1">
                <a:ea typeface="+mn-lt"/>
                <a:cs typeface="+mn-lt"/>
              </a:rPr>
              <a:t> </a:t>
            </a:r>
            <a:r>
              <a:rPr lang="es-ES" sz="1099" spc="-1" err="1">
                <a:ea typeface="+mn-lt"/>
                <a:cs typeface="+mn-lt"/>
              </a:rPr>
              <a:t>to</a:t>
            </a:r>
            <a:r>
              <a:rPr lang="es-ES" sz="1099" spc="-1">
                <a:ea typeface="+mn-lt"/>
                <a:cs typeface="+mn-lt"/>
              </a:rPr>
              <a:t> </a:t>
            </a:r>
            <a:r>
              <a:rPr lang="es-ES" sz="1099" spc="-1" err="1">
                <a:ea typeface="+mn-lt"/>
                <a:cs typeface="+mn-lt"/>
              </a:rPr>
              <a:t>the</a:t>
            </a:r>
            <a:r>
              <a:rPr lang="es-ES" sz="1099" spc="-1">
                <a:ea typeface="+mn-lt"/>
                <a:cs typeface="+mn-lt"/>
              </a:rPr>
              <a:t> </a:t>
            </a:r>
            <a:r>
              <a:rPr lang="es-ES" sz="1099" spc="-1" err="1">
                <a:ea typeface="+mn-lt"/>
                <a:cs typeface="+mn-lt"/>
              </a:rPr>
              <a:t>logical</a:t>
            </a:r>
            <a:r>
              <a:rPr lang="es-ES" sz="1099" spc="-1">
                <a:ea typeface="+mn-lt"/>
                <a:cs typeface="+mn-lt"/>
              </a:rPr>
              <a:t> and </a:t>
            </a:r>
            <a:r>
              <a:rPr lang="es-ES" sz="1099" spc="-1" err="1">
                <a:ea typeface="+mn-lt"/>
                <a:cs typeface="+mn-lt"/>
              </a:rPr>
              <a:t>physical</a:t>
            </a:r>
            <a:r>
              <a:rPr lang="es-ES" sz="1099" spc="-1">
                <a:ea typeface="+mn-lt"/>
                <a:cs typeface="+mn-lt"/>
              </a:rPr>
              <a:t> </a:t>
            </a:r>
            <a:r>
              <a:rPr lang="es-ES" sz="1099" spc="-1" err="1">
                <a:ea typeface="+mn-lt"/>
                <a:cs typeface="+mn-lt"/>
              </a:rPr>
              <a:t>model</a:t>
            </a:r>
            <a:r>
              <a:rPr lang="es-ES" sz="1099" spc="-1">
                <a:ea typeface="+mn-lt"/>
                <a:cs typeface="+mn-lt"/>
              </a:rPr>
              <a:t>, </a:t>
            </a:r>
            <a:r>
              <a:rPr lang="es-ES" sz="1099" spc="-1" err="1">
                <a:ea typeface="+mn-lt"/>
                <a:cs typeface="+mn-lt"/>
              </a:rPr>
              <a:t>integrating</a:t>
            </a:r>
            <a:r>
              <a:rPr lang="es-ES" sz="1099" spc="-1">
                <a:ea typeface="+mn-lt"/>
                <a:cs typeface="+mn-lt"/>
              </a:rPr>
              <a:t> </a:t>
            </a:r>
            <a:r>
              <a:rPr lang="es-ES" sz="1099" spc="-1" err="1">
                <a:ea typeface="+mn-lt"/>
                <a:cs typeface="+mn-lt"/>
              </a:rPr>
              <a:t>them</a:t>
            </a:r>
            <a:r>
              <a:rPr lang="es-ES" sz="1099" spc="-1">
                <a:ea typeface="+mn-lt"/>
                <a:cs typeface="+mn-lt"/>
              </a:rPr>
              <a:t> </a:t>
            </a:r>
            <a:r>
              <a:rPr lang="es-ES" sz="1099" spc="-1" err="1">
                <a:ea typeface="+mn-lt"/>
                <a:cs typeface="+mn-lt"/>
              </a:rPr>
              <a:t>with</a:t>
            </a:r>
            <a:r>
              <a:rPr lang="es-ES" sz="1099" spc="-1">
                <a:ea typeface="+mn-lt"/>
                <a:cs typeface="+mn-lt"/>
              </a:rPr>
              <a:t> </a:t>
            </a:r>
            <a:r>
              <a:rPr lang="es-ES" sz="1099" spc="-1" err="1">
                <a:ea typeface="+mn-lt"/>
                <a:cs typeface="+mn-lt"/>
              </a:rPr>
              <a:t>existing</a:t>
            </a:r>
            <a:r>
              <a:rPr lang="es-ES" sz="1099" spc="-1">
                <a:ea typeface="+mn-lt"/>
                <a:cs typeface="+mn-lt"/>
              </a:rPr>
              <a:t> </a:t>
            </a:r>
            <a:r>
              <a:rPr lang="es-ES" sz="1099" spc="-1" err="1">
                <a:ea typeface="+mn-lt"/>
                <a:cs typeface="+mn-lt"/>
              </a:rPr>
              <a:t>definitions</a:t>
            </a:r>
            <a:r>
              <a:rPr lang="es-ES" sz="1099" spc="-1">
                <a:ea typeface="+mn-lt"/>
                <a:cs typeface="+mn-lt"/>
              </a:rPr>
              <a:t> in MongoDB </a:t>
            </a:r>
            <a:r>
              <a:rPr lang="es-ES" sz="1099" spc="-1" err="1">
                <a:ea typeface="+mn-lt"/>
                <a:cs typeface="+mn-lt"/>
              </a:rPr>
              <a:t>collections</a:t>
            </a:r>
            <a:r>
              <a:rPr lang="es-ES" sz="1099" spc="-1">
                <a:ea typeface="+mn-lt"/>
                <a:cs typeface="+mn-lt"/>
              </a:rPr>
              <a:t>.</a:t>
            </a:r>
          </a:p>
          <a:p>
            <a:pPr marL="170723" indent="-170723" algn="just">
              <a:buClr>
                <a:srgbClr val="1A3B47"/>
              </a:buClr>
              <a:buFont typeface="Arial,Sans-Serif"/>
              <a:buChar char="•"/>
            </a:pPr>
            <a:endParaRPr lang="es-ES" sz="1099" spc="-1">
              <a:solidFill>
                <a:srgbClr val="FF0000"/>
              </a:solidFill>
              <a:ea typeface="+mn-lt"/>
              <a:cs typeface="+mn-lt"/>
            </a:endParaRPr>
          </a:p>
        </p:txBody>
      </p:sp>
      <p:sp>
        <p:nvSpPr>
          <p:cNvPr id="28" name="CuadroTexto 45_2"/>
          <p:cNvSpPr/>
          <p:nvPr/>
        </p:nvSpPr>
        <p:spPr>
          <a:xfrm>
            <a:off x="5313374" y="3139585"/>
            <a:ext cx="4004811" cy="1274864"/>
          </a:xfrm>
          <a:prstGeom prst="rect">
            <a:avLst/>
          </a:prstGeom>
          <a:noFill/>
          <a:ln w="0">
            <a:noFill/>
          </a:ln>
        </p:spPr>
        <p:style>
          <a:lnRef idx="0">
            <a:scrgbClr r="0" g="0" b="0"/>
          </a:lnRef>
          <a:fillRef idx="0">
            <a:scrgbClr r="0" g="0" b="0"/>
          </a:fillRef>
          <a:effectRef idx="0">
            <a:scrgbClr r="0" g="0" b="0"/>
          </a:effectRef>
          <a:fontRef idx="minor"/>
        </p:style>
        <p:txBody>
          <a:bodyPr wrap="square" lIns="89943" tIns="44972" rIns="89943" bIns="44972" anchor="t">
            <a:spAutoFit/>
          </a:bodyPr>
          <a:lstStyle/>
          <a:p>
            <a:pPr algn="just"/>
            <a:r>
              <a:rPr lang="es-ES" sz="1099" b="1" spc="-1">
                <a:solidFill>
                  <a:srgbClr val="1A3B47"/>
                </a:solidFill>
                <a:latin typeface="Soho Gothic Pro Light"/>
              </a:rPr>
              <a:t>Enterprise </a:t>
            </a:r>
            <a:r>
              <a:rPr lang="es-ES" sz="1099" b="1" spc="-1" err="1">
                <a:solidFill>
                  <a:srgbClr val="1A3B47"/>
                </a:solidFill>
                <a:latin typeface="Soho Gothic Pro Light"/>
              </a:rPr>
              <a:t>Consulting</a:t>
            </a:r>
            <a:r>
              <a:rPr lang="es-ES" sz="1099" b="1" spc="-1">
                <a:solidFill>
                  <a:srgbClr val="1A3B47"/>
                </a:solidFill>
                <a:latin typeface="Soho Gothic Pro Light"/>
              </a:rPr>
              <a:t> and Training</a:t>
            </a:r>
            <a:r>
              <a:rPr lang="es-ES" sz="1099" b="1" spc="-1">
                <a:latin typeface="Soho Gothic Pro Light"/>
              </a:rPr>
              <a:t> </a:t>
            </a:r>
            <a:r>
              <a:rPr lang="es-ES" sz="1099" b="1" spc="-1">
                <a:ea typeface="Soho Gothic Pro Light"/>
              </a:rPr>
              <a:t>(Barcelona, España)</a:t>
            </a:r>
            <a:endParaRPr lang="es-ES" sz="1099" spc="-1">
              <a:latin typeface="Arial"/>
              <a:cs typeface="Arial"/>
            </a:endParaRPr>
          </a:p>
          <a:p>
            <a:pPr algn="just"/>
            <a:r>
              <a:rPr lang="es-ES" sz="1099" spc="-1">
                <a:ea typeface="+mn-lt"/>
                <a:cs typeface="+mn-lt"/>
              </a:rPr>
              <a:t>Web </a:t>
            </a:r>
            <a:r>
              <a:rPr lang="es-ES" sz="1099" spc="-1" err="1">
                <a:ea typeface="+mn-lt"/>
                <a:cs typeface="+mn-lt"/>
              </a:rPr>
              <a:t>developer</a:t>
            </a:r>
            <a:endParaRPr lang="es-ES" err="1"/>
          </a:p>
          <a:p>
            <a:pPr algn="just">
              <a:lnSpc>
                <a:spcPct val="100000"/>
              </a:lnSpc>
            </a:pPr>
            <a:endParaRPr lang="es-ES" sz="1099" spc="-1">
              <a:solidFill>
                <a:srgbClr val="FF0000"/>
              </a:solidFill>
              <a:latin typeface="Arial"/>
            </a:endParaRPr>
          </a:p>
          <a:p>
            <a:pPr marL="170723" indent="-170723" algn="just">
              <a:buClr>
                <a:srgbClr val="1A3B47"/>
              </a:buClr>
              <a:buFont typeface="Arial,Sans-Serif"/>
              <a:buChar char="•"/>
            </a:pPr>
            <a:r>
              <a:rPr lang="es-ES" sz="1099" spc="-1" err="1">
                <a:ea typeface="+mn-lt"/>
                <a:cs typeface="+mn-lt"/>
              </a:rPr>
              <a:t>Development</a:t>
            </a:r>
            <a:r>
              <a:rPr lang="es-ES" sz="1099" spc="-1">
                <a:ea typeface="+mn-lt"/>
                <a:cs typeface="+mn-lt"/>
              </a:rPr>
              <a:t> </a:t>
            </a:r>
            <a:r>
              <a:rPr lang="es-ES" sz="1099" spc="-1" err="1">
                <a:ea typeface="+mn-lt"/>
                <a:cs typeface="+mn-lt"/>
              </a:rPr>
              <a:t>of</a:t>
            </a:r>
            <a:r>
              <a:rPr lang="es-ES" sz="1099" spc="-1">
                <a:ea typeface="+mn-lt"/>
                <a:cs typeface="+mn-lt"/>
              </a:rPr>
              <a:t> web </a:t>
            </a:r>
            <a:r>
              <a:rPr lang="es-ES" sz="1099" spc="-1" err="1">
                <a:ea typeface="+mn-lt"/>
                <a:cs typeface="+mn-lt"/>
              </a:rPr>
              <a:t>applications</a:t>
            </a:r>
            <a:r>
              <a:rPr lang="es-ES" sz="1099" spc="-1">
                <a:ea typeface="+mn-lt"/>
                <a:cs typeface="+mn-lt"/>
              </a:rPr>
              <a:t> in </a:t>
            </a:r>
            <a:r>
              <a:rPr lang="es-ES" sz="1099" spc="-1" err="1">
                <a:ea typeface="+mn-lt"/>
                <a:cs typeface="+mn-lt"/>
              </a:rPr>
              <a:t>Php</a:t>
            </a:r>
            <a:r>
              <a:rPr lang="es-ES" sz="1099" spc="-1">
                <a:ea typeface="+mn-lt"/>
                <a:cs typeface="+mn-lt"/>
              </a:rPr>
              <a:t> and </a:t>
            </a:r>
            <a:r>
              <a:rPr lang="es-ES" sz="1099" spc="-1" err="1">
                <a:ea typeface="+mn-lt"/>
                <a:cs typeface="+mn-lt"/>
              </a:rPr>
              <a:t>Javascript</a:t>
            </a:r>
            <a:r>
              <a:rPr lang="es-ES" sz="1099" spc="-1">
                <a:ea typeface="+mn-lt"/>
                <a:cs typeface="+mn-lt"/>
              </a:rPr>
              <a:t>, </a:t>
            </a:r>
            <a:r>
              <a:rPr lang="es-ES" sz="1099" spc="-1" err="1">
                <a:ea typeface="+mn-lt"/>
                <a:cs typeface="+mn-lt"/>
              </a:rPr>
              <a:t>CodeIgniter</a:t>
            </a:r>
            <a:r>
              <a:rPr lang="es-ES" sz="1099" spc="-1">
                <a:ea typeface="+mn-lt"/>
                <a:cs typeface="+mn-lt"/>
              </a:rPr>
              <a:t>, Zend, Slim, Doctrine, </a:t>
            </a:r>
            <a:r>
              <a:rPr lang="es-ES" sz="1099" spc="-1" err="1">
                <a:ea typeface="+mn-lt"/>
                <a:cs typeface="+mn-lt"/>
              </a:rPr>
              <a:t>Ionic</a:t>
            </a:r>
            <a:r>
              <a:rPr lang="es-ES" sz="1099" spc="-1">
                <a:ea typeface="+mn-lt"/>
                <a:cs typeface="+mn-lt"/>
              </a:rPr>
              <a:t>, Bootstrap, </a:t>
            </a:r>
            <a:r>
              <a:rPr lang="es-ES" sz="1099" spc="-1" err="1">
                <a:ea typeface="+mn-lt"/>
                <a:cs typeface="+mn-lt"/>
              </a:rPr>
              <a:t>AngularJS</a:t>
            </a:r>
            <a:r>
              <a:rPr lang="es-ES" sz="1099" spc="-1">
                <a:ea typeface="+mn-lt"/>
                <a:cs typeface="+mn-lt"/>
              </a:rPr>
              <a:t> </a:t>
            </a:r>
            <a:r>
              <a:rPr lang="es-ES" sz="1099" spc="-1" err="1">
                <a:ea typeface="+mn-lt"/>
                <a:cs typeface="+mn-lt"/>
              </a:rPr>
              <a:t>frameworks</a:t>
            </a:r>
            <a:r>
              <a:rPr lang="es-ES" sz="1099" spc="-1">
                <a:ea typeface="+mn-lt"/>
                <a:cs typeface="+mn-lt"/>
              </a:rPr>
              <a:t> and </a:t>
            </a:r>
            <a:r>
              <a:rPr lang="es-ES" sz="1099" spc="-1" err="1">
                <a:ea typeface="+mn-lt"/>
                <a:cs typeface="+mn-lt"/>
              </a:rPr>
              <a:t>Mysql</a:t>
            </a:r>
            <a:r>
              <a:rPr lang="es-ES" sz="1099" spc="-1">
                <a:ea typeface="+mn-lt"/>
                <a:cs typeface="+mn-lt"/>
              </a:rPr>
              <a:t> </a:t>
            </a:r>
            <a:r>
              <a:rPr lang="es-ES" sz="1099" spc="-1" err="1">
                <a:ea typeface="+mn-lt"/>
                <a:cs typeface="+mn-lt"/>
              </a:rPr>
              <a:t>database</a:t>
            </a:r>
            <a:r>
              <a:rPr lang="es-ES" sz="1099" spc="-1">
                <a:ea typeface="+mn-lt"/>
                <a:cs typeface="+mn-lt"/>
              </a:rPr>
              <a:t> </a:t>
            </a:r>
            <a:r>
              <a:rPr lang="es-ES" sz="1099" spc="-1" err="1">
                <a:ea typeface="+mn-lt"/>
                <a:cs typeface="+mn-lt"/>
              </a:rPr>
              <a:t>for</a:t>
            </a:r>
            <a:r>
              <a:rPr lang="es-ES" sz="1099" spc="-1">
                <a:ea typeface="+mn-lt"/>
                <a:cs typeface="+mn-lt"/>
              </a:rPr>
              <a:t> </a:t>
            </a:r>
            <a:r>
              <a:rPr lang="es-ES" sz="1099" spc="-1" err="1">
                <a:ea typeface="+mn-lt"/>
                <a:cs typeface="+mn-lt"/>
              </a:rPr>
              <a:t>both</a:t>
            </a:r>
            <a:r>
              <a:rPr lang="es-ES" sz="1099" spc="-1">
                <a:ea typeface="+mn-lt"/>
                <a:cs typeface="+mn-lt"/>
              </a:rPr>
              <a:t> Linux and Windows </a:t>
            </a:r>
            <a:r>
              <a:rPr lang="es-ES" sz="1099" spc="-1" err="1">
                <a:ea typeface="+mn-lt"/>
                <a:cs typeface="+mn-lt"/>
              </a:rPr>
              <a:t>environments</a:t>
            </a:r>
            <a:r>
              <a:rPr lang="es-ES" sz="1099" spc="-1">
                <a:ea typeface="+mn-lt"/>
                <a:cs typeface="+mn-lt"/>
              </a:rPr>
              <a:t>.</a:t>
            </a:r>
          </a:p>
        </p:txBody>
      </p:sp>
      <p:sp>
        <p:nvSpPr>
          <p:cNvPr id="29" name="CuadroTexto 48_2"/>
          <p:cNvSpPr/>
          <p:nvPr/>
        </p:nvSpPr>
        <p:spPr>
          <a:xfrm>
            <a:off x="4902155" y="3141866"/>
            <a:ext cx="603642" cy="784130"/>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r>
              <a:rPr lang="es-ES" sz="899" b="1" spc="-1" err="1">
                <a:latin typeface="Soho Gothic Pro Light"/>
              </a:rPr>
              <a:t>Apr</a:t>
            </a:r>
            <a:r>
              <a:rPr lang="es-ES" sz="899" b="1" spc="-1">
                <a:latin typeface="Soho Gothic Pro Light"/>
              </a:rPr>
              <a:t> 2015     </a:t>
            </a:r>
          </a:p>
          <a:p>
            <a:pPr>
              <a:lnSpc>
                <a:spcPct val="100000"/>
              </a:lnSpc>
            </a:pPr>
            <a:r>
              <a:rPr lang="es-ES" sz="899" b="1" spc="-1">
                <a:latin typeface="Soho Gothic Pro Light"/>
              </a:rPr>
              <a:t>—</a:t>
            </a:r>
          </a:p>
          <a:p>
            <a:r>
              <a:rPr lang="es-ES" sz="899" b="1" spc="-1" err="1">
                <a:latin typeface="Soho Gothic Pro Light"/>
              </a:rPr>
              <a:t>Dec</a:t>
            </a:r>
            <a:r>
              <a:rPr lang="es-ES" sz="899" b="1" spc="-1">
                <a:latin typeface="Soho Gothic Pro Light"/>
              </a:rPr>
              <a:t> 2014</a:t>
            </a:r>
          </a:p>
        </p:txBody>
      </p:sp>
      <p:sp>
        <p:nvSpPr>
          <p:cNvPr id="32" name="CuadroTexto 39_0"/>
          <p:cNvSpPr/>
          <p:nvPr/>
        </p:nvSpPr>
        <p:spPr>
          <a:xfrm>
            <a:off x="243817" y="1395666"/>
            <a:ext cx="551172" cy="784130"/>
          </a:xfrm>
          <a:prstGeom prst="rect">
            <a:avLst/>
          </a:prstGeom>
          <a:noFill/>
          <a:ln w="0">
            <a:noFill/>
          </a:ln>
        </p:spPr>
        <p:style>
          <a:lnRef idx="0">
            <a:scrgbClr r="0" g="0" b="0"/>
          </a:lnRef>
          <a:fillRef idx="0">
            <a:scrgbClr r="0" g="0" b="0"/>
          </a:fillRef>
          <a:effectRef idx="0">
            <a:scrgbClr r="0" g="0" b="0"/>
          </a:effectRef>
          <a:fontRef idx="minor"/>
        </p:style>
        <p:txBody>
          <a:bodyPr lIns="91382" tIns="45691" rIns="91382" bIns="45691" anchor="t">
            <a:spAutoFit/>
          </a:bodyPr>
          <a:lstStyle/>
          <a:p>
            <a:pPr>
              <a:lnSpc>
                <a:spcPct val="100000"/>
              </a:lnSpc>
            </a:pPr>
            <a:r>
              <a:rPr lang="es-ES" sz="899" b="1" spc="-1">
                <a:latin typeface="Soho Gothic Pro Light"/>
                <a:ea typeface="Soho Gothic Pro Light"/>
              </a:rPr>
              <a:t>ACT</a:t>
            </a:r>
            <a:endParaRPr lang="es-ES" sz="899" b="1" spc="-1">
              <a:latin typeface="Arial"/>
              <a:cs typeface="Arial"/>
            </a:endParaRPr>
          </a:p>
          <a:p>
            <a:pPr>
              <a:lnSpc>
                <a:spcPct val="100000"/>
              </a:lnSpc>
            </a:pPr>
            <a:r>
              <a:rPr lang="es-ES" sz="899" b="1" spc="-1">
                <a:latin typeface="Soho Gothic Pro Light"/>
                <a:ea typeface="Soho Gothic Pro Light"/>
              </a:rPr>
              <a:t>—</a:t>
            </a:r>
            <a:endParaRPr lang="es-ES" sz="899" b="1" spc="-1">
              <a:latin typeface="Arial"/>
              <a:cs typeface="Arial"/>
            </a:endParaRPr>
          </a:p>
          <a:p>
            <a:r>
              <a:rPr lang="es-ES" sz="899" b="1" spc="-1">
                <a:latin typeface="Soho Gothic Pro Light"/>
              </a:rPr>
              <a:t>Sept 2019</a:t>
            </a:r>
            <a:endParaRPr lang="es-ES" sz="899" b="1" spc="-1">
              <a:latin typeface="Arial"/>
              <a:cs typeface="Arial"/>
            </a:endParaRPr>
          </a:p>
          <a:p>
            <a:pPr>
              <a:lnSpc>
                <a:spcPct val="100000"/>
              </a:lnSpc>
            </a:pPr>
            <a:endParaRPr lang="es-ES" sz="899" spc="-1">
              <a:solidFill>
                <a:srgbClr val="FF0000"/>
              </a:solidFill>
              <a:latin typeface="Arial"/>
            </a:endParaRPr>
          </a:p>
        </p:txBody>
      </p:sp>
      <p:sp>
        <p:nvSpPr>
          <p:cNvPr id="42" name="CuadroTexto 44_0"/>
          <p:cNvSpPr/>
          <p:nvPr/>
        </p:nvSpPr>
        <p:spPr>
          <a:xfrm>
            <a:off x="5401339" y="1420058"/>
            <a:ext cx="3916845" cy="1276316"/>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pPr algn="just"/>
            <a:r>
              <a:rPr lang="es-ES" sz="1099" b="1" spc="-1">
                <a:solidFill>
                  <a:srgbClr val="1A3B47"/>
                </a:solidFill>
                <a:latin typeface="Soho Gothic Pro Light"/>
              </a:rPr>
              <a:t>Accenture (Barcelona, España)</a:t>
            </a:r>
            <a:r>
              <a:rPr lang="es-ES" sz="1099" b="1" spc="-1">
                <a:solidFill>
                  <a:srgbClr val="FF0000"/>
                </a:solidFill>
                <a:latin typeface="Soho Gothic Pro Light"/>
              </a:rPr>
              <a:t> </a:t>
            </a:r>
            <a:endParaRPr lang="es-ES" sz="1099" spc="-1">
              <a:solidFill>
                <a:srgbClr val="FF0000"/>
              </a:solidFill>
              <a:latin typeface="Arial"/>
            </a:endParaRPr>
          </a:p>
          <a:p>
            <a:pPr algn="just"/>
            <a:r>
              <a:rPr lang="es-ES" sz="1099" spc="-1" err="1">
                <a:ea typeface="+mn-lt"/>
                <a:cs typeface="+mn-lt"/>
              </a:rPr>
              <a:t>Technology</a:t>
            </a:r>
            <a:r>
              <a:rPr lang="es-ES" sz="1099" spc="-1">
                <a:ea typeface="+mn-lt"/>
                <a:cs typeface="+mn-lt"/>
              </a:rPr>
              <a:t> </a:t>
            </a:r>
            <a:r>
              <a:rPr lang="es-ES" sz="1099" spc="-1" err="1">
                <a:ea typeface="+mn-lt"/>
                <a:cs typeface="+mn-lt"/>
              </a:rPr>
              <a:t>Consultant</a:t>
            </a:r>
            <a:endParaRPr lang="es-ES" err="1"/>
          </a:p>
          <a:p>
            <a:pPr algn="just">
              <a:lnSpc>
                <a:spcPct val="100000"/>
              </a:lnSpc>
            </a:pPr>
            <a:endParaRPr lang="es-ES" sz="1099" spc="-1">
              <a:solidFill>
                <a:srgbClr val="FF0000"/>
              </a:solidFill>
              <a:latin typeface="Arial"/>
            </a:endParaRPr>
          </a:p>
          <a:p>
            <a:pPr marL="170723" indent="-170723" algn="just">
              <a:buClr>
                <a:srgbClr val="1A3B47"/>
              </a:buClr>
              <a:buFont typeface="Arial,Sans-Serif"/>
              <a:buChar char="•"/>
            </a:pPr>
            <a:r>
              <a:rPr lang="es-ES" sz="1099" spc="-1" err="1">
                <a:ea typeface="+mn-lt"/>
                <a:cs typeface="+mn-lt"/>
              </a:rPr>
              <a:t>Support</a:t>
            </a:r>
            <a:r>
              <a:rPr lang="es-ES" sz="1099" spc="-1">
                <a:ea typeface="+mn-lt"/>
                <a:cs typeface="+mn-lt"/>
              </a:rPr>
              <a:t> in </a:t>
            </a:r>
            <a:r>
              <a:rPr lang="es-ES" sz="1099" spc="-1" err="1">
                <a:ea typeface="+mn-lt"/>
                <a:cs typeface="+mn-lt"/>
              </a:rPr>
              <a:t>the</a:t>
            </a:r>
            <a:r>
              <a:rPr lang="es-ES" sz="1099" spc="-1">
                <a:ea typeface="+mn-lt"/>
                <a:cs typeface="+mn-lt"/>
              </a:rPr>
              <a:t> </a:t>
            </a:r>
            <a:r>
              <a:rPr lang="es-ES" sz="1099" spc="-1" err="1">
                <a:ea typeface="+mn-lt"/>
                <a:cs typeface="+mn-lt"/>
              </a:rPr>
              <a:t>definition</a:t>
            </a:r>
            <a:r>
              <a:rPr lang="es-ES" sz="1099" spc="-1">
                <a:ea typeface="+mn-lt"/>
                <a:cs typeface="+mn-lt"/>
              </a:rPr>
              <a:t> </a:t>
            </a:r>
            <a:r>
              <a:rPr lang="es-ES" sz="1099" spc="-1" err="1">
                <a:ea typeface="+mn-lt"/>
                <a:cs typeface="+mn-lt"/>
              </a:rPr>
              <a:t>of</a:t>
            </a:r>
            <a:r>
              <a:rPr lang="es-ES" sz="1099" spc="-1">
                <a:ea typeface="+mn-lt"/>
                <a:cs typeface="+mn-lt"/>
              </a:rPr>
              <a:t> </a:t>
            </a:r>
            <a:r>
              <a:rPr lang="es-ES" sz="1099" spc="-1" err="1">
                <a:ea typeface="+mn-lt"/>
                <a:cs typeface="+mn-lt"/>
              </a:rPr>
              <a:t>an</a:t>
            </a:r>
            <a:r>
              <a:rPr lang="es-ES" sz="1099" spc="-1">
                <a:ea typeface="+mn-lt"/>
                <a:cs typeface="+mn-lt"/>
              </a:rPr>
              <a:t> </a:t>
            </a:r>
            <a:r>
              <a:rPr lang="es-ES" sz="1099" spc="-1" err="1">
                <a:ea typeface="+mn-lt"/>
                <a:cs typeface="+mn-lt"/>
              </a:rPr>
              <a:t>hybrid</a:t>
            </a:r>
            <a:r>
              <a:rPr lang="es-ES" sz="1099" spc="-1">
                <a:ea typeface="+mn-lt"/>
                <a:cs typeface="+mn-lt"/>
              </a:rPr>
              <a:t> Cloud, </a:t>
            </a:r>
            <a:r>
              <a:rPr lang="es-ES" sz="1099" spc="-1" err="1">
                <a:ea typeface="+mn-lt"/>
                <a:cs typeface="+mn-lt"/>
              </a:rPr>
              <a:t>helping</a:t>
            </a:r>
            <a:r>
              <a:rPr lang="es-ES" sz="1099" spc="-1">
                <a:ea typeface="+mn-lt"/>
                <a:cs typeface="+mn-lt"/>
              </a:rPr>
              <a:t> in </a:t>
            </a:r>
            <a:r>
              <a:rPr lang="es-ES" sz="1099" spc="-1" err="1">
                <a:ea typeface="+mn-lt"/>
                <a:cs typeface="+mn-lt"/>
              </a:rPr>
              <a:t>the</a:t>
            </a:r>
            <a:r>
              <a:rPr lang="es-ES" sz="1099" spc="-1">
                <a:ea typeface="+mn-lt"/>
                <a:cs typeface="+mn-lt"/>
              </a:rPr>
              <a:t> </a:t>
            </a:r>
            <a:r>
              <a:rPr lang="es-ES" sz="1099" spc="-1" err="1">
                <a:ea typeface="+mn-lt"/>
                <a:cs typeface="+mn-lt"/>
              </a:rPr>
              <a:t>definition</a:t>
            </a:r>
            <a:r>
              <a:rPr lang="es-ES" sz="1099" spc="-1">
                <a:ea typeface="+mn-lt"/>
                <a:cs typeface="+mn-lt"/>
              </a:rPr>
              <a:t> </a:t>
            </a:r>
            <a:r>
              <a:rPr lang="es-ES" sz="1099" spc="-1" err="1">
                <a:ea typeface="+mn-lt"/>
                <a:cs typeface="+mn-lt"/>
              </a:rPr>
              <a:t>of</a:t>
            </a:r>
            <a:r>
              <a:rPr lang="es-ES" sz="1099" spc="-1">
                <a:ea typeface="+mn-lt"/>
                <a:cs typeface="+mn-lt"/>
              </a:rPr>
              <a:t> </a:t>
            </a:r>
            <a:r>
              <a:rPr lang="es-ES" sz="1099" spc="-1" err="1">
                <a:ea typeface="+mn-lt"/>
                <a:cs typeface="+mn-lt"/>
              </a:rPr>
              <a:t>the</a:t>
            </a:r>
            <a:r>
              <a:rPr lang="es-ES" sz="1099" spc="-1">
                <a:ea typeface="+mn-lt"/>
                <a:cs typeface="+mn-lt"/>
              </a:rPr>
              <a:t> </a:t>
            </a:r>
            <a:r>
              <a:rPr lang="es-ES" sz="1099" spc="-1" err="1">
                <a:ea typeface="+mn-lt"/>
                <a:cs typeface="+mn-lt"/>
              </a:rPr>
              <a:t>project</a:t>
            </a:r>
            <a:r>
              <a:rPr lang="es-ES" sz="1099" spc="-1">
                <a:ea typeface="+mn-lt"/>
                <a:cs typeface="+mn-lt"/>
              </a:rPr>
              <a:t> and in </a:t>
            </a:r>
            <a:r>
              <a:rPr lang="es-ES" sz="1099" spc="-1" err="1">
                <a:ea typeface="+mn-lt"/>
                <a:cs typeface="+mn-lt"/>
              </a:rPr>
              <a:t>the</a:t>
            </a:r>
            <a:r>
              <a:rPr lang="es-ES" sz="1099" spc="-1">
                <a:ea typeface="+mn-lt"/>
                <a:cs typeface="+mn-lt"/>
              </a:rPr>
              <a:t> </a:t>
            </a:r>
            <a:r>
              <a:rPr lang="es-ES" sz="1099" spc="-1" err="1">
                <a:ea typeface="+mn-lt"/>
                <a:cs typeface="+mn-lt"/>
              </a:rPr>
              <a:t>integration</a:t>
            </a:r>
            <a:r>
              <a:rPr lang="es-ES" sz="1099" spc="-1">
                <a:ea typeface="+mn-lt"/>
                <a:cs typeface="+mn-lt"/>
              </a:rPr>
              <a:t> </a:t>
            </a:r>
            <a:r>
              <a:rPr lang="es-ES" sz="1099" spc="-1" err="1">
                <a:ea typeface="+mn-lt"/>
                <a:cs typeface="+mn-lt"/>
              </a:rPr>
              <a:t>of</a:t>
            </a:r>
            <a:r>
              <a:rPr lang="es-ES" sz="1099" spc="-1">
                <a:ea typeface="+mn-lt"/>
                <a:cs typeface="+mn-lt"/>
              </a:rPr>
              <a:t> </a:t>
            </a:r>
            <a:r>
              <a:rPr lang="es-ES" sz="1099" spc="-1" err="1">
                <a:ea typeface="+mn-lt"/>
                <a:cs typeface="+mn-lt"/>
              </a:rPr>
              <a:t>the</a:t>
            </a:r>
            <a:r>
              <a:rPr lang="es-ES" sz="1099" spc="-1">
                <a:ea typeface="+mn-lt"/>
                <a:cs typeface="+mn-lt"/>
              </a:rPr>
              <a:t> Cloud </a:t>
            </a:r>
            <a:r>
              <a:rPr lang="es-ES" sz="1099" spc="-1" err="1">
                <a:ea typeface="+mn-lt"/>
                <a:cs typeface="+mn-lt"/>
              </a:rPr>
              <a:t>with</a:t>
            </a:r>
            <a:r>
              <a:rPr lang="es-ES" sz="1099" spc="-1">
                <a:ea typeface="+mn-lt"/>
                <a:cs typeface="+mn-lt"/>
              </a:rPr>
              <a:t> </a:t>
            </a:r>
            <a:r>
              <a:rPr lang="es-ES" sz="1099" spc="-1" err="1">
                <a:ea typeface="+mn-lt"/>
                <a:cs typeface="+mn-lt"/>
              </a:rPr>
              <a:t>the</a:t>
            </a:r>
            <a:r>
              <a:rPr lang="es-ES" sz="1099" spc="-1">
                <a:ea typeface="+mn-lt"/>
                <a:cs typeface="+mn-lt"/>
              </a:rPr>
              <a:t> </a:t>
            </a:r>
            <a:r>
              <a:rPr lang="es-ES" sz="1099" spc="-1" err="1">
                <a:ea typeface="+mn-lt"/>
                <a:cs typeface="+mn-lt"/>
              </a:rPr>
              <a:t>previous</a:t>
            </a:r>
            <a:r>
              <a:rPr lang="es-ES" sz="1099" spc="-1">
                <a:ea typeface="+mn-lt"/>
                <a:cs typeface="+mn-lt"/>
              </a:rPr>
              <a:t> </a:t>
            </a:r>
            <a:r>
              <a:rPr lang="es-ES" sz="1099" spc="-1" err="1">
                <a:ea typeface="+mn-lt"/>
                <a:cs typeface="+mn-lt"/>
              </a:rPr>
              <a:t>systems</a:t>
            </a:r>
            <a:r>
              <a:rPr lang="es-ES" sz="1099" spc="-1">
                <a:ea typeface="+mn-lt"/>
                <a:cs typeface="+mn-lt"/>
              </a:rPr>
              <a:t>.</a:t>
            </a:r>
            <a:endParaRPr lang="es-ES" sz="1749">
              <a:ea typeface="+mn-lt"/>
              <a:cs typeface="+mn-lt"/>
            </a:endParaRPr>
          </a:p>
          <a:p>
            <a:pPr marL="170723" indent="-170723" algn="just">
              <a:buClr>
                <a:srgbClr val="1A3B47"/>
              </a:buClr>
              <a:buFont typeface="Arial,Sans-Serif"/>
              <a:buChar char="•"/>
            </a:pPr>
            <a:r>
              <a:rPr lang="es-ES" sz="1099" spc="-1" err="1">
                <a:ea typeface="+mn-lt"/>
                <a:cs typeface="+mn-lt"/>
              </a:rPr>
              <a:t>Provisioning</a:t>
            </a:r>
            <a:r>
              <a:rPr lang="es-ES" sz="1099" spc="-1">
                <a:ea typeface="+mn-lt"/>
                <a:cs typeface="+mn-lt"/>
              </a:rPr>
              <a:t> and </a:t>
            </a:r>
            <a:r>
              <a:rPr lang="es-ES" sz="1099" spc="-1" err="1">
                <a:ea typeface="+mn-lt"/>
                <a:cs typeface="+mn-lt"/>
              </a:rPr>
              <a:t>Deployment</a:t>
            </a:r>
            <a:r>
              <a:rPr lang="es-ES" sz="1099" spc="-1">
                <a:ea typeface="+mn-lt"/>
                <a:cs typeface="+mn-lt"/>
              </a:rPr>
              <a:t> </a:t>
            </a:r>
            <a:r>
              <a:rPr lang="es-ES" sz="1099" spc="-1" err="1">
                <a:ea typeface="+mn-lt"/>
                <a:cs typeface="+mn-lt"/>
              </a:rPr>
              <a:t>Automation</a:t>
            </a:r>
            <a:r>
              <a:rPr lang="es-ES" sz="1099" spc="-1">
                <a:ea typeface="+mn-lt"/>
                <a:cs typeface="+mn-lt"/>
              </a:rPr>
              <a:t> </a:t>
            </a:r>
            <a:r>
              <a:rPr lang="es-ES" sz="1099" spc="-1" err="1">
                <a:ea typeface="+mn-lt"/>
                <a:cs typeface="+mn-lt"/>
              </a:rPr>
              <a:t>with</a:t>
            </a:r>
            <a:r>
              <a:rPr lang="es-ES" sz="1099" spc="-1">
                <a:ea typeface="+mn-lt"/>
                <a:cs typeface="+mn-lt"/>
              </a:rPr>
              <a:t> Ansible.</a:t>
            </a:r>
          </a:p>
        </p:txBody>
      </p:sp>
      <p:sp>
        <p:nvSpPr>
          <p:cNvPr id="43" name="CuadroTexto 39_0"/>
          <p:cNvSpPr/>
          <p:nvPr/>
        </p:nvSpPr>
        <p:spPr>
          <a:xfrm>
            <a:off x="4955940" y="1386600"/>
            <a:ext cx="551172" cy="922502"/>
          </a:xfrm>
          <a:prstGeom prst="rect">
            <a:avLst/>
          </a:prstGeom>
          <a:noFill/>
          <a:ln w="0">
            <a:noFill/>
          </a:ln>
        </p:spPr>
        <p:style>
          <a:lnRef idx="0">
            <a:scrgbClr r="0" g="0" b="0"/>
          </a:lnRef>
          <a:fillRef idx="0">
            <a:scrgbClr r="0" g="0" b="0"/>
          </a:fillRef>
          <a:effectRef idx="0">
            <a:scrgbClr r="0" g="0" b="0"/>
          </a:effectRef>
          <a:fontRef idx="minor"/>
        </p:style>
        <p:txBody>
          <a:bodyPr lIns="91382" tIns="45691" rIns="91382" bIns="45691" anchor="t">
            <a:spAutoFit/>
          </a:bodyPr>
          <a:lstStyle/>
          <a:p>
            <a:r>
              <a:rPr lang="es-ES" sz="899" b="1" spc="-1">
                <a:latin typeface="Soho Gothic Pro Light"/>
              </a:rPr>
              <a:t>Sept 2019</a:t>
            </a:r>
          </a:p>
          <a:p>
            <a:pPr>
              <a:lnSpc>
                <a:spcPct val="100000"/>
              </a:lnSpc>
            </a:pPr>
            <a:r>
              <a:rPr lang="es-ES" sz="899" b="1" spc="-1">
                <a:latin typeface="Soho Gothic Pro Light"/>
              </a:rPr>
              <a:t>—</a:t>
            </a:r>
          </a:p>
          <a:p>
            <a:r>
              <a:rPr lang="es-ES" sz="899" b="1" spc="-1">
                <a:latin typeface="Soho Gothic Pro Light"/>
              </a:rPr>
              <a:t>Jun 2019</a:t>
            </a:r>
          </a:p>
          <a:p>
            <a:pPr>
              <a:lnSpc>
                <a:spcPct val="100000"/>
              </a:lnSpc>
            </a:pPr>
            <a:endParaRPr lang="es-ES" sz="899" b="1" spc="-1">
              <a:latin typeface="Soho Gothic Pro Light"/>
            </a:endParaRPr>
          </a:p>
        </p:txBody>
      </p:sp>
      <p:sp>
        <p:nvSpPr>
          <p:cNvPr id="30" name="CuadroTexto 70_0">
            <a:extLst>
              <a:ext uri="{FF2B5EF4-FFF2-40B4-BE49-F238E27FC236}">
                <a16:creationId xmlns:a16="http://schemas.microsoft.com/office/drawing/2014/main" id="{4B60B62C-9F5C-4DD4-A50A-AED324B29FE1}"/>
              </a:ext>
            </a:extLst>
          </p:cNvPr>
          <p:cNvSpPr/>
          <p:nvPr/>
        </p:nvSpPr>
        <p:spPr>
          <a:xfrm>
            <a:off x="9852120" y="415812"/>
            <a:ext cx="2347877" cy="553555"/>
          </a:xfrm>
          <a:prstGeom prst="rect">
            <a:avLst/>
          </a:prstGeom>
          <a:noFill/>
          <a:ln w="0">
            <a:noFill/>
          </a:ln>
        </p:spPr>
        <p:style>
          <a:lnRef idx="0">
            <a:scrgbClr r="0" g="0" b="0"/>
          </a:lnRef>
          <a:fillRef idx="0">
            <a:scrgbClr r="0" g="0" b="0"/>
          </a:fillRef>
          <a:effectRef idx="0">
            <a:scrgbClr r="0" g="0" b="0"/>
          </a:effectRef>
          <a:fontRef idx="minor"/>
        </p:style>
        <p:txBody>
          <a:bodyPr wrap="square" lIns="91382" tIns="45691" rIns="91382" bIns="45691" anchor="t">
            <a:spAutoFit/>
          </a:bodyPr>
          <a:lstStyle/>
          <a:p>
            <a:r>
              <a:rPr lang="es-ES" sz="999" b="1" spc="-1"/>
              <a:t>Master in </a:t>
            </a:r>
            <a:r>
              <a:rPr lang="es-ES" sz="999" b="1" spc="-1" err="1"/>
              <a:t>intelligent</a:t>
            </a:r>
            <a:r>
              <a:rPr lang="es-ES" sz="999" b="1" spc="-1"/>
              <a:t> and interactive </a:t>
            </a:r>
            <a:r>
              <a:rPr lang="es-ES" sz="999" b="1" spc="-1" err="1"/>
              <a:t>systems</a:t>
            </a:r>
            <a:endParaRPr lang="es-ES" err="1"/>
          </a:p>
          <a:p>
            <a:r>
              <a:rPr lang="es-ES" sz="999" spc="-1"/>
              <a:t>Universidad Pompeu Fabra</a:t>
            </a:r>
          </a:p>
        </p:txBody>
      </p:sp>
      <p:sp>
        <p:nvSpPr>
          <p:cNvPr id="31" name="CuadroTexto 73_0">
            <a:extLst>
              <a:ext uri="{FF2B5EF4-FFF2-40B4-BE49-F238E27FC236}">
                <a16:creationId xmlns:a16="http://schemas.microsoft.com/office/drawing/2014/main" id="{42DBC37E-9828-4095-AB36-FC5D9E620073}"/>
              </a:ext>
            </a:extLst>
          </p:cNvPr>
          <p:cNvSpPr/>
          <p:nvPr/>
        </p:nvSpPr>
        <p:spPr>
          <a:xfrm>
            <a:off x="9455291" y="458355"/>
            <a:ext cx="551172" cy="507388"/>
          </a:xfrm>
          <a:prstGeom prst="rect">
            <a:avLst/>
          </a:prstGeom>
          <a:noFill/>
          <a:ln w="0">
            <a:noFill/>
          </a:ln>
        </p:spPr>
        <p:style>
          <a:lnRef idx="0">
            <a:scrgbClr r="0" g="0" b="0"/>
          </a:lnRef>
          <a:fillRef idx="0">
            <a:scrgbClr r="0" g="0" b="0"/>
          </a:fillRef>
          <a:effectRef idx="0">
            <a:scrgbClr r="0" g="0" b="0"/>
          </a:effectRef>
          <a:fontRef idx="minor"/>
        </p:style>
        <p:txBody>
          <a:bodyPr lIns="91382" tIns="45691" rIns="91382" bIns="45691" anchor="t">
            <a:spAutoFit/>
          </a:bodyPr>
          <a:lstStyle/>
          <a:p>
            <a:pPr>
              <a:lnSpc>
                <a:spcPct val="100000"/>
              </a:lnSpc>
            </a:pPr>
            <a:r>
              <a:rPr lang="es-ES" sz="899" spc="-1">
                <a:latin typeface="Soho Gothic Pro Medium"/>
              </a:rPr>
              <a:t>2020</a:t>
            </a:r>
            <a:endParaRPr lang="es-ES" sz="899" spc="-1">
              <a:latin typeface="Arial"/>
              <a:cs typeface="Arial"/>
            </a:endParaRPr>
          </a:p>
          <a:p>
            <a:pPr>
              <a:lnSpc>
                <a:spcPct val="100000"/>
              </a:lnSpc>
            </a:pPr>
            <a:r>
              <a:rPr lang="es-ES" sz="899" spc="-1">
                <a:latin typeface="Soho Gothic Pro Medium"/>
              </a:rPr>
              <a:t>—</a:t>
            </a:r>
            <a:endParaRPr lang="es-ES" sz="899" spc="-1">
              <a:latin typeface="Arial"/>
              <a:cs typeface="Arial"/>
            </a:endParaRPr>
          </a:p>
          <a:p>
            <a:pPr>
              <a:lnSpc>
                <a:spcPct val="100000"/>
              </a:lnSpc>
            </a:pPr>
            <a:r>
              <a:rPr lang="es-ES" sz="899" spc="-1">
                <a:latin typeface="Soho Gothic Pro Medium"/>
              </a:rPr>
              <a:t>ACT</a:t>
            </a:r>
            <a:endParaRPr lang="es-ES" sz="899" spc="-1">
              <a:latin typeface="Arial"/>
              <a:cs typeface="Arial"/>
            </a:endParaRPr>
          </a:p>
        </p:txBody>
      </p:sp>
      <p:sp>
        <p:nvSpPr>
          <p:cNvPr id="26" name="CuadroTexto 30_0"/>
          <p:cNvSpPr/>
          <p:nvPr/>
        </p:nvSpPr>
        <p:spPr>
          <a:xfrm>
            <a:off x="5463001" y="152640"/>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ctr">
              <a:lnSpc>
                <a:spcPct val="100000"/>
              </a:lnSpc>
            </a:pPr>
            <a:r>
              <a:rPr lang="es-ES" sz="2000" spc="-1" dirty="0">
                <a:solidFill>
                  <a:schemeClr val="bg1"/>
                </a:solidFill>
                <a:ea typeface="Soho Gothic Pro Light"/>
              </a:rPr>
              <a:t>Alejandro García Carballo</a:t>
            </a:r>
            <a:endParaRPr lang="es-ES" sz="2000" b="0" strike="noStrike" spc="-1" dirty="0">
              <a:solidFill>
                <a:schemeClr val="bg1"/>
              </a:solidFill>
              <a:latin typeface="Arial"/>
            </a:endParaRPr>
          </a:p>
        </p:txBody>
      </p:sp>
    </p:spTree>
    <p:extLst>
      <p:ext uri="{BB962C8B-B14F-4D97-AF65-F5344CB8AC3E}">
        <p14:creationId xmlns:p14="http://schemas.microsoft.com/office/powerpoint/2010/main" val="15113605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693506"/>
            <a:ext cx="9258480" cy="6463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marL="0" lvl="1" algn="just" defTabSz="914377">
              <a:defRPr b="0" i="0"/>
            </a:pPr>
            <a:r>
              <a:rPr lang="es-ES" sz="1200">
                <a:solidFill>
                  <a:srgbClr val="FF0000"/>
                </a:solidFill>
                <a:ea typeface="+mn-lt"/>
                <a:cs typeface="+mn-lt"/>
              </a:rPr>
              <a:t>Data </a:t>
            </a:r>
            <a:r>
              <a:rPr lang="es-ES" sz="1200" err="1">
                <a:solidFill>
                  <a:srgbClr val="FF0000"/>
                </a:solidFill>
                <a:ea typeface="+mn-lt"/>
                <a:cs typeface="+mn-lt"/>
              </a:rPr>
              <a:t>engineer</a:t>
            </a:r>
            <a:r>
              <a:rPr lang="es-ES" sz="1200">
                <a:solidFill>
                  <a:srgbClr val="FF0000"/>
                </a:solidFill>
                <a:ea typeface="+mn-lt"/>
                <a:cs typeface="+mn-lt"/>
              </a:rPr>
              <a:t> </a:t>
            </a:r>
            <a:r>
              <a:rPr lang="es-ES" sz="1200" err="1">
                <a:solidFill>
                  <a:srgbClr val="FF0000"/>
                </a:solidFill>
                <a:ea typeface="+mn-lt"/>
                <a:cs typeface="+mn-lt"/>
              </a:rPr>
              <a:t>with</a:t>
            </a:r>
            <a:r>
              <a:rPr lang="es-ES" sz="1200">
                <a:solidFill>
                  <a:srgbClr val="FF0000"/>
                </a:solidFill>
                <a:ea typeface="+mn-lt"/>
                <a:cs typeface="+mn-lt"/>
              </a:rPr>
              <a:t> 2 </a:t>
            </a:r>
            <a:r>
              <a:rPr lang="es-ES" sz="1200" err="1">
                <a:solidFill>
                  <a:srgbClr val="FF0000"/>
                </a:solidFill>
                <a:ea typeface="+mn-lt"/>
                <a:cs typeface="+mn-lt"/>
              </a:rPr>
              <a:t>years</a:t>
            </a:r>
            <a:r>
              <a:rPr lang="es-ES" sz="1200">
                <a:solidFill>
                  <a:srgbClr val="FF0000"/>
                </a:solidFill>
                <a:ea typeface="+mn-lt"/>
                <a:cs typeface="+mn-lt"/>
              </a:rPr>
              <a:t> </a:t>
            </a:r>
            <a:r>
              <a:rPr lang="es-ES" sz="1200" err="1">
                <a:solidFill>
                  <a:srgbClr val="FF0000"/>
                </a:solidFill>
                <a:ea typeface="+mn-lt"/>
                <a:cs typeface="+mn-lt"/>
              </a:rPr>
              <a:t>of</a:t>
            </a:r>
            <a:r>
              <a:rPr lang="es-ES" sz="1200">
                <a:solidFill>
                  <a:srgbClr val="FF0000"/>
                </a:solidFill>
                <a:ea typeface="+mn-lt"/>
                <a:cs typeface="+mn-lt"/>
              </a:rPr>
              <a:t> </a:t>
            </a:r>
            <a:r>
              <a:rPr lang="es-ES" sz="1200" err="1">
                <a:solidFill>
                  <a:srgbClr val="FF0000"/>
                </a:solidFill>
                <a:ea typeface="+mn-lt"/>
                <a:cs typeface="+mn-lt"/>
              </a:rPr>
              <a:t>experience</a:t>
            </a:r>
            <a:r>
              <a:rPr lang="es-ES" sz="1200">
                <a:solidFill>
                  <a:srgbClr val="FF0000"/>
                </a:solidFill>
                <a:ea typeface="+mn-lt"/>
                <a:cs typeface="+mn-lt"/>
              </a:rPr>
              <a:t> in </a:t>
            </a:r>
            <a:r>
              <a:rPr lang="es-ES" sz="1200" err="1">
                <a:solidFill>
                  <a:srgbClr val="FF0000"/>
                </a:solidFill>
                <a:ea typeface="+mn-lt"/>
                <a:cs typeface="+mn-lt"/>
              </a:rPr>
              <a:t>the</a:t>
            </a:r>
            <a:r>
              <a:rPr lang="es-ES" sz="1200">
                <a:solidFill>
                  <a:srgbClr val="FF0000"/>
                </a:solidFill>
                <a:ea typeface="+mn-lt"/>
                <a:cs typeface="+mn-lt"/>
              </a:rPr>
              <a:t> IT sector, </a:t>
            </a:r>
            <a:r>
              <a:rPr lang="es-ES" sz="1200" err="1">
                <a:solidFill>
                  <a:srgbClr val="FF0000"/>
                </a:solidFill>
                <a:ea typeface="+mn-lt"/>
                <a:cs typeface="+mn-lt"/>
              </a:rPr>
              <a:t>helping</a:t>
            </a:r>
            <a:r>
              <a:rPr lang="es-ES" sz="1200">
                <a:solidFill>
                  <a:srgbClr val="FF0000"/>
                </a:solidFill>
                <a:ea typeface="+mn-lt"/>
                <a:cs typeface="+mn-lt"/>
              </a:rPr>
              <a:t> </a:t>
            </a:r>
            <a:r>
              <a:rPr lang="es-ES" sz="1200" err="1">
                <a:solidFill>
                  <a:srgbClr val="FF0000"/>
                </a:solidFill>
                <a:ea typeface="+mn-lt"/>
                <a:cs typeface="+mn-lt"/>
              </a:rPr>
              <a:t>to</a:t>
            </a:r>
            <a:r>
              <a:rPr lang="es-ES" sz="1200">
                <a:solidFill>
                  <a:srgbClr val="FF0000"/>
                </a:solidFill>
                <a:ea typeface="+mn-lt"/>
                <a:cs typeface="+mn-lt"/>
              </a:rPr>
              <a:t> define and </a:t>
            </a:r>
            <a:r>
              <a:rPr lang="es-ES" sz="1200" err="1">
                <a:solidFill>
                  <a:srgbClr val="FF0000"/>
                </a:solidFill>
                <a:ea typeface="+mn-lt"/>
                <a:cs typeface="+mn-lt"/>
              </a:rPr>
              <a:t>implement</a:t>
            </a:r>
            <a:r>
              <a:rPr lang="es-ES" sz="1200">
                <a:solidFill>
                  <a:srgbClr val="FF0000"/>
                </a:solidFill>
                <a:ea typeface="+mn-lt"/>
                <a:cs typeface="+mn-lt"/>
              </a:rPr>
              <a:t> Big Data and Cloud </a:t>
            </a:r>
            <a:r>
              <a:rPr lang="es-ES" sz="1200" err="1">
                <a:solidFill>
                  <a:srgbClr val="FF0000"/>
                </a:solidFill>
                <a:ea typeface="+mn-lt"/>
                <a:cs typeface="+mn-lt"/>
              </a:rPr>
              <a:t>solutions</a:t>
            </a:r>
            <a:r>
              <a:rPr lang="es-ES" sz="1200">
                <a:solidFill>
                  <a:srgbClr val="FF0000"/>
                </a:solidFill>
                <a:ea typeface="+mn-lt"/>
                <a:cs typeface="+mn-lt"/>
              </a:rPr>
              <a:t> </a:t>
            </a:r>
            <a:r>
              <a:rPr lang="es-ES" sz="1200" err="1">
                <a:solidFill>
                  <a:srgbClr val="FF0000"/>
                </a:solidFill>
                <a:ea typeface="+mn-lt"/>
                <a:cs typeface="+mn-lt"/>
              </a:rPr>
              <a:t>for</a:t>
            </a:r>
            <a:r>
              <a:rPr lang="es-ES" sz="1200">
                <a:solidFill>
                  <a:srgbClr val="FF0000"/>
                </a:solidFill>
                <a:ea typeface="+mn-lt"/>
                <a:cs typeface="+mn-lt"/>
              </a:rPr>
              <a:t> </a:t>
            </a:r>
            <a:r>
              <a:rPr lang="es-ES" sz="1200" err="1">
                <a:solidFill>
                  <a:srgbClr val="FF0000"/>
                </a:solidFill>
                <a:ea typeface="+mn-lt"/>
                <a:cs typeface="+mn-lt"/>
              </a:rPr>
              <a:t>projects</a:t>
            </a:r>
            <a:r>
              <a:rPr lang="es-ES" sz="1200">
                <a:solidFill>
                  <a:srgbClr val="FF0000"/>
                </a:solidFill>
                <a:ea typeface="+mn-lt"/>
                <a:cs typeface="+mn-lt"/>
              </a:rPr>
              <a:t> in </a:t>
            </a:r>
            <a:r>
              <a:rPr lang="es-ES" sz="1200" err="1">
                <a:solidFill>
                  <a:srgbClr val="FF0000"/>
                </a:solidFill>
                <a:ea typeface="+mn-lt"/>
                <a:cs typeface="+mn-lt"/>
              </a:rPr>
              <a:t>the</a:t>
            </a:r>
            <a:r>
              <a:rPr lang="es-ES" sz="1200">
                <a:solidFill>
                  <a:srgbClr val="FF0000"/>
                </a:solidFill>
                <a:ea typeface="+mn-lt"/>
                <a:cs typeface="+mn-lt"/>
              </a:rPr>
              <a:t> </a:t>
            </a:r>
            <a:r>
              <a:rPr lang="es-ES" sz="1200" err="1">
                <a:solidFill>
                  <a:srgbClr val="FF0000"/>
                </a:solidFill>
                <a:ea typeface="+mn-lt"/>
                <a:cs typeface="+mn-lt"/>
              </a:rPr>
              <a:t>sectors</a:t>
            </a:r>
            <a:r>
              <a:rPr lang="es-ES" sz="1200">
                <a:solidFill>
                  <a:srgbClr val="FF0000"/>
                </a:solidFill>
                <a:ea typeface="+mn-lt"/>
                <a:cs typeface="+mn-lt"/>
              </a:rPr>
              <a:t> </a:t>
            </a:r>
            <a:r>
              <a:rPr lang="es-ES" sz="1200" err="1">
                <a:solidFill>
                  <a:srgbClr val="FF0000"/>
                </a:solidFill>
                <a:ea typeface="+mn-lt"/>
                <a:cs typeface="+mn-lt"/>
              </a:rPr>
              <a:t>of</a:t>
            </a:r>
            <a:r>
              <a:rPr lang="es-ES" sz="1200">
                <a:solidFill>
                  <a:srgbClr val="FF0000"/>
                </a:solidFill>
                <a:ea typeface="+mn-lt"/>
                <a:cs typeface="+mn-lt"/>
              </a:rPr>
              <a:t> </a:t>
            </a:r>
            <a:r>
              <a:rPr lang="es-ES" sz="1200" err="1">
                <a:solidFill>
                  <a:srgbClr val="FF0000"/>
                </a:solidFill>
                <a:ea typeface="+mn-lt"/>
                <a:cs typeface="+mn-lt"/>
              </a:rPr>
              <a:t>energy</a:t>
            </a:r>
            <a:r>
              <a:rPr lang="es-ES" sz="1200">
                <a:solidFill>
                  <a:srgbClr val="FF0000"/>
                </a:solidFill>
                <a:ea typeface="+mn-lt"/>
                <a:cs typeface="+mn-lt"/>
              </a:rPr>
              <a:t> and </a:t>
            </a:r>
            <a:r>
              <a:rPr lang="es-ES" sz="1200" err="1">
                <a:solidFill>
                  <a:srgbClr val="FF0000"/>
                </a:solidFill>
                <a:ea typeface="+mn-lt"/>
                <a:cs typeface="+mn-lt"/>
              </a:rPr>
              <a:t>public</a:t>
            </a:r>
            <a:r>
              <a:rPr lang="es-ES" sz="1200">
                <a:solidFill>
                  <a:srgbClr val="FF0000"/>
                </a:solidFill>
                <a:ea typeface="+mn-lt"/>
                <a:cs typeface="+mn-lt"/>
              </a:rPr>
              <a:t> </a:t>
            </a:r>
            <a:r>
              <a:rPr lang="es-ES" sz="1200" err="1">
                <a:solidFill>
                  <a:srgbClr val="FF0000"/>
                </a:solidFill>
                <a:ea typeface="+mn-lt"/>
                <a:cs typeface="+mn-lt"/>
              </a:rPr>
              <a:t>administrations</a:t>
            </a:r>
            <a:r>
              <a:rPr lang="es-ES" sz="1200">
                <a:solidFill>
                  <a:srgbClr val="FF0000"/>
                </a:solidFill>
                <a:ea typeface="+mn-lt"/>
                <a:cs typeface="+mn-lt"/>
              </a:rPr>
              <a:t>. In </a:t>
            </a:r>
            <a:r>
              <a:rPr lang="es-ES" sz="1200" err="1">
                <a:solidFill>
                  <a:srgbClr val="FF0000"/>
                </a:solidFill>
                <a:ea typeface="+mn-lt"/>
                <a:cs typeface="+mn-lt"/>
              </a:rPr>
              <a:t>the</a:t>
            </a:r>
            <a:r>
              <a:rPr lang="es-ES" sz="1200">
                <a:solidFill>
                  <a:srgbClr val="FF0000"/>
                </a:solidFill>
                <a:ea typeface="+mn-lt"/>
                <a:cs typeface="+mn-lt"/>
              </a:rPr>
              <a:t> </a:t>
            </a:r>
            <a:r>
              <a:rPr lang="es-ES" sz="1200" err="1">
                <a:solidFill>
                  <a:srgbClr val="FF0000"/>
                </a:solidFill>
                <a:ea typeface="+mn-lt"/>
                <a:cs typeface="+mn-lt"/>
              </a:rPr>
              <a:t>last</a:t>
            </a:r>
            <a:r>
              <a:rPr lang="es-ES" sz="1200">
                <a:solidFill>
                  <a:srgbClr val="FF0000"/>
                </a:solidFill>
                <a:ea typeface="+mn-lt"/>
                <a:cs typeface="+mn-lt"/>
              </a:rPr>
              <a:t> 2 </a:t>
            </a:r>
            <a:r>
              <a:rPr lang="es-ES" sz="1200" err="1">
                <a:solidFill>
                  <a:srgbClr val="FF0000"/>
                </a:solidFill>
                <a:ea typeface="+mn-lt"/>
                <a:cs typeface="+mn-lt"/>
              </a:rPr>
              <a:t>years</a:t>
            </a:r>
            <a:r>
              <a:rPr lang="es-ES" sz="1200">
                <a:solidFill>
                  <a:srgbClr val="FF0000"/>
                </a:solidFill>
                <a:ea typeface="+mn-lt"/>
                <a:cs typeface="+mn-lt"/>
              </a:rPr>
              <a:t> he has </a:t>
            </a:r>
            <a:r>
              <a:rPr lang="es-ES" sz="1200" err="1">
                <a:solidFill>
                  <a:srgbClr val="FF0000"/>
                </a:solidFill>
                <a:ea typeface="+mn-lt"/>
                <a:cs typeface="+mn-lt"/>
              </a:rPr>
              <a:t>been</a:t>
            </a:r>
            <a:r>
              <a:rPr lang="es-ES" sz="1200">
                <a:solidFill>
                  <a:srgbClr val="FF0000"/>
                </a:solidFill>
                <a:ea typeface="+mn-lt"/>
                <a:cs typeface="+mn-lt"/>
              </a:rPr>
              <a:t> </a:t>
            </a:r>
            <a:r>
              <a:rPr lang="es-ES" sz="1200" err="1">
                <a:solidFill>
                  <a:srgbClr val="FF0000"/>
                </a:solidFill>
                <a:ea typeface="+mn-lt"/>
                <a:cs typeface="+mn-lt"/>
              </a:rPr>
              <a:t>working</a:t>
            </a:r>
            <a:r>
              <a:rPr lang="es-ES" sz="1200">
                <a:solidFill>
                  <a:srgbClr val="FF0000"/>
                </a:solidFill>
                <a:ea typeface="+mn-lt"/>
                <a:cs typeface="+mn-lt"/>
              </a:rPr>
              <a:t> </a:t>
            </a:r>
            <a:r>
              <a:rPr lang="es-ES" sz="1200" err="1">
                <a:solidFill>
                  <a:srgbClr val="FF0000"/>
                </a:solidFill>
                <a:ea typeface="+mn-lt"/>
                <a:cs typeface="+mn-lt"/>
              </a:rPr>
              <a:t>on</a:t>
            </a:r>
            <a:r>
              <a:rPr lang="es-ES" sz="1200">
                <a:solidFill>
                  <a:srgbClr val="FF0000"/>
                </a:solidFill>
                <a:ea typeface="+mn-lt"/>
                <a:cs typeface="+mn-lt"/>
              </a:rPr>
              <a:t> </a:t>
            </a:r>
            <a:r>
              <a:rPr lang="es-ES" sz="1200" err="1">
                <a:solidFill>
                  <a:srgbClr val="FF0000"/>
                </a:solidFill>
                <a:ea typeface="+mn-lt"/>
                <a:cs typeface="+mn-lt"/>
              </a:rPr>
              <a:t>projects</a:t>
            </a:r>
            <a:r>
              <a:rPr lang="es-ES" sz="1200">
                <a:solidFill>
                  <a:srgbClr val="FF0000"/>
                </a:solidFill>
                <a:ea typeface="+mn-lt"/>
                <a:cs typeface="+mn-lt"/>
              </a:rPr>
              <a:t> </a:t>
            </a:r>
            <a:r>
              <a:rPr lang="es-ES" sz="1200" err="1">
                <a:solidFill>
                  <a:srgbClr val="FF0000"/>
                </a:solidFill>
                <a:ea typeface="+mn-lt"/>
                <a:cs typeface="+mn-lt"/>
              </a:rPr>
              <a:t>using</a:t>
            </a:r>
            <a:r>
              <a:rPr lang="es-ES" sz="1200">
                <a:solidFill>
                  <a:srgbClr val="FF0000"/>
                </a:solidFill>
                <a:ea typeface="+mn-lt"/>
                <a:cs typeface="+mn-lt"/>
              </a:rPr>
              <a:t> </a:t>
            </a:r>
            <a:r>
              <a:rPr lang="es-ES" sz="1200" err="1">
                <a:solidFill>
                  <a:srgbClr val="FF0000"/>
                </a:solidFill>
                <a:ea typeface="+mn-lt"/>
                <a:cs typeface="+mn-lt"/>
              </a:rPr>
              <a:t>technologies</a:t>
            </a:r>
            <a:r>
              <a:rPr lang="es-ES" sz="1200">
                <a:solidFill>
                  <a:srgbClr val="FF0000"/>
                </a:solidFill>
                <a:ea typeface="+mn-lt"/>
                <a:cs typeface="+mn-lt"/>
              </a:rPr>
              <a:t> </a:t>
            </a:r>
            <a:r>
              <a:rPr lang="es-ES" sz="1200" err="1">
                <a:solidFill>
                  <a:srgbClr val="FF0000"/>
                </a:solidFill>
                <a:ea typeface="+mn-lt"/>
                <a:cs typeface="+mn-lt"/>
              </a:rPr>
              <a:t>like</a:t>
            </a:r>
            <a:r>
              <a:rPr lang="es-ES" sz="1200">
                <a:solidFill>
                  <a:srgbClr val="FF0000"/>
                </a:solidFill>
                <a:ea typeface="+mn-lt"/>
                <a:cs typeface="+mn-lt"/>
              </a:rPr>
              <a:t> </a:t>
            </a:r>
            <a:r>
              <a:rPr lang="es-ES" sz="1200" err="1">
                <a:solidFill>
                  <a:srgbClr val="FF0000"/>
                </a:solidFill>
                <a:ea typeface="+mn-lt"/>
                <a:cs typeface="+mn-lt"/>
              </a:rPr>
              <a:t>Spark</a:t>
            </a:r>
            <a:r>
              <a:rPr lang="es-ES" sz="1200">
                <a:solidFill>
                  <a:srgbClr val="FF0000"/>
                </a:solidFill>
                <a:ea typeface="+mn-lt"/>
                <a:cs typeface="+mn-lt"/>
              </a:rPr>
              <a:t>, HDFS, MongoDB, </a:t>
            </a:r>
            <a:r>
              <a:rPr lang="es-ES" sz="1200" err="1">
                <a:solidFill>
                  <a:srgbClr val="FF0000"/>
                </a:solidFill>
                <a:ea typeface="+mn-lt"/>
                <a:cs typeface="+mn-lt"/>
              </a:rPr>
              <a:t>Kudu</a:t>
            </a:r>
            <a:r>
              <a:rPr lang="es-ES" sz="1200">
                <a:solidFill>
                  <a:srgbClr val="FF0000"/>
                </a:solidFill>
                <a:ea typeface="+mn-lt"/>
                <a:cs typeface="+mn-lt"/>
              </a:rPr>
              <a:t>, Neo4j, </a:t>
            </a:r>
            <a:r>
              <a:rPr lang="es-ES" sz="1200" err="1">
                <a:solidFill>
                  <a:srgbClr val="FF0000"/>
                </a:solidFill>
                <a:ea typeface="+mn-lt"/>
                <a:cs typeface="+mn-lt"/>
              </a:rPr>
              <a:t>Hive</a:t>
            </a:r>
            <a:r>
              <a:rPr lang="es-ES" sz="1200">
                <a:solidFill>
                  <a:srgbClr val="FF0000"/>
                </a:solidFill>
                <a:ea typeface="+mn-lt"/>
                <a:cs typeface="+mn-lt"/>
              </a:rPr>
              <a:t> in Scala and Python </a:t>
            </a:r>
            <a:r>
              <a:rPr lang="es-ES" sz="1200" err="1">
                <a:solidFill>
                  <a:srgbClr val="FF0000"/>
                </a:solidFill>
                <a:ea typeface="+mn-lt"/>
                <a:cs typeface="+mn-lt"/>
              </a:rPr>
              <a:t>languages</a:t>
            </a:r>
            <a:r>
              <a:rPr lang="es-ES" sz="1200">
                <a:solidFill>
                  <a:srgbClr val="FF0000"/>
                </a:solidFill>
                <a:ea typeface="+mn-lt"/>
                <a:cs typeface="+mn-lt"/>
              </a:rPr>
              <a:t>.</a:t>
            </a:r>
            <a:endParaRPr lang="es-ES">
              <a:solidFill>
                <a:srgbClr val="FF0000"/>
              </a:solidFill>
              <a:ea typeface="+mn-lt"/>
              <a:cs typeface="+mn-lt"/>
            </a:endParaRPr>
          </a:p>
        </p:txBody>
      </p:sp>
      <p:sp>
        <p:nvSpPr>
          <p:cNvPr id="102" name="CuadroTexto 54_0"/>
          <p:cNvSpPr/>
          <p:nvPr/>
        </p:nvSpPr>
        <p:spPr>
          <a:xfrm>
            <a:off x="9438480" y="4351343"/>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spc="-1" err="1">
                <a:solidFill>
                  <a:srgbClr val="FF0000"/>
                </a:solidFill>
                <a:latin typeface="Soho Gothic Pro"/>
              </a:rPr>
              <a:t>Languages</a:t>
            </a:r>
            <a:endParaRPr lang="es-ES" sz="1200" b="0" strike="noStrike" spc="-1" err="1">
              <a:solidFill>
                <a:srgbClr val="FF0000"/>
              </a:solidFill>
              <a:latin typeface="Arial"/>
            </a:endParaRPr>
          </a:p>
        </p:txBody>
      </p:sp>
      <p:sp>
        <p:nvSpPr>
          <p:cNvPr id="103" name="CuadroTexto 55_0"/>
          <p:cNvSpPr/>
          <p:nvPr/>
        </p:nvSpPr>
        <p:spPr>
          <a:xfrm>
            <a:off x="9474840" y="4705583"/>
            <a:ext cx="2712240" cy="861774"/>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pc="-1" err="1">
                <a:solidFill>
                  <a:srgbClr val="FF0000"/>
                </a:solidFill>
                <a:latin typeface="Soho Gothic Pro Light"/>
                <a:ea typeface="Soho Gothic Pro Light"/>
              </a:rPr>
              <a:t>Spanish</a:t>
            </a:r>
            <a:r>
              <a:rPr lang="es-ES" sz="1000" b="1" spc="-1">
                <a:solidFill>
                  <a:srgbClr val="FF0000"/>
                </a:solidFill>
                <a:latin typeface="Soho Gothic Pro Light"/>
                <a:ea typeface="Soho Gothic Pro Light"/>
              </a:rPr>
              <a:t> -</a:t>
            </a:r>
            <a:r>
              <a:rPr lang="es-ES" sz="1000" b="1" strike="noStrike" spc="-1">
                <a:solidFill>
                  <a:srgbClr val="FF0000"/>
                </a:solidFill>
                <a:latin typeface="Soho Gothic Pro Light"/>
                <a:ea typeface="Soho Gothic Pro Light"/>
              </a:rPr>
              <a:t> </a:t>
            </a:r>
            <a:r>
              <a:rPr lang="es-ES" sz="1000" spc="-1">
                <a:solidFill>
                  <a:srgbClr val="FF0000"/>
                </a:solidFill>
                <a:latin typeface="Soho Gothic Pro Light"/>
                <a:ea typeface="Soho Gothic Pro Light"/>
              </a:rPr>
              <a:t>Native</a:t>
            </a:r>
            <a:endParaRPr lang="es-ES" sz="1000" b="0" strike="noStrike" spc="-1">
              <a:solidFill>
                <a:srgbClr val="FF0000"/>
              </a:solidFill>
              <a:latin typeface="Soho Gothic Pro Light"/>
              <a:ea typeface="Soho Gothic Pro Light"/>
            </a:endParaRPr>
          </a:p>
          <a:p>
            <a:r>
              <a:rPr lang="ca-ES" sz="1000" b="1" spc="-1">
                <a:solidFill>
                  <a:srgbClr val="FF0000"/>
                </a:solidFill>
                <a:latin typeface="Soho Gothic Pro Light"/>
                <a:ea typeface="Soho Gothic Pro Light"/>
              </a:rPr>
              <a:t>Catalan - </a:t>
            </a:r>
            <a:r>
              <a:rPr lang="ca-ES" sz="1000" spc="-1" err="1">
                <a:solidFill>
                  <a:srgbClr val="FF0000"/>
                </a:solidFill>
                <a:latin typeface="Soho Gothic Pro Light"/>
              </a:rPr>
              <a:t>Native</a:t>
            </a:r>
            <a:r>
              <a:rPr lang="ca-ES" sz="1000" b="1" spc="-1">
                <a:solidFill>
                  <a:srgbClr val="FF0000"/>
                </a:solidFill>
                <a:latin typeface="Soho Gothic Pro Light"/>
                <a:ea typeface="Soho Gothic Pro Light"/>
              </a:rPr>
              <a:t> </a:t>
            </a:r>
            <a:r>
              <a:rPr lang="ca-ES" sz="1750">
                <a:solidFill>
                  <a:srgbClr val="FF0000"/>
                </a:solidFill>
              </a:rPr>
              <a:t/>
            </a:r>
            <a:br>
              <a:rPr lang="ca-ES" sz="1750">
                <a:solidFill>
                  <a:srgbClr val="FF0000"/>
                </a:solidFill>
              </a:rPr>
            </a:br>
            <a:r>
              <a:rPr lang="es-ES" sz="1000" b="1" spc="-1">
                <a:solidFill>
                  <a:srgbClr val="FF0000"/>
                </a:solidFill>
                <a:latin typeface="Soho Gothic Pro Light"/>
              </a:rPr>
              <a:t>English</a:t>
            </a:r>
            <a:r>
              <a:rPr lang="es-ES" sz="1000" b="1" strike="noStrike" spc="-1">
                <a:solidFill>
                  <a:srgbClr val="FF0000"/>
                </a:solidFill>
                <a:latin typeface="Soho Gothic Pro Light"/>
                <a:ea typeface="Soho Gothic Pro Light"/>
              </a:rPr>
              <a:t> -</a:t>
            </a:r>
            <a:r>
              <a:rPr lang="es-ES" sz="1000" b="1" spc="-1">
                <a:solidFill>
                  <a:srgbClr val="FF0000"/>
                </a:solidFill>
                <a:latin typeface="Soho Gothic Pro Light"/>
                <a:ea typeface="Soho Gothic Pro Light"/>
              </a:rPr>
              <a:t> </a:t>
            </a:r>
            <a:r>
              <a:rPr lang="es-ES" sz="1000" spc="-1" err="1">
                <a:solidFill>
                  <a:srgbClr val="FF0000"/>
                </a:solidFill>
                <a:latin typeface="Soho Gothic Pro Light"/>
              </a:rPr>
              <a:t>Intermediate</a:t>
            </a:r>
          </a:p>
          <a:p>
            <a:pPr>
              <a:lnSpc>
                <a:spcPct val="100000"/>
              </a:lnSpc>
            </a:pPr>
            <a:endParaRPr lang="es-ES" sz="1000" b="0" strike="noStrike" spc="-1">
              <a:solidFill>
                <a:srgbClr val="FF0000"/>
              </a:solidFill>
              <a:latin typeface="Arial"/>
            </a:endParaRPr>
          </a:p>
          <a:p>
            <a:pPr>
              <a:lnSpc>
                <a:spcPct val="100000"/>
              </a:lnSpc>
            </a:pPr>
            <a:endParaRPr lang="es-ES" sz="1000" b="0" strike="noStrike" spc="-1">
              <a:solidFill>
                <a:srgbClr val="FF0000"/>
              </a:solidFill>
              <a:latin typeface="Arial"/>
            </a:endParaRPr>
          </a:p>
        </p:txBody>
      </p:sp>
      <p:sp>
        <p:nvSpPr>
          <p:cNvPr id="105" name="CuadroTexto 40_0"/>
          <p:cNvSpPr/>
          <p:nvPr/>
        </p:nvSpPr>
        <p:spPr>
          <a:xfrm>
            <a:off x="3451680" y="110520"/>
            <a:ext cx="2692800" cy="45756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2400" b="0" strike="noStrike" spc="-1" dirty="0">
                <a:solidFill>
                  <a:srgbClr val="FF0000"/>
                </a:solidFill>
                <a:latin typeface="Soho Gothic Pro Medium"/>
              </a:rPr>
              <a:t>Data </a:t>
            </a:r>
            <a:r>
              <a:rPr lang="es-ES" sz="2400" b="0" strike="noStrike" spc="-1" dirty="0" err="1">
                <a:solidFill>
                  <a:srgbClr val="FF0000"/>
                </a:solidFill>
                <a:latin typeface="Soho Gothic Pro Medium"/>
              </a:rPr>
              <a:t>Engineer</a:t>
            </a:r>
            <a:endParaRPr lang="es-ES" sz="2400" b="0" strike="noStrike" spc="-1" dirty="0">
              <a:solidFill>
                <a:srgbClr val="FF0000"/>
              </a:solidFill>
              <a:latin typeface="Arial"/>
              <a:cs typeface="Aria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dirty="0" smtClean="0">
                <a:solidFill>
                  <a:schemeClr val="bg1"/>
                </a:solidFill>
                <a:latin typeface="Soho Gothic Pro Light"/>
                <a:ea typeface="Soho Gothic Pro Light"/>
              </a:rPr>
              <a:t>J</a:t>
            </a:r>
            <a:r>
              <a:rPr lang="es-ES" sz="2000" spc="-1" dirty="0" smtClean="0">
                <a:solidFill>
                  <a:schemeClr val="bg1"/>
                </a:solidFill>
                <a:latin typeface="Soho Gothic Pro Light"/>
                <a:ea typeface="Soho Gothic Pro Light"/>
              </a:rPr>
              <a:t>.O.B.</a:t>
            </a:r>
            <a:endParaRPr lang="es-ES" sz="2000" b="0" strike="noStrike" spc="-1" dirty="0">
              <a:solidFill>
                <a:schemeClr val="bg1"/>
              </a:solidFill>
              <a:latin typeface="Arial"/>
            </a:endParaRPr>
          </a:p>
        </p:txBody>
      </p:sp>
      <p:sp>
        <p:nvSpPr>
          <p:cNvPr id="109" name="CuadroTexto 37_0"/>
          <p:cNvSpPr/>
          <p:nvPr/>
        </p:nvSpPr>
        <p:spPr>
          <a:xfrm>
            <a:off x="9447480" y="2574286"/>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b="0" strike="noStrike" spc="-1">
                <a:solidFill>
                  <a:srgbClr val="FF0000"/>
                </a:solidFill>
                <a:latin typeface="Soho Gothic Pro"/>
              </a:rPr>
              <a:t>IT</a:t>
            </a:r>
            <a:endParaRPr lang="es-ES" sz="1200" b="0" strike="noStrike" spc="-1">
              <a:solidFill>
                <a:srgbClr val="FF0000"/>
              </a:solidFill>
              <a:latin typeface="Arial"/>
            </a:endParaRPr>
          </a:p>
        </p:txBody>
      </p:sp>
      <p:sp>
        <p:nvSpPr>
          <p:cNvPr id="110" name="CuadroTexto 52_0"/>
          <p:cNvSpPr/>
          <p:nvPr/>
        </p:nvSpPr>
        <p:spPr>
          <a:xfrm>
            <a:off x="9437040" y="2866680"/>
            <a:ext cx="2739600" cy="116955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n-US" sz="1000" b="1" strike="noStrike" spc="-1">
                <a:solidFill>
                  <a:srgbClr val="FF0000"/>
                </a:solidFill>
                <a:latin typeface="Soho Gothic Pro Light"/>
                <a:ea typeface="Soho Gothic Pro Light"/>
              </a:rPr>
              <a:t>Programming languages</a:t>
            </a:r>
            <a:r>
              <a:rPr lang="en-US" sz="1000" b="0" strike="noStrike" spc="-1">
                <a:solidFill>
                  <a:srgbClr val="FF0000"/>
                </a:solidFill>
                <a:latin typeface="Soho Gothic Pro Light"/>
                <a:ea typeface="Soho Gothic Pro Light"/>
              </a:rPr>
              <a:t>: </a:t>
            </a:r>
            <a:r>
              <a:rPr lang="en-US" sz="1000" i="1" spc="-1">
                <a:solidFill>
                  <a:srgbClr val="FF0000"/>
                </a:solidFill>
                <a:ea typeface="Soho Gothic Pro Light"/>
              </a:rPr>
              <a:t>Java, Scala, Python.</a:t>
            </a:r>
            <a:endParaRPr lang="es-ES" sz="1750">
              <a:solidFill>
                <a:srgbClr val="FF0000"/>
              </a:solidFill>
              <a:latin typeface="Soho Gothic Pro Light"/>
              <a:ea typeface="Soho Gothic Pro Light"/>
            </a:endParaRPr>
          </a:p>
          <a:p>
            <a:r>
              <a:rPr lang="en-US" sz="1000" b="1" spc="-1">
                <a:solidFill>
                  <a:srgbClr val="FF0000"/>
                </a:solidFill>
                <a:ea typeface="+mn-lt"/>
                <a:cs typeface="+mn-lt"/>
              </a:rPr>
              <a:t>Scripting: </a:t>
            </a:r>
            <a:r>
              <a:rPr lang="en-US" sz="1000" i="1" spc="-1">
                <a:solidFill>
                  <a:srgbClr val="FF0000"/>
                </a:solidFill>
              </a:rPr>
              <a:t>Linux Scripting</a:t>
            </a:r>
          </a:p>
          <a:p>
            <a:r>
              <a:rPr lang="en-US" sz="1000" b="1" strike="noStrike" spc="-1">
                <a:solidFill>
                  <a:srgbClr val="FF0000"/>
                </a:solidFill>
                <a:latin typeface="Soho Gothic Pro Light"/>
                <a:ea typeface="Soho Gothic Pro Light"/>
              </a:rPr>
              <a:t>Databases: </a:t>
            </a:r>
            <a:r>
              <a:rPr lang="en-US" sz="1000" i="1" spc="-1" err="1">
                <a:solidFill>
                  <a:srgbClr val="FF0000"/>
                </a:solidFill>
                <a:ea typeface="Soho Gothic Pro Light"/>
              </a:rPr>
              <a:t>Mysql</a:t>
            </a:r>
            <a:r>
              <a:rPr lang="en-US" sz="1000" i="1" spc="-1">
                <a:solidFill>
                  <a:srgbClr val="FF0000"/>
                </a:solidFill>
                <a:ea typeface="Soho Gothic Pro Light"/>
              </a:rPr>
              <a:t>, PostgreSQL</a:t>
            </a:r>
            <a:endParaRPr lang="es-ES" sz="1750">
              <a:solidFill>
                <a:srgbClr val="FF0000"/>
              </a:solidFill>
            </a:endParaRPr>
          </a:p>
          <a:p>
            <a:pPr>
              <a:lnSpc>
                <a:spcPct val="100000"/>
              </a:lnSpc>
            </a:pPr>
            <a:r>
              <a:rPr lang="en-US" sz="1000" b="1" spc="-1">
                <a:solidFill>
                  <a:srgbClr val="FF0000"/>
                </a:solidFill>
                <a:ea typeface="Soho Gothic Pro Light"/>
              </a:rPr>
              <a:t>Big Data (</a:t>
            </a:r>
            <a:r>
              <a:rPr lang="en-US" sz="1000" b="1" spc="-1" err="1">
                <a:solidFill>
                  <a:srgbClr val="FF0000"/>
                </a:solidFill>
                <a:ea typeface="Soho Gothic Pro Light"/>
              </a:rPr>
              <a:t>tecnología</a:t>
            </a:r>
            <a:r>
              <a:rPr lang="en-US" sz="1000" b="1" spc="-1">
                <a:solidFill>
                  <a:srgbClr val="FF0000"/>
                </a:solidFill>
                <a:ea typeface="Soho Gothic Pro Light"/>
              </a:rPr>
              <a:t>): </a:t>
            </a:r>
            <a:r>
              <a:rPr lang="en-US" sz="1000" i="1" spc="-1">
                <a:solidFill>
                  <a:srgbClr val="FF0000"/>
                </a:solidFill>
                <a:ea typeface="Soho Gothic Pro Light"/>
              </a:rPr>
              <a:t>Hadoop, MongoDB, neo4j , kudu, impala</a:t>
            </a:r>
          </a:p>
          <a:p>
            <a:pPr>
              <a:lnSpc>
                <a:spcPct val="100000"/>
              </a:lnSpc>
            </a:pPr>
            <a:r>
              <a:rPr lang="en-US" sz="1000" b="1" spc="-1">
                <a:solidFill>
                  <a:srgbClr val="FF0000"/>
                </a:solidFill>
                <a:latin typeface="Soho Gothic Pro Light"/>
                <a:ea typeface="Soho Gothic Pro Light"/>
              </a:rPr>
              <a:t>Platforms</a:t>
            </a:r>
            <a:r>
              <a:rPr lang="en-US" sz="1000" b="0" strike="noStrike" spc="-1">
                <a:solidFill>
                  <a:srgbClr val="FF0000"/>
                </a:solidFill>
                <a:latin typeface="Soho Gothic Pro Light"/>
                <a:ea typeface="Soho Gothic Pro Light"/>
              </a:rPr>
              <a:t>: </a:t>
            </a:r>
            <a:r>
              <a:rPr lang="en-US" sz="1000" spc="-1">
                <a:solidFill>
                  <a:srgbClr val="FF0000"/>
                </a:solidFill>
                <a:ea typeface="Soho Gothic Pro Light"/>
              </a:rPr>
              <a:t>Cloudera</a:t>
            </a:r>
            <a:endParaRPr lang="en-US" sz="1000" i="1" spc="-1">
              <a:solidFill>
                <a:srgbClr val="FF0000"/>
              </a:solidFill>
              <a:ea typeface="Soho Gothic Pro Light"/>
            </a:endParaRPr>
          </a:p>
          <a:p>
            <a:r>
              <a:rPr lang="en-US" sz="1000" b="1" spc="-1" err="1">
                <a:solidFill>
                  <a:srgbClr val="FF0000"/>
                </a:solidFill>
                <a:ea typeface="Soho Gothic Pro Light"/>
              </a:rPr>
              <a:t>Devops</a:t>
            </a:r>
            <a:r>
              <a:rPr lang="en-US" sz="1000" spc="-1">
                <a:solidFill>
                  <a:srgbClr val="FF0000"/>
                </a:solidFill>
                <a:ea typeface="Soho Gothic Pro Light"/>
              </a:rPr>
              <a:t>: Git, Maven</a:t>
            </a:r>
            <a:endParaRPr lang="en-US" sz="1000" i="1" spc="-1">
              <a:solidFill>
                <a:srgbClr val="FF0000"/>
              </a:solidFill>
              <a:ea typeface="Soho Gothic Pro Light"/>
            </a:endParaRPr>
          </a:p>
        </p:txBody>
      </p:sp>
      <p:sp>
        <p:nvSpPr>
          <p:cNvPr id="111" name="CuadroTexto 50_0"/>
          <p:cNvSpPr/>
          <p:nvPr/>
        </p:nvSpPr>
        <p:spPr>
          <a:xfrm>
            <a:off x="9536040" y="2031480"/>
            <a:ext cx="2651040"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solidFill>
                  <a:srgbClr val="FF0000"/>
                </a:solidFill>
                <a:ea typeface="Soho Gothic Pro Light"/>
              </a:rPr>
              <a:t>2021 | </a:t>
            </a:r>
            <a:r>
              <a:rPr lang="es-ES" sz="1000" spc="-1">
                <a:solidFill>
                  <a:srgbClr val="FF0000"/>
                </a:solidFill>
                <a:ea typeface="+mn-lt"/>
                <a:cs typeface="+mn-lt"/>
              </a:rPr>
              <a:t>MongoDB </a:t>
            </a:r>
            <a:r>
              <a:rPr lang="es-ES" sz="1000" spc="-1" err="1">
                <a:solidFill>
                  <a:srgbClr val="FF0000"/>
                </a:solidFill>
                <a:ea typeface="+mn-lt"/>
                <a:cs typeface="+mn-lt"/>
              </a:rPr>
              <a:t>Certified</a:t>
            </a:r>
            <a:r>
              <a:rPr lang="es-ES" sz="1000" spc="-1">
                <a:solidFill>
                  <a:srgbClr val="FF0000"/>
                </a:solidFill>
                <a:ea typeface="+mn-lt"/>
                <a:cs typeface="+mn-lt"/>
              </a:rPr>
              <a:t> </a:t>
            </a:r>
            <a:r>
              <a:rPr lang="es-ES" sz="1000" spc="-1" err="1">
                <a:solidFill>
                  <a:srgbClr val="FF0000"/>
                </a:solidFill>
                <a:ea typeface="+mn-lt"/>
                <a:cs typeface="+mn-lt"/>
              </a:rPr>
              <a:t>developer</a:t>
            </a:r>
            <a:r>
              <a:rPr lang="es-ES" sz="1000" spc="-1">
                <a:solidFill>
                  <a:srgbClr val="FF0000"/>
                </a:solidFill>
                <a:ea typeface="+mn-lt"/>
                <a:cs typeface="+mn-lt"/>
              </a:rPr>
              <a:t> Associate</a:t>
            </a:r>
            <a:endParaRPr lang="es-ES" sz="1750">
              <a:solidFill>
                <a:srgbClr val="FF0000"/>
              </a:solidFill>
              <a:ea typeface="Soho Gothic Pro Light"/>
            </a:endParaRPr>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pPr>
              <a:lnSpc>
                <a:spcPct val="100000"/>
              </a:lnSpc>
            </a:pPr>
            <a:r>
              <a:rPr lang="es-ES" sz="1200" spc="-1" err="1">
                <a:solidFill>
                  <a:srgbClr val="FF0000"/>
                </a:solidFill>
                <a:latin typeface="Soho Gothic Pro"/>
              </a:rPr>
              <a:t>Education</a:t>
            </a:r>
            <a:endParaRPr lang="es-ES" sz="1200" b="0" strike="noStrike" spc="-1" err="1">
              <a:solidFill>
                <a:srgbClr val="FF0000"/>
              </a:solidFill>
              <a:latin typeface="Arial"/>
            </a:endParaRPr>
          </a:p>
        </p:txBody>
      </p:sp>
      <p:sp>
        <p:nvSpPr>
          <p:cNvPr id="113" name="CuadroTexto 70_0"/>
          <p:cNvSpPr/>
          <p:nvPr/>
        </p:nvSpPr>
        <p:spPr>
          <a:xfrm>
            <a:off x="9827280" y="1039837"/>
            <a:ext cx="2349360"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pc="-1" err="1">
                <a:solidFill>
                  <a:srgbClr val="FF0000"/>
                </a:solidFill>
              </a:rPr>
              <a:t>Computer</a:t>
            </a:r>
            <a:r>
              <a:rPr lang="es-ES" sz="1000" b="1" spc="-1">
                <a:solidFill>
                  <a:srgbClr val="FF0000"/>
                </a:solidFill>
              </a:rPr>
              <a:t> </a:t>
            </a:r>
            <a:r>
              <a:rPr lang="es-ES" sz="1000" b="1" spc="-1" err="1">
                <a:solidFill>
                  <a:srgbClr val="FF0000"/>
                </a:solidFill>
              </a:rPr>
              <a:t>Engineering</a:t>
            </a:r>
            <a:endParaRPr lang="es-ES" err="1">
              <a:solidFill>
                <a:srgbClr val="FF0000"/>
              </a:solidFill>
            </a:endParaRPr>
          </a:p>
          <a:p>
            <a:r>
              <a:rPr lang="es-ES" sz="1000" spc="-1">
                <a:solidFill>
                  <a:srgbClr val="FF0000"/>
                </a:solidFill>
              </a:rPr>
              <a:t>Universidad Autónoma de Barcelona</a:t>
            </a:r>
          </a:p>
        </p:txBody>
      </p:sp>
      <p:sp>
        <p:nvSpPr>
          <p:cNvPr id="114" name="CuadroTexto 73_0"/>
          <p:cNvSpPr/>
          <p:nvPr/>
        </p:nvSpPr>
        <p:spPr>
          <a:xfrm>
            <a:off x="9430200" y="1000765"/>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solidFill>
                  <a:srgbClr val="FF0000"/>
                </a:solidFill>
                <a:latin typeface="Soho Gothic Pro Medium"/>
              </a:rPr>
              <a:t>2015</a:t>
            </a:r>
            <a:endParaRPr lang="es-ES" sz="900" b="0" strike="noStrike" spc="-1">
              <a:solidFill>
                <a:srgbClr val="FF0000"/>
              </a:solidFill>
              <a:latin typeface="Arial"/>
              <a:cs typeface="Arial"/>
            </a:endParaRPr>
          </a:p>
          <a:p>
            <a:pPr>
              <a:lnSpc>
                <a:spcPct val="100000"/>
              </a:lnSpc>
            </a:pPr>
            <a:r>
              <a:rPr lang="es-ES" sz="900" b="0" strike="noStrike" spc="-1">
                <a:solidFill>
                  <a:srgbClr val="FF0000"/>
                </a:solidFill>
                <a:latin typeface="Soho Gothic Pro Medium"/>
              </a:rPr>
              <a:t>—</a:t>
            </a:r>
            <a:endParaRPr lang="es-ES" sz="900" b="0" strike="noStrike" spc="-1">
              <a:solidFill>
                <a:srgbClr val="FF0000"/>
              </a:solidFill>
              <a:latin typeface="Arial"/>
              <a:cs typeface="Arial"/>
            </a:endParaRPr>
          </a:p>
          <a:p>
            <a:pPr>
              <a:lnSpc>
                <a:spcPct val="100000"/>
              </a:lnSpc>
            </a:pPr>
            <a:r>
              <a:rPr lang="es-ES" sz="900" spc="-1">
                <a:solidFill>
                  <a:srgbClr val="FF0000"/>
                </a:solidFill>
                <a:latin typeface="Soho Gothic Pro Medium"/>
              </a:rPr>
              <a:t>2019</a:t>
            </a:r>
            <a:endParaRPr lang="es-ES" sz="900" b="0" strike="noStrike" spc="-1">
              <a:solidFill>
                <a:srgbClr val="FF0000"/>
              </a:solidFill>
              <a:latin typeface="Arial"/>
              <a:cs typeface="Arial"/>
            </a:endParaRPr>
          </a:p>
        </p:txBody>
      </p:sp>
      <p:sp>
        <p:nvSpPr>
          <p:cNvPr id="117" name="CuadroTexto 33_0"/>
          <p:cNvSpPr/>
          <p:nvPr/>
        </p:nvSpPr>
        <p:spPr>
          <a:xfrm>
            <a:off x="9540000" y="1620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r>
              <a:rPr lang="es-ES" sz="1200" b="1" spc="-1" err="1">
                <a:solidFill>
                  <a:srgbClr val="FF0000"/>
                </a:solidFill>
                <a:latin typeface="Soho Gothic Pro Light"/>
              </a:rPr>
              <a:t>Relevant</a:t>
            </a:r>
            <a:r>
              <a:rPr lang="es-ES" sz="1200" b="1" spc="-1">
                <a:solidFill>
                  <a:srgbClr val="FF0000"/>
                </a:solidFill>
                <a:latin typeface="Soho Gothic Pro Light"/>
              </a:rPr>
              <a:t> </a:t>
            </a:r>
            <a:r>
              <a:rPr lang="es-ES" sz="1200" b="1" spc="-1" err="1">
                <a:solidFill>
                  <a:srgbClr val="FF0000"/>
                </a:solidFill>
                <a:latin typeface="Soho Gothic Pro Light"/>
              </a:rPr>
              <a:t>courses</a:t>
            </a:r>
            <a:endParaRPr lang="es-ES" sz="1200" b="0" strike="noStrike" spc="-1" err="1">
              <a:solidFill>
                <a:srgbClr val="FF0000"/>
              </a:solidFill>
              <a:latin typeface="Arial"/>
              <a:cs typeface="Arial"/>
            </a:endParaRPr>
          </a:p>
        </p:txBody>
      </p:sp>
      <p:sp>
        <p:nvSpPr>
          <p:cNvPr id="37" name="CuadroTexto 30_0"/>
          <p:cNvSpPr/>
          <p:nvPr/>
        </p:nvSpPr>
        <p:spPr>
          <a:xfrm>
            <a:off x="5463001" y="152640"/>
            <a:ext cx="3895200"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ctr">
              <a:lnSpc>
                <a:spcPct val="100000"/>
              </a:lnSpc>
            </a:pPr>
            <a:r>
              <a:rPr lang="es-ES" sz="2000" spc="-1" dirty="0" smtClean="0">
                <a:solidFill>
                  <a:schemeClr val="bg1"/>
                </a:solidFill>
                <a:ea typeface="Soho Gothic Pro Light"/>
              </a:rPr>
              <a:t>Jose Oro Bodelón</a:t>
            </a:r>
            <a:endParaRPr lang="es-ES" sz="2000" b="0" strike="noStrike" spc="-1" dirty="0">
              <a:solidFill>
                <a:schemeClr val="bg1"/>
              </a:solidFill>
              <a:latin typeface="Arial"/>
            </a:endParaRPr>
          </a:p>
        </p:txBody>
      </p:sp>
      <p:sp>
        <p:nvSpPr>
          <p:cNvPr id="27" name="CuadroTexto 44_0"/>
          <p:cNvSpPr/>
          <p:nvPr/>
        </p:nvSpPr>
        <p:spPr>
          <a:xfrm>
            <a:off x="685800" y="1427861"/>
            <a:ext cx="4215600" cy="3985706"/>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lnSpc>
                <a:spcPct val="100000"/>
              </a:lnSpc>
            </a:pPr>
            <a:r>
              <a:rPr lang="es-ES" sz="1100" b="1" spc="-1" err="1">
                <a:solidFill>
                  <a:srgbClr val="FF0000"/>
                </a:solidFill>
                <a:latin typeface="Soho Gothic Pro Light"/>
              </a:rPr>
              <a:t>Minsait</a:t>
            </a:r>
            <a:r>
              <a:rPr lang="es-ES" sz="1100" b="1" spc="-1">
                <a:solidFill>
                  <a:srgbClr val="FF0000"/>
                </a:solidFill>
                <a:latin typeface="Soho Gothic Pro Light"/>
              </a:rPr>
              <a:t> </a:t>
            </a:r>
            <a:r>
              <a:rPr lang="es-ES" sz="1100" b="1" spc="-1" err="1">
                <a:solidFill>
                  <a:srgbClr val="FF0000"/>
                </a:solidFill>
                <a:latin typeface="Soho Gothic Pro Light"/>
              </a:rPr>
              <a:t>by</a:t>
            </a:r>
            <a:r>
              <a:rPr lang="es-ES" sz="1100" b="1" spc="-1">
                <a:solidFill>
                  <a:srgbClr val="FF0000"/>
                </a:solidFill>
                <a:latin typeface="Soho Gothic Pro Light"/>
              </a:rPr>
              <a:t> Indra (Barcelona, España)</a:t>
            </a:r>
          </a:p>
          <a:p>
            <a:pPr algn="just"/>
            <a:r>
              <a:rPr lang="es-ES" sz="1100" spc="-1">
                <a:solidFill>
                  <a:srgbClr val="FF0000"/>
                </a:solidFill>
                <a:latin typeface="Soho Gothic Pro Light"/>
              </a:rPr>
              <a:t>Data </a:t>
            </a:r>
            <a:r>
              <a:rPr lang="es-ES" sz="1100" spc="-1" err="1">
                <a:solidFill>
                  <a:srgbClr val="FF0000"/>
                </a:solidFill>
                <a:latin typeface="Soho Gothic Pro Light"/>
              </a:rPr>
              <a:t>Engineer</a:t>
            </a:r>
            <a:endParaRPr lang="es-ES" sz="1100" b="0" strike="noStrike" spc="-1">
              <a:solidFill>
                <a:srgbClr val="FF0000"/>
              </a:solidFill>
              <a:latin typeface="Arial"/>
            </a:endParaRPr>
          </a:p>
          <a:p>
            <a:pPr algn="just">
              <a:lnSpc>
                <a:spcPct val="100000"/>
              </a:lnSpc>
            </a:pPr>
            <a:endParaRPr lang="es-ES" sz="1100" b="0" strike="noStrike" spc="-1">
              <a:solidFill>
                <a:srgbClr val="FF0000"/>
              </a:solidFill>
              <a:latin typeface="Arial"/>
              <a:cs typeface="Arial"/>
            </a:endParaRPr>
          </a:p>
          <a:p>
            <a:pPr algn="just">
              <a:buClr>
                <a:srgbClr val="1A3B47"/>
              </a:buClr>
            </a:pPr>
            <a:r>
              <a:rPr lang="es-ES" sz="1100" b="1" spc="-1">
                <a:solidFill>
                  <a:srgbClr val="FF0000"/>
                </a:solidFill>
                <a:ea typeface="+mn-lt"/>
                <a:cs typeface="+mn-lt"/>
              </a:rPr>
              <a:t>ENEL</a:t>
            </a:r>
            <a:endParaRPr lang="es-ES" b="1">
              <a:solidFill>
                <a:srgbClr val="FF0000"/>
              </a:solidFill>
            </a:endParaRPr>
          </a:p>
          <a:p>
            <a:pPr marL="171450" indent="-171450" algn="just">
              <a:buClr>
                <a:srgbClr val="1A3B47"/>
              </a:buClr>
              <a:buFont typeface="Arial"/>
              <a:buChar char="•"/>
            </a:pPr>
            <a:r>
              <a:rPr lang="es-ES" sz="1100" spc="-1" err="1">
                <a:solidFill>
                  <a:srgbClr val="FF0000"/>
                </a:solidFill>
                <a:ea typeface="+mn-lt"/>
                <a:cs typeface="+mn-lt"/>
              </a:rPr>
              <a:t>Design</a:t>
            </a:r>
            <a:r>
              <a:rPr lang="es-ES" sz="1100" spc="-1">
                <a:solidFill>
                  <a:srgbClr val="FF0000"/>
                </a:solidFill>
                <a:ea typeface="+mn-lt"/>
                <a:cs typeface="+mn-lt"/>
              </a:rPr>
              <a:t> and </a:t>
            </a:r>
            <a:r>
              <a:rPr lang="es-ES" sz="1100" spc="-1" err="1">
                <a:solidFill>
                  <a:srgbClr val="FF0000"/>
                </a:solidFill>
                <a:ea typeface="+mn-lt"/>
                <a:cs typeface="+mn-lt"/>
              </a:rPr>
              <a:t>implementation</a:t>
            </a:r>
            <a:r>
              <a:rPr lang="es-ES" sz="1100" spc="-1">
                <a:solidFill>
                  <a:srgbClr val="FF0000"/>
                </a:solidFill>
                <a:ea typeface="+mn-lt"/>
                <a:cs typeface="+mn-lt"/>
              </a:rPr>
              <a:t> </a:t>
            </a:r>
            <a:r>
              <a:rPr lang="es-ES" sz="1100" spc="-1" err="1">
                <a:solidFill>
                  <a:srgbClr val="FF0000"/>
                </a:solidFill>
                <a:ea typeface="+mn-lt"/>
                <a:cs typeface="+mn-lt"/>
              </a:rPr>
              <a:t>for</a:t>
            </a:r>
            <a:r>
              <a:rPr lang="es-ES" sz="1100" spc="-1">
                <a:solidFill>
                  <a:srgbClr val="FF0000"/>
                </a:solidFill>
                <a:ea typeface="+mn-lt"/>
                <a:cs typeface="+mn-lt"/>
              </a:rPr>
              <a:t> a </a:t>
            </a:r>
            <a:r>
              <a:rPr lang="es-ES" sz="1100" spc="-1" err="1">
                <a:solidFill>
                  <a:srgbClr val="FF0000"/>
                </a:solidFill>
                <a:ea typeface="+mn-lt"/>
                <a:cs typeface="+mn-lt"/>
              </a:rPr>
              <a:t>project</a:t>
            </a:r>
            <a:r>
              <a:rPr lang="es-ES" sz="1100" spc="-1">
                <a:solidFill>
                  <a:srgbClr val="FF0000"/>
                </a:solidFill>
                <a:ea typeface="+mn-lt"/>
                <a:cs typeface="+mn-lt"/>
              </a:rPr>
              <a:t> in </a:t>
            </a:r>
            <a:r>
              <a:rPr lang="es-ES" sz="1100" spc="-1" err="1">
                <a:solidFill>
                  <a:srgbClr val="FF0000"/>
                </a:solidFill>
                <a:ea typeface="+mn-lt"/>
                <a:cs typeface="+mn-lt"/>
              </a:rPr>
              <a:t>the</a:t>
            </a:r>
            <a:r>
              <a:rPr lang="es-ES" sz="1100" spc="-1">
                <a:solidFill>
                  <a:srgbClr val="FF0000"/>
                </a:solidFill>
                <a:ea typeface="+mn-lt"/>
                <a:cs typeface="+mn-lt"/>
              </a:rPr>
              <a:t> </a:t>
            </a:r>
            <a:r>
              <a:rPr lang="es-ES" sz="1100" spc="-1" err="1">
                <a:solidFill>
                  <a:srgbClr val="FF0000"/>
                </a:solidFill>
                <a:ea typeface="+mn-lt"/>
                <a:cs typeface="+mn-lt"/>
              </a:rPr>
              <a:t>energy</a:t>
            </a:r>
            <a:r>
              <a:rPr lang="es-ES" sz="1100" spc="-1">
                <a:solidFill>
                  <a:srgbClr val="FF0000"/>
                </a:solidFill>
                <a:ea typeface="+mn-lt"/>
                <a:cs typeface="+mn-lt"/>
              </a:rPr>
              <a:t> sector in </a:t>
            </a:r>
            <a:r>
              <a:rPr lang="es-ES" sz="1100" spc="-1" err="1">
                <a:solidFill>
                  <a:srgbClr val="FF0000"/>
                </a:solidFill>
                <a:ea typeface="+mn-lt"/>
                <a:cs typeface="+mn-lt"/>
              </a:rPr>
              <a:t>which</a:t>
            </a:r>
            <a:r>
              <a:rPr lang="es-ES" sz="1100" spc="-1">
                <a:solidFill>
                  <a:srgbClr val="FF0000"/>
                </a:solidFill>
                <a:ea typeface="+mn-lt"/>
                <a:cs typeface="+mn-lt"/>
              </a:rPr>
              <a:t> a </a:t>
            </a:r>
            <a:r>
              <a:rPr lang="es-ES" sz="1100" spc="-1" err="1">
                <a:solidFill>
                  <a:srgbClr val="FF0000"/>
                </a:solidFill>
                <a:ea typeface="+mn-lt"/>
                <a:cs typeface="+mn-lt"/>
              </a:rPr>
              <a:t>Datalake</a:t>
            </a:r>
            <a:r>
              <a:rPr lang="es-ES" sz="1100" spc="-1">
                <a:solidFill>
                  <a:srgbClr val="FF0000"/>
                </a:solidFill>
                <a:ea typeface="+mn-lt"/>
                <a:cs typeface="+mn-lt"/>
              </a:rPr>
              <a:t> </a:t>
            </a:r>
            <a:r>
              <a:rPr lang="es-ES" sz="1100" spc="-1" err="1">
                <a:solidFill>
                  <a:srgbClr val="FF0000"/>
                </a:solidFill>
                <a:ea typeface="+mn-lt"/>
                <a:cs typeface="+mn-lt"/>
              </a:rPr>
              <a:t>was</a:t>
            </a:r>
            <a:r>
              <a:rPr lang="es-ES" sz="1100" spc="-1">
                <a:solidFill>
                  <a:srgbClr val="FF0000"/>
                </a:solidFill>
                <a:ea typeface="+mn-lt"/>
                <a:cs typeface="+mn-lt"/>
              </a:rPr>
              <a:t> </a:t>
            </a:r>
            <a:r>
              <a:rPr lang="es-ES" sz="1100" spc="-1" err="1">
                <a:solidFill>
                  <a:srgbClr val="FF0000"/>
                </a:solidFill>
                <a:ea typeface="+mn-lt"/>
                <a:cs typeface="+mn-lt"/>
              </a:rPr>
              <a:t>created</a:t>
            </a:r>
            <a:r>
              <a:rPr lang="es-ES" sz="1100" spc="-1">
                <a:solidFill>
                  <a:srgbClr val="FF0000"/>
                </a:solidFill>
                <a:ea typeface="+mn-lt"/>
                <a:cs typeface="+mn-lt"/>
              </a:rPr>
              <a:t> </a:t>
            </a:r>
            <a:r>
              <a:rPr lang="es-ES" sz="1100" spc="-1" err="1">
                <a:solidFill>
                  <a:srgbClr val="FF0000"/>
                </a:solidFill>
                <a:ea typeface="+mn-lt"/>
                <a:cs typeface="+mn-lt"/>
              </a:rPr>
              <a:t>through</a:t>
            </a:r>
            <a:r>
              <a:rPr lang="es-ES" sz="1100" spc="-1">
                <a:solidFill>
                  <a:srgbClr val="FF0000"/>
                </a:solidFill>
                <a:ea typeface="+mn-lt"/>
                <a:cs typeface="+mn-lt"/>
              </a:rPr>
              <a:t> </a:t>
            </a:r>
            <a:r>
              <a:rPr lang="es-ES" sz="1100" spc="-1" err="1">
                <a:solidFill>
                  <a:srgbClr val="FF0000"/>
                </a:solidFill>
                <a:ea typeface="+mn-lt"/>
                <a:cs typeface="+mn-lt"/>
              </a:rPr>
              <a:t>the</a:t>
            </a:r>
            <a:r>
              <a:rPr lang="es-ES" sz="1100" spc="-1">
                <a:solidFill>
                  <a:srgbClr val="FF0000"/>
                </a:solidFill>
                <a:ea typeface="+mn-lt"/>
                <a:cs typeface="+mn-lt"/>
              </a:rPr>
              <a:t> </a:t>
            </a:r>
            <a:r>
              <a:rPr lang="es-ES" sz="1100" spc="-1" err="1">
                <a:solidFill>
                  <a:srgbClr val="FF0000"/>
                </a:solidFill>
                <a:ea typeface="+mn-lt"/>
                <a:cs typeface="+mn-lt"/>
              </a:rPr>
              <a:t>source</a:t>
            </a:r>
            <a:r>
              <a:rPr lang="es-ES" sz="1100" spc="-1">
                <a:solidFill>
                  <a:srgbClr val="FF0000"/>
                </a:solidFill>
                <a:ea typeface="+mn-lt"/>
                <a:cs typeface="+mn-lt"/>
              </a:rPr>
              <a:t> data </a:t>
            </a:r>
            <a:r>
              <a:rPr lang="es-ES" sz="1100" spc="-1" err="1">
                <a:solidFill>
                  <a:srgbClr val="FF0000"/>
                </a:solidFill>
                <a:ea typeface="+mn-lt"/>
                <a:cs typeface="+mn-lt"/>
              </a:rPr>
              <a:t>extracted</a:t>
            </a:r>
            <a:r>
              <a:rPr lang="es-ES" sz="1100" spc="-1">
                <a:solidFill>
                  <a:srgbClr val="FF0000"/>
                </a:solidFill>
                <a:ea typeface="+mn-lt"/>
                <a:cs typeface="+mn-lt"/>
              </a:rPr>
              <a:t> </a:t>
            </a:r>
            <a:r>
              <a:rPr lang="es-ES" sz="1100" spc="-1" err="1">
                <a:solidFill>
                  <a:srgbClr val="FF0000"/>
                </a:solidFill>
                <a:ea typeface="+mn-lt"/>
                <a:cs typeface="+mn-lt"/>
              </a:rPr>
              <a:t>with</a:t>
            </a:r>
            <a:r>
              <a:rPr lang="es-ES" sz="1100" spc="-1">
                <a:solidFill>
                  <a:srgbClr val="FF0000"/>
                </a:solidFill>
                <a:ea typeface="+mn-lt"/>
                <a:cs typeface="+mn-lt"/>
              </a:rPr>
              <a:t> </a:t>
            </a:r>
            <a:r>
              <a:rPr lang="es-ES" sz="1100" spc="-1" err="1">
                <a:solidFill>
                  <a:srgbClr val="FF0000"/>
                </a:solidFill>
                <a:ea typeface="+mn-lt"/>
                <a:cs typeface="+mn-lt"/>
              </a:rPr>
              <a:t>an</a:t>
            </a:r>
            <a:r>
              <a:rPr lang="es-ES" sz="1100" spc="-1">
                <a:solidFill>
                  <a:srgbClr val="FF0000"/>
                </a:solidFill>
                <a:ea typeface="+mn-lt"/>
                <a:cs typeface="+mn-lt"/>
              </a:rPr>
              <a:t> ETL in Python, </a:t>
            </a:r>
            <a:r>
              <a:rPr lang="es-ES" sz="1100" spc="-1" err="1">
                <a:solidFill>
                  <a:srgbClr val="FF0000"/>
                </a:solidFill>
                <a:ea typeface="+mn-lt"/>
                <a:cs typeface="+mn-lt"/>
              </a:rPr>
              <a:t>used</a:t>
            </a:r>
            <a:r>
              <a:rPr lang="es-ES" sz="1100" spc="-1">
                <a:solidFill>
                  <a:srgbClr val="FF0000"/>
                </a:solidFill>
                <a:ea typeface="+mn-lt"/>
                <a:cs typeface="+mn-lt"/>
              </a:rPr>
              <a:t> </a:t>
            </a:r>
            <a:r>
              <a:rPr lang="es-ES" sz="1100" spc="-1" err="1">
                <a:solidFill>
                  <a:srgbClr val="FF0000"/>
                </a:solidFill>
                <a:ea typeface="+mn-lt"/>
                <a:cs typeface="+mn-lt"/>
              </a:rPr>
              <a:t>for</a:t>
            </a:r>
            <a:r>
              <a:rPr lang="es-ES" sz="1100" spc="-1">
                <a:solidFill>
                  <a:srgbClr val="FF0000"/>
                </a:solidFill>
                <a:ea typeface="+mn-lt"/>
                <a:cs typeface="+mn-lt"/>
              </a:rPr>
              <a:t> </a:t>
            </a:r>
            <a:r>
              <a:rPr lang="es-ES" sz="1100" spc="-1" err="1">
                <a:solidFill>
                  <a:srgbClr val="FF0000"/>
                </a:solidFill>
                <a:ea typeface="+mn-lt"/>
                <a:cs typeface="+mn-lt"/>
              </a:rPr>
              <a:t>the</a:t>
            </a:r>
            <a:r>
              <a:rPr lang="es-ES" sz="1100" spc="-1">
                <a:solidFill>
                  <a:srgbClr val="FF0000"/>
                </a:solidFill>
                <a:ea typeface="+mn-lt"/>
                <a:cs typeface="+mn-lt"/>
              </a:rPr>
              <a:t> </a:t>
            </a:r>
            <a:r>
              <a:rPr lang="es-ES" sz="1100" spc="-1" err="1">
                <a:solidFill>
                  <a:srgbClr val="FF0000"/>
                </a:solidFill>
                <a:ea typeface="+mn-lt"/>
                <a:cs typeface="+mn-lt"/>
              </a:rPr>
              <a:t>development</a:t>
            </a:r>
            <a:r>
              <a:rPr lang="es-ES" sz="1100" spc="-1">
                <a:solidFill>
                  <a:srgbClr val="FF0000"/>
                </a:solidFill>
                <a:ea typeface="+mn-lt"/>
                <a:cs typeface="+mn-lt"/>
              </a:rPr>
              <a:t> </a:t>
            </a:r>
            <a:r>
              <a:rPr lang="es-ES" sz="1100" spc="-1" err="1">
                <a:solidFill>
                  <a:srgbClr val="FF0000"/>
                </a:solidFill>
                <a:ea typeface="+mn-lt"/>
                <a:cs typeface="+mn-lt"/>
              </a:rPr>
              <a:t>of</a:t>
            </a:r>
            <a:r>
              <a:rPr lang="es-ES" sz="1100" spc="-1">
                <a:solidFill>
                  <a:srgbClr val="FF0000"/>
                </a:solidFill>
                <a:ea typeface="+mn-lt"/>
                <a:cs typeface="+mn-lt"/>
              </a:rPr>
              <a:t> a predictive </a:t>
            </a:r>
            <a:r>
              <a:rPr lang="es-ES" sz="1100" spc="-1" err="1">
                <a:solidFill>
                  <a:srgbClr val="FF0000"/>
                </a:solidFill>
                <a:ea typeface="+mn-lt"/>
                <a:cs typeface="+mn-lt"/>
              </a:rPr>
              <a:t>model</a:t>
            </a:r>
            <a:r>
              <a:rPr lang="es-ES" sz="1100" spc="-1">
                <a:solidFill>
                  <a:srgbClr val="FF0000"/>
                </a:solidFill>
                <a:ea typeface="+mn-lt"/>
                <a:cs typeface="+mn-lt"/>
              </a:rPr>
              <a:t>.</a:t>
            </a:r>
            <a:endParaRPr lang="es-ES">
              <a:solidFill>
                <a:srgbClr val="FF0000"/>
              </a:solidFill>
              <a:ea typeface="+mn-lt"/>
              <a:cs typeface="+mn-lt"/>
            </a:endParaRPr>
          </a:p>
          <a:p>
            <a:pPr algn="just">
              <a:buClr>
                <a:srgbClr val="1A3B47"/>
              </a:buClr>
              <a:buFont typeface="Arial"/>
              <a:buChar char="•"/>
            </a:pPr>
            <a:endParaRPr lang="es-ES" sz="1100" spc="-1">
              <a:solidFill>
                <a:srgbClr val="FF0000"/>
              </a:solidFill>
              <a:ea typeface="+mn-lt"/>
              <a:cs typeface="+mn-lt"/>
            </a:endParaRPr>
          </a:p>
          <a:p>
            <a:pPr algn="just">
              <a:buClr>
                <a:srgbClr val="1A3B47"/>
              </a:buClr>
            </a:pPr>
            <a:r>
              <a:rPr lang="es-ES" sz="1100" b="1" spc="-1">
                <a:solidFill>
                  <a:srgbClr val="FF0000"/>
                </a:solidFill>
                <a:ea typeface="+mn-lt"/>
                <a:cs typeface="+mn-lt"/>
              </a:rPr>
              <a:t>ATC (Agencia Tributaria Catalunya)</a:t>
            </a:r>
            <a:endParaRPr lang="es-ES" sz="1750" b="1">
              <a:solidFill>
                <a:srgbClr val="FF0000"/>
              </a:solidFill>
              <a:ea typeface="+mn-lt"/>
              <a:cs typeface="+mn-lt"/>
            </a:endParaRPr>
          </a:p>
          <a:p>
            <a:pPr marL="171450" indent="-171450" algn="just">
              <a:buClr>
                <a:srgbClr val="1A3B47"/>
              </a:buClr>
              <a:buFont typeface="Arial"/>
              <a:buChar char="•"/>
            </a:pPr>
            <a:r>
              <a:rPr lang="es-ES" sz="1100" spc="-1">
                <a:solidFill>
                  <a:srgbClr val="FF0000"/>
                </a:solidFill>
                <a:ea typeface="+mn-lt"/>
                <a:cs typeface="+mn-lt"/>
              </a:rPr>
              <a:t>ETL </a:t>
            </a:r>
            <a:r>
              <a:rPr lang="es-ES" sz="1100" spc="-1" err="1">
                <a:solidFill>
                  <a:srgbClr val="FF0000"/>
                </a:solidFill>
                <a:ea typeface="+mn-lt"/>
                <a:cs typeface="+mn-lt"/>
              </a:rPr>
              <a:t>development</a:t>
            </a:r>
            <a:r>
              <a:rPr lang="es-ES" sz="1100" spc="-1">
                <a:solidFill>
                  <a:srgbClr val="FF0000"/>
                </a:solidFill>
                <a:ea typeface="+mn-lt"/>
                <a:cs typeface="+mn-lt"/>
              </a:rPr>
              <a:t> </a:t>
            </a:r>
            <a:r>
              <a:rPr lang="es-ES" sz="1100" spc="-1" err="1">
                <a:solidFill>
                  <a:srgbClr val="FF0000"/>
                </a:solidFill>
                <a:ea typeface="+mn-lt"/>
                <a:cs typeface="+mn-lt"/>
              </a:rPr>
              <a:t>using</a:t>
            </a:r>
            <a:r>
              <a:rPr lang="es-ES" sz="1100" spc="-1">
                <a:solidFill>
                  <a:srgbClr val="FF0000"/>
                </a:solidFill>
                <a:ea typeface="+mn-lt"/>
                <a:cs typeface="+mn-lt"/>
              </a:rPr>
              <a:t> </a:t>
            </a:r>
            <a:r>
              <a:rPr lang="es-ES" sz="1100" spc="-1" err="1">
                <a:solidFill>
                  <a:srgbClr val="FF0000"/>
                </a:solidFill>
                <a:ea typeface="+mn-lt"/>
                <a:cs typeface="+mn-lt"/>
              </a:rPr>
              <a:t>languages</a:t>
            </a:r>
            <a:r>
              <a:rPr lang="es-ES" sz="1100" spc="-1">
                <a:solidFill>
                  <a:srgbClr val="FF0000"/>
                </a:solidFill>
                <a:ea typeface="+mn-lt"/>
                <a:cs typeface="+mn-lt"/>
              </a:rPr>
              <a:t> </a:t>
            </a:r>
            <a:r>
              <a:rPr lang="es-ES" sz="1100" spc="-1" err="1">
                <a:solidFill>
                  <a:srgbClr val="FF0000"/>
                </a:solidFill>
                <a:ea typeface="+mn-lt"/>
                <a:cs typeface="+mn-lt"/>
              </a:rPr>
              <a:t>like</a:t>
            </a:r>
            <a:r>
              <a:rPr lang="es-ES" sz="1100" spc="-1">
                <a:solidFill>
                  <a:srgbClr val="FF0000"/>
                </a:solidFill>
                <a:ea typeface="+mn-lt"/>
                <a:cs typeface="+mn-lt"/>
              </a:rPr>
              <a:t> Python </a:t>
            </a:r>
            <a:r>
              <a:rPr lang="es-ES" sz="1100" spc="-1" err="1">
                <a:solidFill>
                  <a:srgbClr val="FF0000"/>
                </a:solidFill>
                <a:ea typeface="+mn-lt"/>
                <a:cs typeface="+mn-lt"/>
              </a:rPr>
              <a:t>or</a:t>
            </a:r>
            <a:r>
              <a:rPr lang="es-ES" sz="1100" spc="-1">
                <a:solidFill>
                  <a:srgbClr val="FF0000"/>
                </a:solidFill>
                <a:ea typeface="+mn-lt"/>
                <a:cs typeface="+mn-lt"/>
              </a:rPr>
              <a:t> Scala and Big Data </a:t>
            </a:r>
            <a:r>
              <a:rPr lang="es-ES" sz="1100" spc="-1" err="1">
                <a:solidFill>
                  <a:srgbClr val="FF0000"/>
                </a:solidFill>
                <a:ea typeface="+mn-lt"/>
                <a:cs typeface="+mn-lt"/>
              </a:rPr>
              <a:t>technologies</a:t>
            </a:r>
            <a:r>
              <a:rPr lang="es-ES" sz="1100" spc="-1">
                <a:solidFill>
                  <a:srgbClr val="FF0000"/>
                </a:solidFill>
                <a:ea typeface="+mn-lt"/>
                <a:cs typeface="+mn-lt"/>
              </a:rPr>
              <a:t> </a:t>
            </a:r>
            <a:r>
              <a:rPr lang="es-ES" sz="1100" spc="-1" err="1">
                <a:solidFill>
                  <a:srgbClr val="FF0000"/>
                </a:solidFill>
                <a:ea typeface="+mn-lt"/>
                <a:cs typeface="+mn-lt"/>
              </a:rPr>
              <a:t>such</a:t>
            </a:r>
            <a:r>
              <a:rPr lang="es-ES" sz="1100" spc="-1">
                <a:solidFill>
                  <a:srgbClr val="FF0000"/>
                </a:solidFill>
                <a:ea typeface="+mn-lt"/>
                <a:cs typeface="+mn-lt"/>
              </a:rPr>
              <a:t> as </a:t>
            </a:r>
            <a:r>
              <a:rPr lang="es-ES" sz="1100" spc="-1" err="1">
                <a:solidFill>
                  <a:srgbClr val="FF0000"/>
                </a:solidFill>
                <a:ea typeface="+mn-lt"/>
                <a:cs typeface="+mn-lt"/>
              </a:rPr>
              <a:t>Spark</a:t>
            </a:r>
            <a:r>
              <a:rPr lang="es-ES" sz="1100" spc="-1">
                <a:solidFill>
                  <a:srgbClr val="FF0000"/>
                </a:solidFill>
                <a:ea typeface="+mn-lt"/>
                <a:cs typeface="+mn-lt"/>
              </a:rPr>
              <a:t>.</a:t>
            </a:r>
          </a:p>
          <a:p>
            <a:pPr marL="171450" indent="-171450" algn="just">
              <a:buFont typeface="Arial"/>
              <a:buChar char="•"/>
            </a:pPr>
            <a:r>
              <a:rPr lang="es-ES" sz="1100" spc="-1" err="1">
                <a:solidFill>
                  <a:srgbClr val="FF0000"/>
                </a:solidFill>
                <a:ea typeface="+mn-lt"/>
                <a:cs typeface="+mn-lt"/>
              </a:rPr>
              <a:t>Support</a:t>
            </a:r>
            <a:r>
              <a:rPr lang="es-ES" sz="1100" spc="-1">
                <a:solidFill>
                  <a:srgbClr val="FF0000"/>
                </a:solidFill>
                <a:ea typeface="+mn-lt"/>
                <a:cs typeface="+mn-lt"/>
              </a:rPr>
              <a:t> in </a:t>
            </a:r>
            <a:r>
              <a:rPr lang="es-ES" sz="1100" spc="-1" err="1">
                <a:solidFill>
                  <a:srgbClr val="FF0000"/>
                </a:solidFill>
                <a:ea typeface="+mn-lt"/>
                <a:cs typeface="+mn-lt"/>
              </a:rPr>
              <a:t>the</a:t>
            </a:r>
            <a:r>
              <a:rPr lang="es-ES" sz="1100" spc="-1">
                <a:solidFill>
                  <a:srgbClr val="FF0000"/>
                </a:solidFill>
                <a:ea typeface="+mn-lt"/>
                <a:cs typeface="+mn-lt"/>
              </a:rPr>
              <a:t> </a:t>
            </a:r>
            <a:r>
              <a:rPr lang="es-ES" sz="1100" spc="-1" err="1">
                <a:solidFill>
                  <a:srgbClr val="FF0000"/>
                </a:solidFill>
                <a:ea typeface="+mn-lt"/>
                <a:cs typeface="+mn-lt"/>
              </a:rPr>
              <a:t>development</a:t>
            </a:r>
            <a:r>
              <a:rPr lang="es-ES" sz="1100" spc="-1">
                <a:solidFill>
                  <a:srgbClr val="FF0000"/>
                </a:solidFill>
                <a:ea typeface="+mn-lt"/>
                <a:cs typeface="+mn-lt"/>
              </a:rPr>
              <a:t> </a:t>
            </a:r>
            <a:r>
              <a:rPr lang="es-ES" sz="1100" spc="-1" err="1">
                <a:solidFill>
                  <a:srgbClr val="FF0000"/>
                </a:solidFill>
                <a:ea typeface="+mn-lt"/>
                <a:cs typeface="+mn-lt"/>
              </a:rPr>
              <a:t>of</a:t>
            </a:r>
            <a:r>
              <a:rPr lang="es-ES" sz="1100" spc="-1">
                <a:solidFill>
                  <a:srgbClr val="FF0000"/>
                </a:solidFill>
                <a:ea typeface="+mn-lt"/>
                <a:cs typeface="+mn-lt"/>
              </a:rPr>
              <a:t> a </a:t>
            </a:r>
            <a:r>
              <a:rPr lang="es-ES" sz="1100" spc="-1" err="1">
                <a:solidFill>
                  <a:srgbClr val="FF0000"/>
                </a:solidFill>
                <a:ea typeface="+mn-lt"/>
                <a:cs typeface="+mn-lt"/>
              </a:rPr>
              <a:t>graph</a:t>
            </a:r>
            <a:r>
              <a:rPr lang="es-ES" sz="1100" spc="-1">
                <a:solidFill>
                  <a:srgbClr val="FF0000"/>
                </a:solidFill>
                <a:ea typeface="+mn-lt"/>
                <a:cs typeface="+mn-lt"/>
              </a:rPr>
              <a:t> in Neo4j, </a:t>
            </a:r>
            <a:r>
              <a:rPr lang="es-ES" sz="1100" spc="-1" err="1">
                <a:solidFill>
                  <a:srgbClr val="FF0000"/>
                </a:solidFill>
                <a:ea typeface="+mn-lt"/>
                <a:cs typeface="+mn-lt"/>
              </a:rPr>
              <a:t>built</a:t>
            </a:r>
            <a:r>
              <a:rPr lang="es-ES" sz="1100" spc="-1">
                <a:solidFill>
                  <a:srgbClr val="FF0000"/>
                </a:solidFill>
                <a:ea typeface="+mn-lt"/>
                <a:cs typeface="+mn-lt"/>
              </a:rPr>
              <a:t> </a:t>
            </a:r>
            <a:r>
              <a:rPr lang="es-ES" sz="1100" spc="-1" err="1">
                <a:solidFill>
                  <a:srgbClr val="FF0000"/>
                </a:solidFill>
                <a:ea typeface="+mn-lt"/>
                <a:cs typeface="+mn-lt"/>
              </a:rPr>
              <a:t>from</a:t>
            </a:r>
            <a:r>
              <a:rPr lang="es-ES" sz="1100" spc="-1">
                <a:solidFill>
                  <a:srgbClr val="FF0000"/>
                </a:solidFill>
                <a:ea typeface="+mn-lt"/>
                <a:cs typeface="+mn-lt"/>
              </a:rPr>
              <a:t> </a:t>
            </a:r>
            <a:r>
              <a:rPr lang="es-ES" sz="1100" spc="-1" err="1">
                <a:solidFill>
                  <a:srgbClr val="FF0000"/>
                </a:solidFill>
                <a:ea typeface="+mn-lt"/>
                <a:cs typeface="+mn-lt"/>
              </a:rPr>
              <a:t>the</a:t>
            </a:r>
            <a:r>
              <a:rPr lang="es-ES" sz="1100" spc="-1">
                <a:solidFill>
                  <a:srgbClr val="FF0000"/>
                </a:solidFill>
                <a:ea typeface="+mn-lt"/>
                <a:cs typeface="+mn-lt"/>
              </a:rPr>
              <a:t> data </a:t>
            </a:r>
            <a:r>
              <a:rPr lang="es-ES" sz="1100" spc="-1" err="1">
                <a:solidFill>
                  <a:srgbClr val="FF0000"/>
                </a:solidFill>
                <a:ea typeface="+mn-lt"/>
                <a:cs typeface="+mn-lt"/>
              </a:rPr>
              <a:t>stored</a:t>
            </a:r>
            <a:r>
              <a:rPr lang="es-ES" sz="1100" spc="-1">
                <a:solidFill>
                  <a:srgbClr val="FF0000"/>
                </a:solidFill>
                <a:ea typeface="+mn-lt"/>
                <a:cs typeface="+mn-lt"/>
              </a:rPr>
              <a:t> in </a:t>
            </a:r>
            <a:r>
              <a:rPr lang="es-ES" sz="1100" spc="-1" err="1">
                <a:solidFill>
                  <a:srgbClr val="FF0000"/>
                </a:solidFill>
                <a:ea typeface="+mn-lt"/>
                <a:cs typeface="+mn-lt"/>
              </a:rPr>
              <a:t>another</a:t>
            </a:r>
            <a:r>
              <a:rPr lang="es-ES" sz="1100" spc="-1">
                <a:solidFill>
                  <a:srgbClr val="FF0000"/>
                </a:solidFill>
                <a:ea typeface="+mn-lt"/>
                <a:cs typeface="+mn-lt"/>
              </a:rPr>
              <a:t> MongoDB </a:t>
            </a:r>
            <a:r>
              <a:rPr lang="es-ES" sz="1100" spc="-1" err="1">
                <a:solidFill>
                  <a:srgbClr val="FF0000"/>
                </a:solidFill>
                <a:ea typeface="+mn-lt"/>
                <a:cs typeface="+mn-lt"/>
              </a:rPr>
              <a:t>database</a:t>
            </a:r>
            <a:r>
              <a:rPr lang="es-ES" sz="1100" spc="-1">
                <a:solidFill>
                  <a:srgbClr val="FF0000"/>
                </a:solidFill>
                <a:ea typeface="+mn-lt"/>
                <a:cs typeface="+mn-lt"/>
              </a:rPr>
              <a:t>.</a:t>
            </a:r>
            <a:endParaRPr lang="es-ES" sz="1750">
              <a:solidFill>
                <a:srgbClr val="FF0000"/>
              </a:solidFill>
              <a:ea typeface="+mn-lt"/>
              <a:cs typeface="+mn-lt"/>
            </a:endParaRPr>
          </a:p>
          <a:p>
            <a:pPr marL="170815" indent="-170815" algn="just">
              <a:buFont typeface="Arial,Sans-Serif"/>
              <a:buChar char="•"/>
            </a:pPr>
            <a:r>
              <a:rPr lang="es-ES" sz="1100" spc="-1">
                <a:solidFill>
                  <a:srgbClr val="FF0000"/>
                </a:solidFill>
                <a:ea typeface="+mn-lt"/>
                <a:cs typeface="+mn-lt"/>
              </a:rPr>
              <a:t>API </a:t>
            </a:r>
            <a:r>
              <a:rPr lang="es-ES" sz="1100" spc="-1" err="1">
                <a:solidFill>
                  <a:srgbClr val="FF0000"/>
                </a:solidFill>
                <a:ea typeface="+mn-lt"/>
                <a:cs typeface="+mn-lt"/>
              </a:rPr>
              <a:t>development</a:t>
            </a:r>
            <a:r>
              <a:rPr lang="es-ES" sz="1100" spc="-1">
                <a:solidFill>
                  <a:srgbClr val="FF0000"/>
                </a:solidFill>
                <a:ea typeface="+mn-lt"/>
                <a:cs typeface="+mn-lt"/>
              </a:rPr>
              <a:t> in </a:t>
            </a:r>
            <a:r>
              <a:rPr lang="es-ES" sz="1100" spc="-1" err="1">
                <a:solidFill>
                  <a:srgbClr val="FF0000"/>
                </a:solidFill>
                <a:ea typeface="+mn-lt"/>
                <a:cs typeface="+mn-lt"/>
              </a:rPr>
              <a:t>both</a:t>
            </a:r>
            <a:r>
              <a:rPr lang="es-ES" sz="1100" spc="-1">
                <a:solidFill>
                  <a:srgbClr val="FF0000"/>
                </a:solidFill>
                <a:ea typeface="+mn-lt"/>
                <a:cs typeface="+mn-lt"/>
              </a:rPr>
              <a:t> Python and Java.</a:t>
            </a:r>
            <a:endParaRPr lang="en-US" sz="1100" spc="-1">
              <a:solidFill>
                <a:srgbClr val="FF0000"/>
              </a:solidFill>
              <a:ea typeface="+mn-lt"/>
              <a:cs typeface="+mn-lt"/>
            </a:endParaRPr>
          </a:p>
          <a:p>
            <a:pPr marL="170815" indent="-170815" algn="just">
              <a:buFont typeface="Arial,Sans-Serif"/>
              <a:buChar char="•"/>
            </a:pPr>
            <a:endParaRPr lang="es-ES" sz="1100" b="1" spc="-1">
              <a:solidFill>
                <a:srgbClr val="FF0000"/>
              </a:solidFill>
              <a:ea typeface="+mn-lt"/>
              <a:cs typeface="+mn-lt"/>
            </a:endParaRPr>
          </a:p>
          <a:p>
            <a:pPr algn="just"/>
            <a:r>
              <a:rPr lang="es-ES" sz="1100" b="1" spc="-1">
                <a:solidFill>
                  <a:srgbClr val="FF0000"/>
                </a:solidFill>
                <a:ea typeface="+mn-lt"/>
                <a:cs typeface="+mn-lt"/>
              </a:rPr>
              <a:t>SUNAT (Agencia Tributaria Perú)</a:t>
            </a:r>
            <a:endParaRPr lang="es-ES" sz="1100" b="1" spc="-1">
              <a:solidFill>
                <a:srgbClr val="FF0000"/>
              </a:solidFill>
            </a:endParaRPr>
          </a:p>
          <a:p>
            <a:pPr algn="just"/>
            <a:endParaRPr lang="es-ES" sz="1100" b="1" spc="-1">
              <a:solidFill>
                <a:srgbClr val="FF0000"/>
              </a:solidFill>
              <a:ea typeface="+mn-lt"/>
              <a:cs typeface="+mn-lt"/>
            </a:endParaRPr>
          </a:p>
          <a:p>
            <a:pPr marL="171450" indent="-171450" algn="just">
              <a:buClr>
                <a:srgbClr val="1A3B47"/>
              </a:buClr>
              <a:buFont typeface="Arial"/>
              <a:buChar char="•"/>
            </a:pPr>
            <a:r>
              <a:rPr lang="es-ES" sz="1100" spc="-1" err="1">
                <a:solidFill>
                  <a:srgbClr val="FF0000"/>
                </a:solidFill>
                <a:ea typeface="+mn-lt"/>
                <a:cs typeface="+mn-lt"/>
              </a:rPr>
              <a:t>Definition</a:t>
            </a:r>
            <a:r>
              <a:rPr lang="es-ES" sz="1100" spc="-1">
                <a:solidFill>
                  <a:srgbClr val="FF0000"/>
                </a:solidFill>
                <a:ea typeface="+mn-lt"/>
                <a:cs typeface="+mn-lt"/>
              </a:rPr>
              <a:t> </a:t>
            </a:r>
            <a:r>
              <a:rPr lang="es-ES" sz="1100" spc="-1" err="1">
                <a:solidFill>
                  <a:srgbClr val="FF0000"/>
                </a:solidFill>
                <a:ea typeface="+mn-lt"/>
                <a:cs typeface="+mn-lt"/>
              </a:rPr>
              <a:t>of</a:t>
            </a:r>
            <a:r>
              <a:rPr lang="es-ES" sz="1100" spc="-1">
                <a:solidFill>
                  <a:srgbClr val="FF0000"/>
                </a:solidFill>
                <a:ea typeface="+mn-lt"/>
                <a:cs typeface="+mn-lt"/>
              </a:rPr>
              <a:t> </a:t>
            </a:r>
            <a:r>
              <a:rPr lang="es-ES" sz="1100" spc="-1" err="1">
                <a:solidFill>
                  <a:srgbClr val="FF0000"/>
                </a:solidFill>
                <a:ea typeface="+mn-lt"/>
                <a:cs typeface="+mn-lt"/>
              </a:rPr>
              <a:t>the</a:t>
            </a:r>
            <a:r>
              <a:rPr lang="es-ES" sz="1100" spc="-1">
                <a:solidFill>
                  <a:srgbClr val="FF0000"/>
                </a:solidFill>
                <a:ea typeface="+mn-lt"/>
                <a:cs typeface="+mn-lt"/>
              </a:rPr>
              <a:t> </a:t>
            </a:r>
            <a:r>
              <a:rPr lang="es-ES" sz="1100" spc="-1" err="1">
                <a:solidFill>
                  <a:srgbClr val="FF0000"/>
                </a:solidFill>
                <a:ea typeface="+mn-lt"/>
                <a:cs typeface="+mn-lt"/>
              </a:rPr>
              <a:t>entities</a:t>
            </a:r>
            <a:r>
              <a:rPr lang="es-ES" sz="1100" spc="-1">
                <a:solidFill>
                  <a:srgbClr val="FF0000"/>
                </a:solidFill>
                <a:ea typeface="+mn-lt"/>
                <a:cs typeface="+mn-lt"/>
              </a:rPr>
              <a:t> in </a:t>
            </a:r>
            <a:r>
              <a:rPr lang="es-ES" sz="1100" spc="-1" err="1">
                <a:solidFill>
                  <a:srgbClr val="FF0000"/>
                </a:solidFill>
                <a:ea typeface="+mn-lt"/>
                <a:cs typeface="+mn-lt"/>
              </a:rPr>
              <a:t>the</a:t>
            </a:r>
            <a:r>
              <a:rPr lang="es-ES" sz="1100" spc="-1">
                <a:solidFill>
                  <a:srgbClr val="FF0000"/>
                </a:solidFill>
                <a:ea typeface="+mn-lt"/>
                <a:cs typeface="+mn-lt"/>
              </a:rPr>
              <a:t> </a:t>
            </a:r>
            <a:r>
              <a:rPr lang="es-ES" sz="1100" spc="-1" err="1">
                <a:solidFill>
                  <a:srgbClr val="FF0000"/>
                </a:solidFill>
                <a:ea typeface="+mn-lt"/>
                <a:cs typeface="+mn-lt"/>
              </a:rPr>
              <a:t>logic</a:t>
            </a:r>
            <a:r>
              <a:rPr lang="es-ES" sz="1100" spc="-1">
                <a:solidFill>
                  <a:srgbClr val="FF0000"/>
                </a:solidFill>
                <a:ea typeface="+mn-lt"/>
                <a:cs typeface="+mn-lt"/>
              </a:rPr>
              <a:t> </a:t>
            </a:r>
            <a:r>
              <a:rPr lang="es-ES" sz="1100" spc="-1" err="1">
                <a:solidFill>
                  <a:srgbClr val="FF0000"/>
                </a:solidFill>
                <a:ea typeface="+mn-lt"/>
                <a:cs typeface="+mn-lt"/>
              </a:rPr>
              <a:t>model</a:t>
            </a:r>
            <a:r>
              <a:rPr lang="es-ES" sz="1100" spc="-1">
                <a:solidFill>
                  <a:srgbClr val="FF0000"/>
                </a:solidFill>
                <a:ea typeface="+mn-lt"/>
                <a:cs typeface="+mn-lt"/>
              </a:rPr>
              <a:t>.</a:t>
            </a:r>
            <a:endParaRPr lang="es-ES">
              <a:solidFill>
                <a:srgbClr val="FF0000"/>
              </a:solidFill>
              <a:ea typeface="+mn-lt"/>
              <a:cs typeface="+mn-lt"/>
            </a:endParaRPr>
          </a:p>
          <a:p>
            <a:pPr marL="171450" indent="-171450" algn="just">
              <a:buClr>
                <a:srgbClr val="1A3B47"/>
              </a:buClr>
              <a:buFont typeface="Arial"/>
              <a:buChar char="•"/>
            </a:pPr>
            <a:r>
              <a:rPr lang="es-ES" sz="1100" spc="-1">
                <a:solidFill>
                  <a:srgbClr val="FF0000"/>
                </a:solidFill>
                <a:ea typeface="+mn-lt"/>
                <a:cs typeface="+mn-lt"/>
              </a:rPr>
              <a:t>Transfer </a:t>
            </a:r>
            <a:r>
              <a:rPr lang="es-ES" sz="1100" spc="-1" err="1">
                <a:solidFill>
                  <a:srgbClr val="FF0000"/>
                </a:solidFill>
                <a:ea typeface="+mn-lt"/>
                <a:cs typeface="+mn-lt"/>
              </a:rPr>
              <a:t>of</a:t>
            </a:r>
            <a:r>
              <a:rPr lang="es-ES" sz="1100" spc="-1">
                <a:solidFill>
                  <a:srgbClr val="FF0000"/>
                </a:solidFill>
                <a:ea typeface="+mn-lt"/>
                <a:cs typeface="+mn-lt"/>
              </a:rPr>
              <a:t> </a:t>
            </a:r>
            <a:r>
              <a:rPr lang="es-ES" sz="1100" spc="-1" err="1">
                <a:solidFill>
                  <a:srgbClr val="FF0000"/>
                </a:solidFill>
                <a:ea typeface="+mn-lt"/>
                <a:cs typeface="+mn-lt"/>
              </a:rPr>
              <a:t>customer</a:t>
            </a:r>
            <a:r>
              <a:rPr lang="es-ES" sz="1100" spc="-1">
                <a:solidFill>
                  <a:srgbClr val="FF0000"/>
                </a:solidFill>
                <a:ea typeface="+mn-lt"/>
                <a:cs typeface="+mn-lt"/>
              </a:rPr>
              <a:t> </a:t>
            </a:r>
            <a:r>
              <a:rPr lang="es-ES" sz="1100" spc="-1" err="1">
                <a:solidFill>
                  <a:srgbClr val="FF0000"/>
                </a:solidFill>
                <a:ea typeface="+mn-lt"/>
                <a:cs typeface="+mn-lt"/>
              </a:rPr>
              <a:t>requirements</a:t>
            </a:r>
            <a:r>
              <a:rPr lang="es-ES" sz="1100" spc="-1">
                <a:solidFill>
                  <a:srgbClr val="FF0000"/>
                </a:solidFill>
                <a:ea typeface="+mn-lt"/>
                <a:cs typeface="+mn-lt"/>
              </a:rPr>
              <a:t> </a:t>
            </a:r>
            <a:r>
              <a:rPr lang="es-ES" sz="1100" spc="-1" err="1">
                <a:solidFill>
                  <a:srgbClr val="FF0000"/>
                </a:solidFill>
                <a:ea typeface="+mn-lt"/>
                <a:cs typeface="+mn-lt"/>
              </a:rPr>
              <a:t>to</a:t>
            </a:r>
            <a:r>
              <a:rPr lang="es-ES" sz="1100" spc="-1">
                <a:solidFill>
                  <a:srgbClr val="FF0000"/>
                </a:solidFill>
                <a:ea typeface="+mn-lt"/>
                <a:cs typeface="+mn-lt"/>
              </a:rPr>
              <a:t> </a:t>
            </a:r>
            <a:r>
              <a:rPr lang="es-ES" sz="1100" spc="-1" err="1">
                <a:solidFill>
                  <a:srgbClr val="FF0000"/>
                </a:solidFill>
                <a:ea typeface="+mn-lt"/>
                <a:cs typeface="+mn-lt"/>
              </a:rPr>
              <a:t>the</a:t>
            </a:r>
            <a:r>
              <a:rPr lang="es-ES" sz="1100" spc="-1">
                <a:solidFill>
                  <a:srgbClr val="FF0000"/>
                </a:solidFill>
                <a:ea typeface="+mn-lt"/>
                <a:cs typeface="+mn-lt"/>
              </a:rPr>
              <a:t> </a:t>
            </a:r>
            <a:r>
              <a:rPr lang="es-ES" sz="1100" spc="-1" err="1">
                <a:solidFill>
                  <a:srgbClr val="FF0000"/>
                </a:solidFill>
                <a:ea typeface="+mn-lt"/>
                <a:cs typeface="+mn-lt"/>
              </a:rPr>
              <a:t>logical</a:t>
            </a:r>
            <a:r>
              <a:rPr lang="es-ES" sz="1100" spc="-1">
                <a:solidFill>
                  <a:srgbClr val="FF0000"/>
                </a:solidFill>
                <a:ea typeface="+mn-lt"/>
                <a:cs typeface="+mn-lt"/>
              </a:rPr>
              <a:t> and </a:t>
            </a:r>
            <a:r>
              <a:rPr lang="es-ES" sz="1100" spc="-1" err="1">
                <a:solidFill>
                  <a:srgbClr val="FF0000"/>
                </a:solidFill>
                <a:ea typeface="+mn-lt"/>
                <a:cs typeface="+mn-lt"/>
              </a:rPr>
              <a:t>physical</a:t>
            </a:r>
            <a:r>
              <a:rPr lang="es-ES" sz="1100" spc="-1">
                <a:solidFill>
                  <a:srgbClr val="FF0000"/>
                </a:solidFill>
                <a:ea typeface="+mn-lt"/>
                <a:cs typeface="+mn-lt"/>
              </a:rPr>
              <a:t> </a:t>
            </a:r>
            <a:r>
              <a:rPr lang="es-ES" sz="1100" spc="-1" err="1">
                <a:solidFill>
                  <a:srgbClr val="FF0000"/>
                </a:solidFill>
                <a:ea typeface="+mn-lt"/>
                <a:cs typeface="+mn-lt"/>
              </a:rPr>
              <a:t>model</a:t>
            </a:r>
            <a:r>
              <a:rPr lang="es-ES" sz="1100" spc="-1">
                <a:solidFill>
                  <a:srgbClr val="FF0000"/>
                </a:solidFill>
                <a:ea typeface="+mn-lt"/>
                <a:cs typeface="+mn-lt"/>
              </a:rPr>
              <a:t>, </a:t>
            </a:r>
            <a:r>
              <a:rPr lang="es-ES" sz="1100" spc="-1" err="1">
                <a:solidFill>
                  <a:srgbClr val="FF0000"/>
                </a:solidFill>
                <a:ea typeface="+mn-lt"/>
                <a:cs typeface="+mn-lt"/>
              </a:rPr>
              <a:t>integrating</a:t>
            </a:r>
            <a:r>
              <a:rPr lang="es-ES" sz="1100" spc="-1">
                <a:solidFill>
                  <a:srgbClr val="FF0000"/>
                </a:solidFill>
                <a:ea typeface="+mn-lt"/>
                <a:cs typeface="+mn-lt"/>
              </a:rPr>
              <a:t> </a:t>
            </a:r>
            <a:r>
              <a:rPr lang="es-ES" sz="1100" spc="-1" err="1">
                <a:solidFill>
                  <a:srgbClr val="FF0000"/>
                </a:solidFill>
                <a:ea typeface="+mn-lt"/>
                <a:cs typeface="+mn-lt"/>
              </a:rPr>
              <a:t>them</a:t>
            </a:r>
            <a:r>
              <a:rPr lang="es-ES" sz="1100" spc="-1">
                <a:solidFill>
                  <a:srgbClr val="FF0000"/>
                </a:solidFill>
                <a:ea typeface="+mn-lt"/>
                <a:cs typeface="+mn-lt"/>
              </a:rPr>
              <a:t> </a:t>
            </a:r>
            <a:r>
              <a:rPr lang="es-ES" sz="1100" spc="-1" err="1">
                <a:solidFill>
                  <a:srgbClr val="FF0000"/>
                </a:solidFill>
                <a:ea typeface="+mn-lt"/>
                <a:cs typeface="+mn-lt"/>
              </a:rPr>
              <a:t>with</a:t>
            </a:r>
            <a:r>
              <a:rPr lang="es-ES" sz="1100" spc="-1">
                <a:solidFill>
                  <a:srgbClr val="FF0000"/>
                </a:solidFill>
                <a:ea typeface="+mn-lt"/>
                <a:cs typeface="+mn-lt"/>
              </a:rPr>
              <a:t> </a:t>
            </a:r>
            <a:r>
              <a:rPr lang="es-ES" sz="1100" spc="-1" err="1">
                <a:solidFill>
                  <a:srgbClr val="FF0000"/>
                </a:solidFill>
                <a:ea typeface="+mn-lt"/>
                <a:cs typeface="+mn-lt"/>
              </a:rPr>
              <a:t>existing</a:t>
            </a:r>
            <a:r>
              <a:rPr lang="es-ES" sz="1100" spc="-1">
                <a:solidFill>
                  <a:srgbClr val="FF0000"/>
                </a:solidFill>
                <a:ea typeface="+mn-lt"/>
                <a:cs typeface="+mn-lt"/>
              </a:rPr>
              <a:t> </a:t>
            </a:r>
            <a:r>
              <a:rPr lang="es-ES" sz="1100" spc="-1" err="1">
                <a:solidFill>
                  <a:srgbClr val="FF0000"/>
                </a:solidFill>
                <a:ea typeface="+mn-lt"/>
                <a:cs typeface="+mn-lt"/>
              </a:rPr>
              <a:t>definitions</a:t>
            </a:r>
            <a:r>
              <a:rPr lang="es-ES" sz="1100" spc="-1">
                <a:solidFill>
                  <a:srgbClr val="FF0000"/>
                </a:solidFill>
                <a:ea typeface="+mn-lt"/>
                <a:cs typeface="+mn-lt"/>
              </a:rPr>
              <a:t> in MongoDB </a:t>
            </a:r>
            <a:r>
              <a:rPr lang="es-ES" sz="1100" spc="-1" err="1">
                <a:solidFill>
                  <a:srgbClr val="FF0000"/>
                </a:solidFill>
                <a:ea typeface="+mn-lt"/>
                <a:cs typeface="+mn-lt"/>
              </a:rPr>
              <a:t>collections</a:t>
            </a:r>
            <a:r>
              <a:rPr lang="es-ES" sz="1100" spc="-1">
                <a:solidFill>
                  <a:srgbClr val="FF0000"/>
                </a:solidFill>
                <a:ea typeface="+mn-lt"/>
                <a:cs typeface="+mn-lt"/>
              </a:rPr>
              <a:t>.</a:t>
            </a:r>
          </a:p>
          <a:p>
            <a:pPr marL="170815" indent="-170815" algn="just">
              <a:buClr>
                <a:srgbClr val="1A3B47"/>
              </a:buClr>
              <a:buFont typeface="Arial,Sans-Serif"/>
              <a:buChar char="•"/>
            </a:pPr>
            <a:endParaRPr lang="es-ES" sz="1100" spc="-1">
              <a:solidFill>
                <a:srgbClr val="FF0000"/>
              </a:solidFill>
              <a:ea typeface="+mn-lt"/>
              <a:cs typeface="+mn-lt"/>
            </a:endParaRPr>
          </a:p>
        </p:txBody>
      </p:sp>
      <p:sp>
        <p:nvSpPr>
          <p:cNvPr id="28" name="CuadroTexto 45_2"/>
          <p:cNvSpPr/>
          <p:nvPr/>
        </p:nvSpPr>
        <p:spPr>
          <a:xfrm>
            <a:off x="5312879" y="3139402"/>
            <a:ext cx="4007341" cy="1275819"/>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algn="just"/>
            <a:r>
              <a:rPr lang="es-ES" sz="1100" b="1" spc="-1">
                <a:solidFill>
                  <a:srgbClr val="FF0000"/>
                </a:solidFill>
                <a:latin typeface="Soho Gothic Pro Light"/>
              </a:rPr>
              <a:t>Enterprise </a:t>
            </a:r>
            <a:r>
              <a:rPr lang="es-ES" sz="1100" b="1" spc="-1" err="1">
                <a:solidFill>
                  <a:srgbClr val="FF0000"/>
                </a:solidFill>
                <a:latin typeface="Soho Gothic Pro Light"/>
              </a:rPr>
              <a:t>Consulting</a:t>
            </a:r>
            <a:r>
              <a:rPr lang="es-ES" sz="1100" b="1" spc="-1">
                <a:solidFill>
                  <a:srgbClr val="FF0000"/>
                </a:solidFill>
                <a:latin typeface="Soho Gothic Pro Light"/>
              </a:rPr>
              <a:t> and Training </a:t>
            </a:r>
            <a:r>
              <a:rPr lang="es-ES" sz="1100" b="1" spc="-1">
                <a:solidFill>
                  <a:srgbClr val="FF0000"/>
                </a:solidFill>
                <a:ea typeface="Soho Gothic Pro Light"/>
              </a:rPr>
              <a:t>(Barcelona, España)</a:t>
            </a:r>
            <a:endParaRPr lang="es-ES" sz="1100" spc="-1">
              <a:solidFill>
                <a:srgbClr val="FF0000"/>
              </a:solidFill>
              <a:latin typeface="Arial"/>
              <a:cs typeface="Arial"/>
            </a:endParaRPr>
          </a:p>
          <a:p>
            <a:pPr algn="just"/>
            <a:r>
              <a:rPr lang="es-ES" sz="1100" spc="-1">
                <a:solidFill>
                  <a:srgbClr val="FF0000"/>
                </a:solidFill>
                <a:ea typeface="+mn-lt"/>
                <a:cs typeface="+mn-lt"/>
              </a:rPr>
              <a:t>Web </a:t>
            </a:r>
            <a:r>
              <a:rPr lang="es-ES" sz="1100" spc="-1" err="1">
                <a:solidFill>
                  <a:srgbClr val="FF0000"/>
                </a:solidFill>
                <a:ea typeface="+mn-lt"/>
                <a:cs typeface="+mn-lt"/>
              </a:rPr>
              <a:t>developer</a:t>
            </a:r>
            <a:endParaRPr lang="es-ES" err="1">
              <a:solidFill>
                <a:srgbClr val="FF0000"/>
              </a:solidFill>
            </a:endParaRPr>
          </a:p>
          <a:p>
            <a:pPr algn="just">
              <a:lnSpc>
                <a:spcPct val="100000"/>
              </a:lnSpc>
            </a:pPr>
            <a:endParaRPr lang="es-ES" sz="1100" spc="-1">
              <a:solidFill>
                <a:srgbClr val="FF0000"/>
              </a:solidFill>
              <a:latin typeface="Arial"/>
            </a:endParaRPr>
          </a:p>
          <a:p>
            <a:pPr marL="170815" indent="-170815" algn="just">
              <a:buClr>
                <a:srgbClr val="1A3B47"/>
              </a:buClr>
              <a:buFont typeface="Arial,Sans-Serif"/>
              <a:buChar char="•"/>
            </a:pPr>
            <a:r>
              <a:rPr lang="es-ES" sz="1100" spc="-1" err="1">
                <a:solidFill>
                  <a:srgbClr val="FF0000"/>
                </a:solidFill>
                <a:ea typeface="+mn-lt"/>
                <a:cs typeface="+mn-lt"/>
              </a:rPr>
              <a:t>Development</a:t>
            </a:r>
            <a:r>
              <a:rPr lang="es-ES" sz="1100" spc="-1">
                <a:solidFill>
                  <a:srgbClr val="FF0000"/>
                </a:solidFill>
                <a:ea typeface="+mn-lt"/>
                <a:cs typeface="+mn-lt"/>
              </a:rPr>
              <a:t> </a:t>
            </a:r>
            <a:r>
              <a:rPr lang="es-ES" sz="1100" spc="-1" err="1">
                <a:solidFill>
                  <a:srgbClr val="FF0000"/>
                </a:solidFill>
                <a:ea typeface="+mn-lt"/>
                <a:cs typeface="+mn-lt"/>
              </a:rPr>
              <a:t>of</a:t>
            </a:r>
            <a:r>
              <a:rPr lang="es-ES" sz="1100" spc="-1">
                <a:solidFill>
                  <a:srgbClr val="FF0000"/>
                </a:solidFill>
                <a:ea typeface="+mn-lt"/>
                <a:cs typeface="+mn-lt"/>
              </a:rPr>
              <a:t> web </a:t>
            </a:r>
            <a:r>
              <a:rPr lang="es-ES" sz="1100" spc="-1" err="1">
                <a:solidFill>
                  <a:srgbClr val="FF0000"/>
                </a:solidFill>
                <a:ea typeface="+mn-lt"/>
                <a:cs typeface="+mn-lt"/>
              </a:rPr>
              <a:t>applications</a:t>
            </a:r>
            <a:r>
              <a:rPr lang="es-ES" sz="1100" spc="-1">
                <a:solidFill>
                  <a:srgbClr val="FF0000"/>
                </a:solidFill>
                <a:ea typeface="+mn-lt"/>
                <a:cs typeface="+mn-lt"/>
              </a:rPr>
              <a:t> in </a:t>
            </a:r>
            <a:r>
              <a:rPr lang="es-ES" sz="1100" spc="-1" err="1">
                <a:solidFill>
                  <a:srgbClr val="FF0000"/>
                </a:solidFill>
                <a:ea typeface="+mn-lt"/>
                <a:cs typeface="+mn-lt"/>
              </a:rPr>
              <a:t>Php</a:t>
            </a:r>
            <a:r>
              <a:rPr lang="es-ES" sz="1100" spc="-1">
                <a:solidFill>
                  <a:srgbClr val="FF0000"/>
                </a:solidFill>
                <a:ea typeface="+mn-lt"/>
                <a:cs typeface="+mn-lt"/>
              </a:rPr>
              <a:t> and </a:t>
            </a:r>
            <a:r>
              <a:rPr lang="es-ES" sz="1100" spc="-1" err="1">
                <a:solidFill>
                  <a:srgbClr val="FF0000"/>
                </a:solidFill>
                <a:ea typeface="+mn-lt"/>
                <a:cs typeface="+mn-lt"/>
              </a:rPr>
              <a:t>Javascript</a:t>
            </a:r>
            <a:r>
              <a:rPr lang="es-ES" sz="1100" spc="-1">
                <a:solidFill>
                  <a:srgbClr val="FF0000"/>
                </a:solidFill>
                <a:ea typeface="+mn-lt"/>
                <a:cs typeface="+mn-lt"/>
              </a:rPr>
              <a:t>, </a:t>
            </a:r>
            <a:r>
              <a:rPr lang="es-ES" sz="1100" spc="-1" err="1">
                <a:solidFill>
                  <a:srgbClr val="FF0000"/>
                </a:solidFill>
                <a:ea typeface="+mn-lt"/>
                <a:cs typeface="+mn-lt"/>
              </a:rPr>
              <a:t>CodeIgniter</a:t>
            </a:r>
            <a:r>
              <a:rPr lang="es-ES" sz="1100" spc="-1">
                <a:solidFill>
                  <a:srgbClr val="FF0000"/>
                </a:solidFill>
                <a:ea typeface="+mn-lt"/>
                <a:cs typeface="+mn-lt"/>
              </a:rPr>
              <a:t>, Zend, Slim, Doctrine, </a:t>
            </a:r>
            <a:r>
              <a:rPr lang="es-ES" sz="1100" spc="-1" err="1">
                <a:solidFill>
                  <a:srgbClr val="FF0000"/>
                </a:solidFill>
                <a:ea typeface="+mn-lt"/>
                <a:cs typeface="+mn-lt"/>
              </a:rPr>
              <a:t>Ionic</a:t>
            </a:r>
            <a:r>
              <a:rPr lang="es-ES" sz="1100" spc="-1">
                <a:solidFill>
                  <a:srgbClr val="FF0000"/>
                </a:solidFill>
                <a:ea typeface="+mn-lt"/>
                <a:cs typeface="+mn-lt"/>
              </a:rPr>
              <a:t>, Bootstrap, </a:t>
            </a:r>
            <a:r>
              <a:rPr lang="es-ES" sz="1100" spc="-1" err="1">
                <a:solidFill>
                  <a:srgbClr val="FF0000"/>
                </a:solidFill>
                <a:ea typeface="+mn-lt"/>
                <a:cs typeface="+mn-lt"/>
              </a:rPr>
              <a:t>AngularJS</a:t>
            </a:r>
            <a:r>
              <a:rPr lang="es-ES" sz="1100" spc="-1">
                <a:solidFill>
                  <a:srgbClr val="FF0000"/>
                </a:solidFill>
                <a:ea typeface="+mn-lt"/>
                <a:cs typeface="+mn-lt"/>
              </a:rPr>
              <a:t> </a:t>
            </a:r>
            <a:r>
              <a:rPr lang="es-ES" sz="1100" spc="-1" err="1">
                <a:solidFill>
                  <a:srgbClr val="FF0000"/>
                </a:solidFill>
                <a:ea typeface="+mn-lt"/>
                <a:cs typeface="+mn-lt"/>
              </a:rPr>
              <a:t>frameworks</a:t>
            </a:r>
            <a:r>
              <a:rPr lang="es-ES" sz="1100" spc="-1">
                <a:solidFill>
                  <a:srgbClr val="FF0000"/>
                </a:solidFill>
                <a:ea typeface="+mn-lt"/>
                <a:cs typeface="+mn-lt"/>
              </a:rPr>
              <a:t> and </a:t>
            </a:r>
            <a:r>
              <a:rPr lang="es-ES" sz="1100" spc="-1" err="1">
                <a:solidFill>
                  <a:srgbClr val="FF0000"/>
                </a:solidFill>
                <a:ea typeface="+mn-lt"/>
                <a:cs typeface="+mn-lt"/>
              </a:rPr>
              <a:t>Mysql</a:t>
            </a:r>
            <a:r>
              <a:rPr lang="es-ES" sz="1100" spc="-1">
                <a:solidFill>
                  <a:srgbClr val="FF0000"/>
                </a:solidFill>
                <a:ea typeface="+mn-lt"/>
                <a:cs typeface="+mn-lt"/>
              </a:rPr>
              <a:t> </a:t>
            </a:r>
            <a:r>
              <a:rPr lang="es-ES" sz="1100" spc="-1" err="1">
                <a:solidFill>
                  <a:srgbClr val="FF0000"/>
                </a:solidFill>
                <a:ea typeface="+mn-lt"/>
                <a:cs typeface="+mn-lt"/>
              </a:rPr>
              <a:t>database</a:t>
            </a:r>
            <a:r>
              <a:rPr lang="es-ES" sz="1100" spc="-1">
                <a:solidFill>
                  <a:srgbClr val="FF0000"/>
                </a:solidFill>
                <a:ea typeface="+mn-lt"/>
                <a:cs typeface="+mn-lt"/>
              </a:rPr>
              <a:t> </a:t>
            </a:r>
            <a:r>
              <a:rPr lang="es-ES" sz="1100" spc="-1" err="1">
                <a:solidFill>
                  <a:srgbClr val="FF0000"/>
                </a:solidFill>
                <a:ea typeface="+mn-lt"/>
                <a:cs typeface="+mn-lt"/>
              </a:rPr>
              <a:t>for</a:t>
            </a:r>
            <a:r>
              <a:rPr lang="es-ES" sz="1100" spc="-1">
                <a:solidFill>
                  <a:srgbClr val="FF0000"/>
                </a:solidFill>
                <a:ea typeface="+mn-lt"/>
                <a:cs typeface="+mn-lt"/>
              </a:rPr>
              <a:t> </a:t>
            </a:r>
            <a:r>
              <a:rPr lang="es-ES" sz="1100" spc="-1" err="1">
                <a:solidFill>
                  <a:srgbClr val="FF0000"/>
                </a:solidFill>
                <a:ea typeface="+mn-lt"/>
                <a:cs typeface="+mn-lt"/>
              </a:rPr>
              <a:t>both</a:t>
            </a:r>
            <a:r>
              <a:rPr lang="es-ES" sz="1100" spc="-1">
                <a:solidFill>
                  <a:srgbClr val="FF0000"/>
                </a:solidFill>
                <a:ea typeface="+mn-lt"/>
                <a:cs typeface="+mn-lt"/>
              </a:rPr>
              <a:t> Linux and Windows </a:t>
            </a:r>
            <a:r>
              <a:rPr lang="es-ES" sz="1100" spc="-1" err="1">
                <a:solidFill>
                  <a:srgbClr val="FF0000"/>
                </a:solidFill>
                <a:ea typeface="+mn-lt"/>
                <a:cs typeface="+mn-lt"/>
              </a:rPr>
              <a:t>environments</a:t>
            </a:r>
            <a:r>
              <a:rPr lang="es-ES" sz="1100" spc="-1">
                <a:solidFill>
                  <a:srgbClr val="FF0000"/>
                </a:solidFill>
                <a:ea typeface="+mn-lt"/>
                <a:cs typeface="+mn-lt"/>
              </a:rPr>
              <a:t>.</a:t>
            </a:r>
          </a:p>
        </p:txBody>
      </p:sp>
      <p:sp>
        <p:nvSpPr>
          <p:cNvPr id="29" name="CuadroTexto 48_2"/>
          <p:cNvSpPr/>
          <p:nvPr/>
        </p:nvSpPr>
        <p:spPr>
          <a:xfrm>
            <a:off x="4901400" y="3141685"/>
            <a:ext cx="604023" cy="78483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900" b="1" spc="-1" err="1">
                <a:solidFill>
                  <a:srgbClr val="FF0000"/>
                </a:solidFill>
                <a:latin typeface="Soho Gothic Pro Light"/>
              </a:rPr>
              <a:t>Apr</a:t>
            </a:r>
            <a:r>
              <a:rPr lang="es-ES" sz="900" b="1" spc="-1">
                <a:solidFill>
                  <a:srgbClr val="FF0000"/>
                </a:solidFill>
                <a:latin typeface="Soho Gothic Pro Light"/>
              </a:rPr>
              <a:t> 2015     </a:t>
            </a:r>
          </a:p>
          <a:p>
            <a:pPr>
              <a:lnSpc>
                <a:spcPct val="100000"/>
              </a:lnSpc>
            </a:pPr>
            <a:r>
              <a:rPr lang="es-ES" sz="900" b="1" spc="-1">
                <a:solidFill>
                  <a:srgbClr val="FF0000"/>
                </a:solidFill>
                <a:latin typeface="Soho Gothic Pro Light"/>
              </a:rPr>
              <a:t>—</a:t>
            </a:r>
          </a:p>
          <a:p>
            <a:r>
              <a:rPr lang="es-ES" sz="900" b="1" spc="-1" err="1">
                <a:solidFill>
                  <a:srgbClr val="FF0000"/>
                </a:solidFill>
                <a:latin typeface="Soho Gothic Pro Light"/>
              </a:rPr>
              <a:t>Dec</a:t>
            </a:r>
            <a:r>
              <a:rPr lang="es-ES" sz="900" b="1" spc="-1">
                <a:solidFill>
                  <a:srgbClr val="FF0000"/>
                </a:solidFill>
                <a:latin typeface="Soho Gothic Pro Light"/>
              </a:rPr>
              <a:t> 2014</a:t>
            </a:r>
          </a:p>
        </p:txBody>
      </p:sp>
      <p:sp>
        <p:nvSpPr>
          <p:cNvPr id="32" name="CuadroTexto 39_0"/>
          <p:cNvSpPr/>
          <p:nvPr/>
        </p:nvSpPr>
        <p:spPr>
          <a:xfrm>
            <a:off x="240120" y="1394381"/>
            <a:ext cx="551520" cy="78483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b="1" strike="noStrike" spc="-1">
                <a:solidFill>
                  <a:srgbClr val="FF0000"/>
                </a:solidFill>
                <a:latin typeface="Soho Gothic Pro Light"/>
                <a:ea typeface="Soho Gothic Pro Light"/>
              </a:rPr>
              <a:t>ACT</a:t>
            </a:r>
            <a:endParaRPr lang="es-ES" sz="900" b="1" strike="noStrike" spc="-1">
              <a:solidFill>
                <a:srgbClr val="FF0000"/>
              </a:solidFill>
              <a:latin typeface="Arial"/>
              <a:cs typeface="Arial"/>
            </a:endParaRPr>
          </a:p>
          <a:p>
            <a:pPr>
              <a:lnSpc>
                <a:spcPct val="100000"/>
              </a:lnSpc>
            </a:pPr>
            <a:r>
              <a:rPr lang="es-ES" sz="900" b="1" strike="noStrike" spc="-1">
                <a:solidFill>
                  <a:srgbClr val="FF0000"/>
                </a:solidFill>
                <a:latin typeface="Soho Gothic Pro Light"/>
                <a:ea typeface="Soho Gothic Pro Light"/>
              </a:rPr>
              <a:t>—</a:t>
            </a:r>
            <a:endParaRPr lang="es-ES" sz="900" b="1" strike="noStrike" spc="-1">
              <a:solidFill>
                <a:srgbClr val="FF0000"/>
              </a:solidFill>
              <a:latin typeface="Arial"/>
              <a:cs typeface="Arial"/>
            </a:endParaRPr>
          </a:p>
          <a:p>
            <a:r>
              <a:rPr lang="es-ES" sz="900" b="1" spc="-1">
                <a:solidFill>
                  <a:srgbClr val="FF0000"/>
                </a:solidFill>
                <a:latin typeface="Soho Gothic Pro Light"/>
              </a:rPr>
              <a:t>Sept 2019</a:t>
            </a:r>
            <a:endParaRPr lang="es-ES" sz="900" b="1" strike="noStrike" spc="-1">
              <a:solidFill>
                <a:srgbClr val="FF0000"/>
              </a:solidFill>
              <a:latin typeface="Arial"/>
              <a:cs typeface="Arial"/>
            </a:endParaRPr>
          </a:p>
          <a:p>
            <a:pPr>
              <a:lnSpc>
                <a:spcPct val="100000"/>
              </a:lnSpc>
            </a:pPr>
            <a:endParaRPr lang="es-ES" sz="900" b="0" strike="noStrike" spc="-1">
              <a:solidFill>
                <a:srgbClr val="FF0000"/>
              </a:solidFill>
              <a:latin typeface="Arial"/>
            </a:endParaRPr>
          </a:p>
        </p:txBody>
      </p:sp>
      <p:sp>
        <p:nvSpPr>
          <p:cNvPr id="42" name="CuadroTexto 44_0"/>
          <p:cNvSpPr/>
          <p:nvPr/>
        </p:nvSpPr>
        <p:spPr>
          <a:xfrm>
            <a:off x="5400900" y="1418789"/>
            <a:ext cx="3919320" cy="1277273"/>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just"/>
            <a:r>
              <a:rPr lang="es-ES" sz="1100" b="1" spc="-1">
                <a:solidFill>
                  <a:srgbClr val="FF0000"/>
                </a:solidFill>
                <a:latin typeface="Soho Gothic Pro Light"/>
              </a:rPr>
              <a:t>Accenture (Barcelona, España) </a:t>
            </a:r>
            <a:endParaRPr lang="es-ES" sz="1100" b="0" strike="noStrike" spc="-1">
              <a:solidFill>
                <a:srgbClr val="FF0000"/>
              </a:solidFill>
              <a:latin typeface="Arial"/>
            </a:endParaRPr>
          </a:p>
          <a:p>
            <a:pPr algn="just"/>
            <a:r>
              <a:rPr lang="es-ES" sz="1100" spc="-1" err="1">
                <a:solidFill>
                  <a:srgbClr val="FF0000"/>
                </a:solidFill>
                <a:ea typeface="+mn-lt"/>
                <a:cs typeface="+mn-lt"/>
              </a:rPr>
              <a:t>Technology</a:t>
            </a:r>
            <a:r>
              <a:rPr lang="es-ES" sz="1100" spc="-1">
                <a:solidFill>
                  <a:srgbClr val="FF0000"/>
                </a:solidFill>
                <a:ea typeface="+mn-lt"/>
                <a:cs typeface="+mn-lt"/>
              </a:rPr>
              <a:t> </a:t>
            </a:r>
            <a:r>
              <a:rPr lang="es-ES" sz="1100" spc="-1" err="1">
                <a:solidFill>
                  <a:srgbClr val="FF0000"/>
                </a:solidFill>
                <a:ea typeface="+mn-lt"/>
                <a:cs typeface="+mn-lt"/>
              </a:rPr>
              <a:t>Consultant</a:t>
            </a:r>
            <a:endParaRPr lang="es-ES" err="1">
              <a:solidFill>
                <a:srgbClr val="FF0000"/>
              </a:solidFill>
            </a:endParaRPr>
          </a:p>
          <a:p>
            <a:pPr algn="just">
              <a:lnSpc>
                <a:spcPct val="100000"/>
              </a:lnSpc>
            </a:pPr>
            <a:endParaRPr lang="es-ES" sz="1100" b="0" strike="noStrike" spc="-1">
              <a:solidFill>
                <a:srgbClr val="FF0000"/>
              </a:solidFill>
              <a:latin typeface="Arial"/>
            </a:endParaRPr>
          </a:p>
          <a:p>
            <a:pPr marL="170815" indent="-170815" algn="just">
              <a:buClr>
                <a:srgbClr val="1A3B47"/>
              </a:buClr>
              <a:buFont typeface="Arial,Sans-Serif"/>
              <a:buChar char="•"/>
            </a:pPr>
            <a:r>
              <a:rPr lang="es-ES" sz="1100" spc="-1" err="1">
                <a:solidFill>
                  <a:srgbClr val="FF0000"/>
                </a:solidFill>
                <a:ea typeface="+mn-lt"/>
                <a:cs typeface="+mn-lt"/>
              </a:rPr>
              <a:t>Support</a:t>
            </a:r>
            <a:r>
              <a:rPr lang="es-ES" sz="1100" spc="-1">
                <a:solidFill>
                  <a:srgbClr val="FF0000"/>
                </a:solidFill>
                <a:ea typeface="+mn-lt"/>
                <a:cs typeface="+mn-lt"/>
              </a:rPr>
              <a:t> in </a:t>
            </a:r>
            <a:r>
              <a:rPr lang="es-ES" sz="1100" spc="-1" err="1">
                <a:solidFill>
                  <a:srgbClr val="FF0000"/>
                </a:solidFill>
                <a:ea typeface="+mn-lt"/>
                <a:cs typeface="+mn-lt"/>
              </a:rPr>
              <a:t>the</a:t>
            </a:r>
            <a:r>
              <a:rPr lang="es-ES" sz="1100" spc="-1">
                <a:solidFill>
                  <a:srgbClr val="FF0000"/>
                </a:solidFill>
                <a:ea typeface="+mn-lt"/>
                <a:cs typeface="+mn-lt"/>
              </a:rPr>
              <a:t> </a:t>
            </a:r>
            <a:r>
              <a:rPr lang="es-ES" sz="1100" spc="-1" err="1">
                <a:solidFill>
                  <a:srgbClr val="FF0000"/>
                </a:solidFill>
                <a:ea typeface="+mn-lt"/>
                <a:cs typeface="+mn-lt"/>
              </a:rPr>
              <a:t>definition</a:t>
            </a:r>
            <a:r>
              <a:rPr lang="es-ES" sz="1100" spc="-1">
                <a:solidFill>
                  <a:srgbClr val="FF0000"/>
                </a:solidFill>
                <a:ea typeface="+mn-lt"/>
                <a:cs typeface="+mn-lt"/>
              </a:rPr>
              <a:t> </a:t>
            </a:r>
            <a:r>
              <a:rPr lang="es-ES" sz="1100" spc="-1" err="1">
                <a:solidFill>
                  <a:srgbClr val="FF0000"/>
                </a:solidFill>
                <a:ea typeface="+mn-lt"/>
                <a:cs typeface="+mn-lt"/>
              </a:rPr>
              <a:t>of</a:t>
            </a:r>
            <a:r>
              <a:rPr lang="es-ES" sz="1100" spc="-1">
                <a:solidFill>
                  <a:srgbClr val="FF0000"/>
                </a:solidFill>
                <a:ea typeface="+mn-lt"/>
                <a:cs typeface="+mn-lt"/>
              </a:rPr>
              <a:t> </a:t>
            </a:r>
            <a:r>
              <a:rPr lang="es-ES" sz="1100" spc="-1" err="1">
                <a:solidFill>
                  <a:srgbClr val="FF0000"/>
                </a:solidFill>
                <a:ea typeface="+mn-lt"/>
                <a:cs typeface="+mn-lt"/>
              </a:rPr>
              <a:t>an</a:t>
            </a:r>
            <a:r>
              <a:rPr lang="es-ES" sz="1100" spc="-1">
                <a:solidFill>
                  <a:srgbClr val="FF0000"/>
                </a:solidFill>
                <a:ea typeface="+mn-lt"/>
                <a:cs typeface="+mn-lt"/>
              </a:rPr>
              <a:t> </a:t>
            </a:r>
            <a:r>
              <a:rPr lang="es-ES" sz="1100" spc="-1" err="1">
                <a:solidFill>
                  <a:srgbClr val="FF0000"/>
                </a:solidFill>
                <a:ea typeface="+mn-lt"/>
                <a:cs typeface="+mn-lt"/>
              </a:rPr>
              <a:t>hybrid</a:t>
            </a:r>
            <a:r>
              <a:rPr lang="es-ES" sz="1100" spc="-1">
                <a:solidFill>
                  <a:srgbClr val="FF0000"/>
                </a:solidFill>
                <a:ea typeface="+mn-lt"/>
                <a:cs typeface="+mn-lt"/>
              </a:rPr>
              <a:t> Cloud, </a:t>
            </a:r>
            <a:r>
              <a:rPr lang="es-ES" sz="1100" spc="-1" err="1">
                <a:solidFill>
                  <a:srgbClr val="FF0000"/>
                </a:solidFill>
                <a:ea typeface="+mn-lt"/>
                <a:cs typeface="+mn-lt"/>
              </a:rPr>
              <a:t>helping</a:t>
            </a:r>
            <a:r>
              <a:rPr lang="es-ES" sz="1100" spc="-1">
                <a:solidFill>
                  <a:srgbClr val="FF0000"/>
                </a:solidFill>
                <a:ea typeface="+mn-lt"/>
                <a:cs typeface="+mn-lt"/>
              </a:rPr>
              <a:t> in </a:t>
            </a:r>
            <a:r>
              <a:rPr lang="es-ES" sz="1100" spc="-1" err="1">
                <a:solidFill>
                  <a:srgbClr val="FF0000"/>
                </a:solidFill>
                <a:ea typeface="+mn-lt"/>
                <a:cs typeface="+mn-lt"/>
              </a:rPr>
              <a:t>the</a:t>
            </a:r>
            <a:r>
              <a:rPr lang="es-ES" sz="1100" spc="-1">
                <a:solidFill>
                  <a:srgbClr val="FF0000"/>
                </a:solidFill>
                <a:ea typeface="+mn-lt"/>
                <a:cs typeface="+mn-lt"/>
              </a:rPr>
              <a:t> </a:t>
            </a:r>
            <a:r>
              <a:rPr lang="es-ES" sz="1100" spc="-1" err="1">
                <a:solidFill>
                  <a:srgbClr val="FF0000"/>
                </a:solidFill>
                <a:ea typeface="+mn-lt"/>
                <a:cs typeface="+mn-lt"/>
              </a:rPr>
              <a:t>definition</a:t>
            </a:r>
            <a:r>
              <a:rPr lang="es-ES" sz="1100" spc="-1">
                <a:solidFill>
                  <a:srgbClr val="FF0000"/>
                </a:solidFill>
                <a:ea typeface="+mn-lt"/>
                <a:cs typeface="+mn-lt"/>
              </a:rPr>
              <a:t> </a:t>
            </a:r>
            <a:r>
              <a:rPr lang="es-ES" sz="1100" spc="-1" err="1">
                <a:solidFill>
                  <a:srgbClr val="FF0000"/>
                </a:solidFill>
                <a:ea typeface="+mn-lt"/>
                <a:cs typeface="+mn-lt"/>
              </a:rPr>
              <a:t>of</a:t>
            </a:r>
            <a:r>
              <a:rPr lang="es-ES" sz="1100" spc="-1">
                <a:solidFill>
                  <a:srgbClr val="FF0000"/>
                </a:solidFill>
                <a:ea typeface="+mn-lt"/>
                <a:cs typeface="+mn-lt"/>
              </a:rPr>
              <a:t> </a:t>
            </a:r>
            <a:r>
              <a:rPr lang="es-ES" sz="1100" spc="-1" err="1">
                <a:solidFill>
                  <a:srgbClr val="FF0000"/>
                </a:solidFill>
                <a:ea typeface="+mn-lt"/>
                <a:cs typeface="+mn-lt"/>
              </a:rPr>
              <a:t>the</a:t>
            </a:r>
            <a:r>
              <a:rPr lang="es-ES" sz="1100" spc="-1">
                <a:solidFill>
                  <a:srgbClr val="FF0000"/>
                </a:solidFill>
                <a:ea typeface="+mn-lt"/>
                <a:cs typeface="+mn-lt"/>
              </a:rPr>
              <a:t> </a:t>
            </a:r>
            <a:r>
              <a:rPr lang="es-ES" sz="1100" spc="-1" err="1">
                <a:solidFill>
                  <a:srgbClr val="FF0000"/>
                </a:solidFill>
                <a:ea typeface="+mn-lt"/>
                <a:cs typeface="+mn-lt"/>
              </a:rPr>
              <a:t>project</a:t>
            </a:r>
            <a:r>
              <a:rPr lang="es-ES" sz="1100" spc="-1">
                <a:solidFill>
                  <a:srgbClr val="FF0000"/>
                </a:solidFill>
                <a:ea typeface="+mn-lt"/>
                <a:cs typeface="+mn-lt"/>
              </a:rPr>
              <a:t> and in </a:t>
            </a:r>
            <a:r>
              <a:rPr lang="es-ES" sz="1100" spc="-1" err="1">
                <a:solidFill>
                  <a:srgbClr val="FF0000"/>
                </a:solidFill>
                <a:ea typeface="+mn-lt"/>
                <a:cs typeface="+mn-lt"/>
              </a:rPr>
              <a:t>the</a:t>
            </a:r>
            <a:r>
              <a:rPr lang="es-ES" sz="1100" spc="-1">
                <a:solidFill>
                  <a:srgbClr val="FF0000"/>
                </a:solidFill>
                <a:ea typeface="+mn-lt"/>
                <a:cs typeface="+mn-lt"/>
              </a:rPr>
              <a:t> </a:t>
            </a:r>
            <a:r>
              <a:rPr lang="es-ES" sz="1100" spc="-1" err="1">
                <a:solidFill>
                  <a:srgbClr val="FF0000"/>
                </a:solidFill>
                <a:ea typeface="+mn-lt"/>
                <a:cs typeface="+mn-lt"/>
              </a:rPr>
              <a:t>integration</a:t>
            </a:r>
            <a:r>
              <a:rPr lang="es-ES" sz="1100" spc="-1">
                <a:solidFill>
                  <a:srgbClr val="FF0000"/>
                </a:solidFill>
                <a:ea typeface="+mn-lt"/>
                <a:cs typeface="+mn-lt"/>
              </a:rPr>
              <a:t> </a:t>
            </a:r>
            <a:r>
              <a:rPr lang="es-ES" sz="1100" spc="-1" err="1">
                <a:solidFill>
                  <a:srgbClr val="FF0000"/>
                </a:solidFill>
                <a:ea typeface="+mn-lt"/>
                <a:cs typeface="+mn-lt"/>
              </a:rPr>
              <a:t>of</a:t>
            </a:r>
            <a:r>
              <a:rPr lang="es-ES" sz="1100" spc="-1">
                <a:solidFill>
                  <a:srgbClr val="FF0000"/>
                </a:solidFill>
                <a:ea typeface="+mn-lt"/>
                <a:cs typeface="+mn-lt"/>
              </a:rPr>
              <a:t> </a:t>
            </a:r>
            <a:r>
              <a:rPr lang="es-ES" sz="1100" spc="-1" err="1">
                <a:solidFill>
                  <a:srgbClr val="FF0000"/>
                </a:solidFill>
                <a:ea typeface="+mn-lt"/>
                <a:cs typeface="+mn-lt"/>
              </a:rPr>
              <a:t>the</a:t>
            </a:r>
            <a:r>
              <a:rPr lang="es-ES" sz="1100" spc="-1">
                <a:solidFill>
                  <a:srgbClr val="FF0000"/>
                </a:solidFill>
                <a:ea typeface="+mn-lt"/>
                <a:cs typeface="+mn-lt"/>
              </a:rPr>
              <a:t> Cloud </a:t>
            </a:r>
            <a:r>
              <a:rPr lang="es-ES" sz="1100" spc="-1" err="1">
                <a:solidFill>
                  <a:srgbClr val="FF0000"/>
                </a:solidFill>
                <a:ea typeface="+mn-lt"/>
                <a:cs typeface="+mn-lt"/>
              </a:rPr>
              <a:t>with</a:t>
            </a:r>
            <a:r>
              <a:rPr lang="es-ES" sz="1100" spc="-1">
                <a:solidFill>
                  <a:srgbClr val="FF0000"/>
                </a:solidFill>
                <a:ea typeface="+mn-lt"/>
                <a:cs typeface="+mn-lt"/>
              </a:rPr>
              <a:t> </a:t>
            </a:r>
            <a:r>
              <a:rPr lang="es-ES" sz="1100" spc="-1" err="1">
                <a:solidFill>
                  <a:srgbClr val="FF0000"/>
                </a:solidFill>
                <a:ea typeface="+mn-lt"/>
                <a:cs typeface="+mn-lt"/>
              </a:rPr>
              <a:t>the</a:t>
            </a:r>
            <a:r>
              <a:rPr lang="es-ES" sz="1100" spc="-1">
                <a:solidFill>
                  <a:srgbClr val="FF0000"/>
                </a:solidFill>
                <a:ea typeface="+mn-lt"/>
                <a:cs typeface="+mn-lt"/>
              </a:rPr>
              <a:t> </a:t>
            </a:r>
            <a:r>
              <a:rPr lang="es-ES" sz="1100" spc="-1" err="1">
                <a:solidFill>
                  <a:srgbClr val="FF0000"/>
                </a:solidFill>
                <a:ea typeface="+mn-lt"/>
                <a:cs typeface="+mn-lt"/>
              </a:rPr>
              <a:t>previous</a:t>
            </a:r>
            <a:r>
              <a:rPr lang="es-ES" sz="1100" spc="-1">
                <a:solidFill>
                  <a:srgbClr val="FF0000"/>
                </a:solidFill>
                <a:ea typeface="+mn-lt"/>
                <a:cs typeface="+mn-lt"/>
              </a:rPr>
              <a:t> </a:t>
            </a:r>
            <a:r>
              <a:rPr lang="es-ES" sz="1100" spc="-1" err="1">
                <a:solidFill>
                  <a:srgbClr val="FF0000"/>
                </a:solidFill>
                <a:ea typeface="+mn-lt"/>
                <a:cs typeface="+mn-lt"/>
              </a:rPr>
              <a:t>systems</a:t>
            </a:r>
            <a:r>
              <a:rPr lang="es-ES" sz="1100" spc="-1">
                <a:solidFill>
                  <a:srgbClr val="FF0000"/>
                </a:solidFill>
                <a:ea typeface="+mn-lt"/>
                <a:cs typeface="+mn-lt"/>
              </a:rPr>
              <a:t>.</a:t>
            </a:r>
            <a:endParaRPr lang="es-ES" sz="1750">
              <a:solidFill>
                <a:srgbClr val="FF0000"/>
              </a:solidFill>
              <a:ea typeface="+mn-lt"/>
              <a:cs typeface="+mn-lt"/>
            </a:endParaRPr>
          </a:p>
          <a:p>
            <a:pPr marL="170815" indent="-170815" algn="just">
              <a:buClr>
                <a:srgbClr val="1A3B47"/>
              </a:buClr>
              <a:buFont typeface="Arial,Sans-Serif"/>
              <a:buChar char="•"/>
            </a:pPr>
            <a:r>
              <a:rPr lang="es-ES" sz="1100" spc="-1" err="1">
                <a:solidFill>
                  <a:srgbClr val="FF0000"/>
                </a:solidFill>
                <a:ea typeface="+mn-lt"/>
                <a:cs typeface="+mn-lt"/>
              </a:rPr>
              <a:t>Provisioning</a:t>
            </a:r>
            <a:r>
              <a:rPr lang="es-ES" sz="1100" spc="-1">
                <a:solidFill>
                  <a:srgbClr val="FF0000"/>
                </a:solidFill>
                <a:ea typeface="+mn-lt"/>
                <a:cs typeface="+mn-lt"/>
              </a:rPr>
              <a:t> and </a:t>
            </a:r>
            <a:r>
              <a:rPr lang="es-ES" sz="1100" spc="-1" err="1">
                <a:solidFill>
                  <a:srgbClr val="FF0000"/>
                </a:solidFill>
                <a:ea typeface="+mn-lt"/>
                <a:cs typeface="+mn-lt"/>
              </a:rPr>
              <a:t>Deployment</a:t>
            </a:r>
            <a:r>
              <a:rPr lang="es-ES" sz="1100" spc="-1">
                <a:solidFill>
                  <a:srgbClr val="FF0000"/>
                </a:solidFill>
                <a:ea typeface="+mn-lt"/>
                <a:cs typeface="+mn-lt"/>
              </a:rPr>
              <a:t> </a:t>
            </a:r>
            <a:r>
              <a:rPr lang="es-ES" sz="1100" spc="-1" err="1">
                <a:solidFill>
                  <a:srgbClr val="FF0000"/>
                </a:solidFill>
                <a:ea typeface="+mn-lt"/>
                <a:cs typeface="+mn-lt"/>
              </a:rPr>
              <a:t>Automation</a:t>
            </a:r>
            <a:r>
              <a:rPr lang="es-ES" sz="1100" spc="-1">
                <a:solidFill>
                  <a:srgbClr val="FF0000"/>
                </a:solidFill>
                <a:ea typeface="+mn-lt"/>
                <a:cs typeface="+mn-lt"/>
              </a:rPr>
              <a:t> </a:t>
            </a:r>
            <a:r>
              <a:rPr lang="es-ES" sz="1100" spc="-1" err="1">
                <a:solidFill>
                  <a:srgbClr val="FF0000"/>
                </a:solidFill>
                <a:ea typeface="+mn-lt"/>
                <a:cs typeface="+mn-lt"/>
              </a:rPr>
              <a:t>with</a:t>
            </a:r>
            <a:r>
              <a:rPr lang="es-ES" sz="1100" spc="-1">
                <a:solidFill>
                  <a:srgbClr val="FF0000"/>
                </a:solidFill>
                <a:ea typeface="+mn-lt"/>
                <a:cs typeface="+mn-lt"/>
              </a:rPr>
              <a:t> Ansible.</a:t>
            </a:r>
          </a:p>
        </p:txBody>
      </p:sp>
      <p:sp>
        <p:nvSpPr>
          <p:cNvPr id="43" name="CuadroTexto 39_0"/>
          <p:cNvSpPr/>
          <p:nvPr/>
        </p:nvSpPr>
        <p:spPr>
          <a:xfrm>
            <a:off x="4955220" y="1385309"/>
            <a:ext cx="551520" cy="92333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r>
              <a:rPr lang="es-ES" sz="900" b="1" spc="-1">
                <a:solidFill>
                  <a:srgbClr val="FF0000"/>
                </a:solidFill>
                <a:latin typeface="Soho Gothic Pro Light"/>
              </a:rPr>
              <a:t>Sept 2019</a:t>
            </a:r>
          </a:p>
          <a:p>
            <a:pPr>
              <a:lnSpc>
                <a:spcPct val="100000"/>
              </a:lnSpc>
            </a:pPr>
            <a:r>
              <a:rPr lang="es-ES" sz="900" b="1" spc="-1">
                <a:solidFill>
                  <a:srgbClr val="FF0000"/>
                </a:solidFill>
                <a:latin typeface="Soho Gothic Pro Light"/>
              </a:rPr>
              <a:t>—</a:t>
            </a:r>
          </a:p>
          <a:p>
            <a:r>
              <a:rPr lang="es-ES" sz="900" b="1" spc="-1">
                <a:solidFill>
                  <a:srgbClr val="FF0000"/>
                </a:solidFill>
                <a:latin typeface="Soho Gothic Pro Light"/>
              </a:rPr>
              <a:t>Jun 2019</a:t>
            </a:r>
          </a:p>
          <a:p>
            <a:pPr>
              <a:lnSpc>
                <a:spcPct val="100000"/>
              </a:lnSpc>
            </a:pPr>
            <a:endParaRPr lang="es-ES" sz="900" b="1" spc="-1">
              <a:solidFill>
                <a:srgbClr val="FF0000"/>
              </a:solidFill>
              <a:latin typeface="Soho Gothic Pro Light"/>
            </a:endParaRPr>
          </a:p>
        </p:txBody>
      </p:sp>
      <p:sp>
        <p:nvSpPr>
          <p:cNvPr id="30" name="CuadroTexto 70_0">
            <a:extLst>
              <a:ext uri="{FF2B5EF4-FFF2-40B4-BE49-F238E27FC236}">
                <a16:creationId xmlns:a16="http://schemas.microsoft.com/office/drawing/2014/main" id="{4B60B62C-9F5C-4DD4-A50A-AED324B29FE1}"/>
              </a:ext>
            </a:extLst>
          </p:cNvPr>
          <p:cNvSpPr/>
          <p:nvPr/>
        </p:nvSpPr>
        <p:spPr>
          <a:xfrm>
            <a:off x="9854493" y="413908"/>
            <a:ext cx="2349360" cy="553998"/>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b="1" spc="-1">
                <a:solidFill>
                  <a:srgbClr val="FF0000"/>
                </a:solidFill>
              </a:rPr>
              <a:t>Master in </a:t>
            </a:r>
            <a:r>
              <a:rPr lang="es-ES" sz="1000" b="1" spc="-1" err="1">
                <a:solidFill>
                  <a:srgbClr val="FF0000"/>
                </a:solidFill>
              </a:rPr>
              <a:t>intelligent</a:t>
            </a:r>
            <a:r>
              <a:rPr lang="es-ES" sz="1000" b="1" spc="-1">
                <a:solidFill>
                  <a:srgbClr val="FF0000"/>
                </a:solidFill>
              </a:rPr>
              <a:t> and interactive </a:t>
            </a:r>
            <a:r>
              <a:rPr lang="es-ES" sz="1000" b="1" spc="-1" err="1">
                <a:solidFill>
                  <a:srgbClr val="FF0000"/>
                </a:solidFill>
              </a:rPr>
              <a:t>systems</a:t>
            </a:r>
            <a:endParaRPr lang="es-ES" err="1">
              <a:solidFill>
                <a:srgbClr val="FF0000"/>
              </a:solidFill>
            </a:endParaRPr>
          </a:p>
          <a:p>
            <a:r>
              <a:rPr lang="es-ES" sz="1000" spc="-1">
                <a:solidFill>
                  <a:srgbClr val="FF0000"/>
                </a:solidFill>
              </a:rPr>
              <a:t>Universidad Pompeu Fabra</a:t>
            </a:r>
          </a:p>
        </p:txBody>
      </p:sp>
      <p:sp>
        <p:nvSpPr>
          <p:cNvPr id="31" name="CuadroTexto 73_0">
            <a:extLst>
              <a:ext uri="{FF2B5EF4-FFF2-40B4-BE49-F238E27FC236}">
                <a16:creationId xmlns:a16="http://schemas.microsoft.com/office/drawing/2014/main" id="{42DBC37E-9828-4095-AB36-FC5D9E620073}"/>
              </a:ext>
            </a:extLst>
          </p:cNvPr>
          <p:cNvSpPr/>
          <p:nvPr/>
        </p:nvSpPr>
        <p:spPr>
          <a:xfrm>
            <a:off x="9457413" y="456478"/>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solidFill>
                  <a:srgbClr val="FF0000"/>
                </a:solidFill>
                <a:latin typeface="Soho Gothic Pro Medium"/>
              </a:rPr>
              <a:t>2020</a:t>
            </a:r>
            <a:endParaRPr lang="es-ES" sz="900" b="0" strike="noStrike" spc="-1">
              <a:solidFill>
                <a:srgbClr val="FF0000"/>
              </a:solidFill>
              <a:latin typeface="Arial"/>
              <a:cs typeface="Arial"/>
            </a:endParaRPr>
          </a:p>
          <a:p>
            <a:pPr>
              <a:lnSpc>
                <a:spcPct val="100000"/>
              </a:lnSpc>
            </a:pPr>
            <a:r>
              <a:rPr lang="es-ES" sz="900" b="0" strike="noStrike" spc="-1">
                <a:solidFill>
                  <a:srgbClr val="FF0000"/>
                </a:solidFill>
                <a:latin typeface="Soho Gothic Pro Medium"/>
              </a:rPr>
              <a:t>—</a:t>
            </a:r>
            <a:endParaRPr lang="es-ES" sz="900" b="0" strike="noStrike" spc="-1">
              <a:solidFill>
                <a:srgbClr val="FF0000"/>
              </a:solidFill>
              <a:latin typeface="Arial"/>
              <a:cs typeface="Arial"/>
            </a:endParaRPr>
          </a:p>
          <a:p>
            <a:pPr>
              <a:lnSpc>
                <a:spcPct val="100000"/>
              </a:lnSpc>
            </a:pPr>
            <a:r>
              <a:rPr lang="es-ES" sz="900" spc="-1">
                <a:solidFill>
                  <a:srgbClr val="FF0000"/>
                </a:solidFill>
                <a:latin typeface="Soho Gothic Pro Medium"/>
              </a:rPr>
              <a:t>ACT</a:t>
            </a:r>
            <a:endParaRPr lang="es-ES" sz="900" b="0" strike="noStrike" spc="-1">
              <a:solidFill>
                <a:srgbClr val="FF0000"/>
              </a:solidFill>
              <a:latin typeface="Arial"/>
              <a:cs typeface="Arial"/>
            </a:endParaRPr>
          </a:p>
        </p:txBody>
      </p:sp>
    </p:spTree>
    <p:extLst>
      <p:ext uri="{BB962C8B-B14F-4D97-AF65-F5344CB8AC3E}">
        <p14:creationId xmlns:p14="http://schemas.microsoft.com/office/powerpoint/2010/main" val="41306925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CustomShape 2"/>
          <p:cNvSpPr/>
          <p:nvPr/>
        </p:nvSpPr>
        <p:spPr>
          <a:xfrm>
            <a:off x="0" y="0"/>
            <a:ext cx="9386640" cy="59724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45" name="Rectángulo 38"/>
          <p:cNvSpPr/>
          <p:nvPr/>
        </p:nvSpPr>
        <p:spPr>
          <a:xfrm>
            <a:off x="9358200" y="-72000"/>
            <a:ext cx="2827800" cy="709092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46" name="CuadroTexto 36"/>
          <p:cNvSpPr/>
          <p:nvPr/>
        </p:nvSpPr>
        <p:spPr>
          <a:xfrm>
            <a:off x="87120" y="720720"/>
            <a:ext cx="9257400" cy="8197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solidFill>
                  <a:srgbClr val="1A3B47"/>
                </a:solidFill>
                <a:latin typeface="Soho Gothic Pro Light"/>
                <a:ea typeface="Soho Gothic Pro Light"/>
              </a:rPr>
              <a:t>DevOps, con más de 5 años de experiencia en el sector IT, desarrollando microservicios y desarrollos a para mejorar y mantener la infraestructura, creando automatizaciones de procesos,  configurando reglas de alerta y dashboards en ELK y resolviendo incidencias críticas en el sector de Recursos Humanos. Actualmente colaborando en proyectos con Elastic. </a:t>
            </a:r>
            <a:endParaRPr lang="es-ES" sz="1200" b="0" strike="noStrike" spc="-1">
              <a:latin typeface="Arial"/>
            </a:endParaRPr>
          </a:p>
          <a:p>
            <a:pPr>
              <a:lnSpc>
                <a:spcPct val="100000"/>
              </a:lnSpc>
            </a:pPr>
            <a:endParaRPr lang="es-ES" sz="1200" b="0" strike="noStrike" spc="-1">
              <a:latin typeface="Arial"/>
            </a:endParaRPr>
          </a:p>
        </p:txBody>
      </p:sp>
      <p:sp>
        <p:nvSpPr>
          <p:cNvPr id="47" name="CuadroTexto 39"/>
          <p:cNvSpPr/>
          <p:nvPr/>
        </p:nvSpPr>
        <p:spPr>
          <a:xfrm>
            <a:off x="250200" y="1709640"/>
            <a:ext cx="550440" cy="6382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900" b="1" strike="noStrike" spc="-1">
                <a:solidFill>
                  <a:srgbClr val="1A3B47"/>
                </a:solidFill>
                <a:latin typeface="Soho Gothic Pro Light"/>
                <a:ea typeface="Soho Gothic Pro Light"/>
              </a:rPr>
              <a:t>ACT</a:t>
            </a:r>
            <a:endParaRPr lang="es-ES" sz="900" b="0" strike="noStrike" spc="-1">
              <a:latin typeface="Arial"/>
            </a:endParaRPr>
          </a:p>
          <a:p>
            <a:pPr>
              <a:lnSpc>
                <a:spcPct val="100000"/>
              </a:lnSpc>
            </a:pPr>
            <a:r>
              <a:rPr lang="es-ES" sz="900" b="1" strike="noStrike" spc="-1">
                <a:solidFill>
                  <a:srgbClr val="1A3B47"/>
                </a:solidFill>
                <a:latin typeface="Soho Gothic Pro Light"/>
                <a:ea typeface="Soho Gothic Pro Light"/>
              </a:rPr>
              <a:t>—</a:t>
            </a:r>
            <a:endParaRPr lang="es-ES" sz="900" b="0" strike="noStrike" spc="-1">
              <a:latin typeface="Arial"/>
            </a:endParaRPr>
          </a:p>
          <a:p>
            <a:pPr>
              <a:lnSpc>
                <a:spcPct val="100000"/>
              </a:lnSpc>
            </a:pPr>
            <a:r>
              <a:rPr lang="es-ES" sz="900" b="1" strike="noStrike" spc="-1">
                <a:solidFill>
                  <a:srgbClr val="1A3B47"/>
                </a:solidFill>
                <a:latin typeface="Soho Gothic Pro Light"/>
                <a:ea typeface="Soho Gothic Pro Light"/>
              </a:rPr>
              <a:t>2021</a:t>
            </a:r>
            <a:endParaRPr lang="es-ES" sz="900" b="0" strike="noStrike" spc="-1">
              <a:latin typeface="Arial"/>
            </a:endParaRPr>
          </a:p>
          <a:p>
            <a:pPr>
              <a:lnSpc>
                <a:spcPct val="100000"/>
              </a:lnSpc>
            </a:pPr>
            <a:endParaRPr lang="es-ES" sz="900" b="0" strike="noStrike" spc="-1">
              <a:latin typeface="Arial"/>
            </a:endParaRPr>
          </a:p>
        </p:txBody>
      </p:sp>
      <p:sp>
        <p:nvSpPr>
          <p:cNvPr id="48" name="CuadroTexto 44"/>
          <p:cNvSpPr/>
          <p:nvPr/>
        </p:nvSpPr>
        <p:spPr>
          <a:xfrm>
            <a:off x="685800" y="1743120"/>
            <a:ext cx="3987720" cy="46857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trike="noStrike" spc="-1">
                <a:solidFill>
                  <a:srgbClr val="1A3B47"/>
                </a:solidFill>
                <a:latin typeface="Soho Gothic Pro Light"/>
                <a:ea typeface="Soho Gothic Pro Light"/>
              </a:rPr>
              <a:t>Minsait by Indra (Barcelona, España)</a:t>
            </a:r>
            <a:endParaRPr lang="es-ES" sz="1100" b="0" strike="noStrike" spc="-1">
              <a:latin typeface="Arial"/>
            </a:endParaRPr>
          </a:p>
          <a:p>
            <a:pPr algn="just">
              <a:lnSpc>
                <a:spcPct val="100000"/>
              </a:lnSpc>
            </a:pPr>
            <a:r>
              <a:rPr lang="es-ES" sz="1100" b="0" strike="noStrike" spc="-1">
                <a:solidFill>
                  <a:srgbClr val="1A3B47"/>
                </a:solidFill>
                <a:latin typeface="Soho Gothic Pro Light"/>
                <a:ea typeface="Soho Gothic Pro Light"/>
              </a:rPr>
              <a:t>Big Data Consultant</a:t>
            </a:r>
            <a:endParaRPr lang="es-ES" sz="1100" b="0" strike="noStrike" spc="-1">
              <a:latin typeface="Arial"/>
            </a:endParaRPr>
          </a:p>
          <a:p>
            <a:pPr algn="just">
              <a:lnSpc>
                <a:spcPct val="100000"/>
              </a:lnSpc>
            </a:pPr>
            <a:endParaRPr lang="es-ES" sz="1100" b="0" strike="noStrike" spc="-1">
              <a:latin typeface="Arial"/>
            </a:endParaRPr>
          </a:p>
          <a:p>
            <a:pPr algn="just">
              <a:lnSpc>
                <a:spcPct val="100000"/>
              </a:lnSpc>
              <a:spcBef>
                <a:spcPts val="567"/>
              </a:spcBef>
              <a:spcAft>
                <a:spcPts val="567"/>
              </a:spcAft>
            </a:pPr>
            <a:r>
              <a:rPr lang="es-ES" sz="1100" b="0" strike="noStrike" spc="-1">
                <a:solidFill>
                  <a:srgbClr val="1A3B47"/>
                </a:solidFill>
                <a:latin typeface="Soho Gothic Pro Light"/>
                <a:ea typeface="Soho Gothic Pro Light"/>
              </a:rPr>
              <a:t>Actualmente en el proyecto de ATC</a:t>
            </a:r>
            <a:endParaRPr lang="es-ES" sz="1100" b="0" strike="noStrike" spc="-1">
              <a:latin typeface="Arial"/>
            </a:endParaRPr>
          </a:p>
          <a:p>
            <a:pPr marL="171360" indent="-169920" algn="just">
              <a:lnSpc>
                <a:spcPct val="100000"/>
              </a:lnSpc>
              <a:spcBef>
                <a:spcPts val="567"/>
              </a:spcBef>
              <a:spcAft>
                <a:spcPts val="567"/>
              </a:spcAft>
              <a:buClr>
                <a:srgbClr val="1A3B47"/>
              </a:buClr>
              <a:buFont typeface="Arial,Sans-Serif"/>
              <a:buChar char="•"/>
            </a:pPr>
            <a:r>
              <a:rPr lang="es-ES" sz="1100" b="0" strike="noStrike" spc="-1">
                <a:solidFill>
                  <a:srgbClr val="1A3B47"/>
                </a:solidFill>
                <a:latin typeface="Soho Gothic Pro Light"/>
                <a:ea typeface="Soho Gothic Pro Light"/>
              </a:rPr>
              <a:t>Revisión de Beats y Watchers.</a:t>
            </a:r>
            <a:endParaRPr lang="es-ES" sz="1100" b="0" strike="noStrike" spc="-1">
              <a:latin typeface="Arial"/>
            </a:endParaRPr>
          </a:p>
          <a:p>
            <a:pPr marL="171360" indent="-169920" algn="just">
              <a:lnSpc>
                <a:spcPct val="100000"/>
              </a:lnSpc>
              <a:spcBef>
                <a:spcPts val="567"/>
              </a:spcBef>
              <a:spcAft>
                <a:spcPts val="567"/>
              </a:spcAft>
              <a:buClr>
                <a:srgbClr val="1A3B47"/>
              </a:buClr>
              <a:buFont typeface="Arial,Sans-Serif"/>
              <a:buChar char="•"/>
            </a:pPr>
            <a:r>
              <a:rPr lang="es-ES" sz="1100" b="0" strike="noStrike" spc="-1">
                <a:solidFill>
                  <a:srgbClr val="1A3B47"/>
                </a:solidFill>
                <a:latin typeface="Soho Gothic Pro Light"/>
                <a:ea typeface="Soho Gothic Pro Light"/>
              </a:rPr>
              <a:t>Aplicación de ML</a:t>
            </a:r>
            <a:endParaRPr lang="es-ES" sz="1100" b="0" strike="noStrike" spc="-1">
              <a:latin typeface="Arial"/>
            </a:endParaRPr>
          </a:p>
          <a:p>
            <a:pPr marL="171360" indent="-169920" algn="just">
              <a:lnSpc>
                <a:spcPct val="100000"/>
              </a:lnSpc>
              <a:spcBef>
                <a:spcPts val="567"/>
              </a:spcBef>
              <a:spcAft>
                <a:spcPts val="567"/>
              </a:spcAft>
              <a:buClr>
                <a:srgbClr val="1A3B47"/>
              </a:buClr>
              <a:buFont typeface="Arial,Sans-Serif"/>
              <a:buChar char="•"/>
            </a:pPr>
            <a:r>
              <a:rPr lang="es-ES" sz="1100" b="0" strike="noStrike" spc="-1">
                <a:solidFill>
                  <a:srgbClr val="1A3B47"/>
                </a:solidFill>
                <a:latin typeface="Soho Gothic Pro Light"/>
                <a:ea typeface="Soho Gothic Pro Light"/>
              </a:rPr>
              <a:t>Colaboración en tareas de parsear textos con OCR</a:t>
            </a:r>
            <a:endParaRPr lang="es-ES" sz="1100" b="0" strike="noStrike" spc="-1">
              <a:latin typeface="Arial"/>
            </a:endParaRPr>
          </a:p>
          <a:p>
            <a:pPr algn="just">
              <a:lnSpc>
                <a:spcPct val="100000"/>
              </a:lnSpc>
            </a:pPr>
            <a:endParaRPr lang="es-ES" sz="1100" b="0" strike="noStrike" spc="-1">
              <a:latin typeface="Arial"/>
            </a:endParaRPr>
          </a:p>
          <a:p>
            <a:pPr algn="just">
              <a:lnSpc>
                <a:spcPct val="100000"/>
              </a:lnSpc>
            </a:pPr>
            <a:endParaRPr lang="es-ES" sz="1100" b="0" strike="noStrike" spc="-1">
              <a:latin typeface="Arial"/>
            </a:endParaRPr>
          </a:p>
          <a:p>
            <a:pPr algn="just">
              <a:lnSpc>
                <a:spcPct val="100000"/>
              </a:lnSpc>
            </a:pPr>
            <a:endParaRPr lang="es-ES" sz="1100" b="0" strike="noStrike" spc="-1">
              <a:latin typeface="Arial"/>
            </a:endParaRPr>
          </a:p>
          <a:p>
            <a:pPr algn="just">
              <a:lnSpc>
                <a:spcPct val="100000"/>
              </a:lnSpc>
            </a:pPr>
            <a:r>
              <a:rPr lang="es-ES" sz="1100" b="1" strike="noStrike" spc="-1">
                <a:solidFill>
                  <a:srgbClr val="1A3B47"/>
                </a:solidFill>
                <a:latin typeface="Soho Gothic Pro Light"/>
                <a:ea typeface="Soho Gothic Pro Light"/>
              </a:rPr>
              <a:t>TalentClue Solutions (Barcelona, España)</a:t>
            </a:r>
            <a:endParaRPr lang="es-ES" sz="1100" b="0" strike="noStrike" spc="-1">
              <a:latin typeface="Arial"/>
            </a:endParaRPr>
          </a:p>
          <a:p>
            <a:pPr algn="just">
              <a:lnSpc>
                <a:spcPct val="100000"/>
              </a:lnSpc>
            </a:pPr>
            <a:r>
              <a:rPr lang="es-ES" sz="1100" b="0" strike="noStrike" spc="-1">
                <a:solidFill>
                  <a:srgbClr val="1A3B47"/>
                </a:solidFill>
                <a:latin typeface="Soho Gothic Pro Light"/>
                <a:ea typeface="Soho Gothic Pro Light"/>
              </a:rPr>
              <a:t>DevOps</a:t>
            </a:r>
            <a:endParaRPr lang="es-ES" sz="1100" b="0" strike="noStrike" spc="-1">
              <a:latin typeface="Arial"/>
            </a:endParaRPr>
          </a:p>
          <a:p>
            <a:pPr algn="just">
              <a:lnSpc>
                <a:spcPct val="100000"/>
              </a:lnSpc>
            </a:pPr>
            <a:endParaRPr lang="es-ES" sz="1100" b="0" strike="noStrike" spc="-1">
              <a:latin typeface="Arial"/>
            </a:endParaRPr>
          </a:p>
          <a:p>
            <a:pPr marL="171360" indent="-169920" algn="just">
              <a:lnSpc>
                <a:spcPct val="100000"/>
              </a:lnSpc>
              <a:spcBef>
                <a:spcPts val="567"/>
              </a:spcBef>
              <a:spcAft>
                <a:spcPts val="567"/>
              </a:spcAft>
              <a:buClr>
                <a:srgbClr val="1A3B47"/>
              </a:buClr>
              <a:buFont typeface="Arial,Sans-Serif"/>
              <a:buChar char="•"/>
            </a:pPr>
            <a:r>
              <a:rPr lang="es-ES" sz="1100" b="0" strike="noStrike" spc="-1">
                <a:solidFill>
                  <a:srgbClr val="1A3B47"/>
                </a:solidFill>
                <a:latin typeface="Soho Gothic Pro Light"/>
                <a:ea typeface="Soho Gothic Pro Light"/>
              </a:rPr>
              <a:t>Implementación de servicios API REST con Symfony aplicando arquitectura hexagonal y DDD, con testing de integración, unitario y end2end.</a:t>
            </a:r>
            <a:endParaRPr lang="es-ES" sz="1100" b="0" strike="noStrike" spc="-1">
              <a:latin typeface="Arial"/>
            </a:endParaRPr>
          </a:p>
          <a:p>
            <a:pPr marL="171360" indent="-169920" algn="just">
              <a:lnSpc>
                <a:spcPct val="100000"/>
              </a:lnSpc>
              <a:spcBef>
                <a:spcPts val="567"/>
              </a:spcBef>
              <a:spcAft>
                <a:spcPts val="567"/>
              </a:spcAft>
              <a:buClr>
                <a:srgbClr val="1A3B47"/>
              </a:buClr>
              <a:buFont typeface="Arial,Sans-Serif"/>
              <a:buChar char="•"/>
            </a:pPr>
            <a:r>
              <a:rPr lang="es-ES" sz="1100" b="0" strike="noStrike" spc="-1">
                <a:solidFill>
                  <a:srgbClr val="1A3B47"/>
                </a:solidFill>
                <a:latin typeface="Soho Gothic Pro Light"/>
                <a:ea typeface="Soho Gothic Pro Light"/>
              </a:rPr>
              <a:t>Encargado en generar reglas de alerta sobre elasticsearch (con Elastalert)</a:t>
            </a:r>
            <a:endParaRPr lang="es-ES" sz="1100" b="0" strike="noStrike" spc="-1">
              <a:latin typeface="Arial"/>
            </a:endParaRPr>
          </a:p>
          <a:p>
            <a:pPr marL="171360" indent="-169920" algn="just">
              <a:lnSpc>
                <a:spcPct val="100000"/>
              </a:lnSpc>
              <a:spcBef>
                <a:spcPts val="567"/>
              </a:spcBef>
              <a:spcAft>
                <a:spcPts val="567"/>
              </a:spcAft>
              <a:buClr>
                <a:srgbClr val="1A3B47"/>
              </a:buClr>
              <a:buFont typeface="Arial,Sans-Serif"/>
              <a:buChar char="•"/>
            </a:pPr>
            <a:r>
              <a:rPr lang="es-ES" sz="1100" b="0" strike="noStrike" spc="-1">
                <a:solidFill>
                  <a:srgbClr val="1A3B47"/>
                </a:solidFill>
                <a:latin typeface="Soho Gothic Pro Light"/>
                <a:ea typeface="Soho Gothic Pro Light"/>
              </a:rPr>
              <a:t>Encargado de crear dashboards en kibana y resolver incidencias del stack ELK</a:t>
            </a:r>
            <a:endParaRPr lang="es-ES" sz="1100" b="0" strike="noStrike" spc="-1">
              <a:latin typeface="Arial"/>
            </a:endParaRPr>
          </a:p>
          <a:p>
            <a:pPr marL="171360" indent="-169920" algn="just">
              <a:lnSpc>
                <a:spcPct val="100000"/>
              </a:lnSpc>
              <a:spcBef>
                <a:spcPts val="567"/>
              </a:spcBef>
              <a:spcAft>
                <a:spcPts val="567"/>
              </a:spcAft>
              <a:buClr>
                <a:srgbClr val="1A3B47"/>
              </a:buClr>
              <a:buFont typeface="Arial,Sans-Serif"/>
              <a:buChar char="•"/>
            </a:pPr>
            <a:endParaRPr lang="es-ES" sz="1100" b="0" strike="noStrike" spc="-1">
              <a:latin typeface="Arial"/>
            </a:endParaRPr>
          </a:p>
        </p:txBody>
      </p:sp>
      <p:sp>
        <p:nvSpPr>
          <p:cNvPr id="49" name="CuadroTexto 45"/>
          <p:cNvSpPr/>
          <p:nvPr/>
        </p:nvSpPr>
        <p:spPr>
          <a:xfrm>
            <a:off x="5342760" y="1743120"/>
            <a:ext cx="3847320" cy="31287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marL="171360" indent="-169920" algn="just">
              <a:lnSpc>
                <a:spcPct val="100000"/>
              </a:lnSpc>
              <a:spcBef>
                <a:spcPts val="567"/>
              </a:spcBef>
              <a:spcAft>
                <a:spcPts val="567"/>
              </a:spcAft>
              <a:buClr>
                <a:srgbClr val="1A3B47"/>
              </a:buClr>
              <a:buFont typeface="Arial,Sans-Serif"/>
              <a:buChar char="•"/>
            </a:pPr>
            <a:r>
              <a:rPr lang="es-ES" sz="1100" b="0" strike="noStrike" spc="-1">
                <a:solidFill>
                  <a:srgbClr val="1A3B47"/>
                </a:solidFill>
                <a:latin typeface="Soho Gothic Pro Light"/>
                <a:ea typeface="Soho Gothic Pro Light"/>
              </a:rPr>
              <a:t>Automatizar procesos con Selenium y con Macros de escritorio</a:t>
            </a:r>
            <a:endParaRPr lang="es-ES" sz="1100" b="0" strike="noStrike" spc="-1">
              <a:latin typeface="Arial"/>
            </a:endParaRPr>
          </a:p>
          <a:p>
            <a:pPr marL="171360" indent="-169920" algn="just">
              <a:lnSpc>
                <a:spcPct val="100000"/>
              </a:lnSpc>
              <a:spcBef>
                <a:spcPts val="567"/>
              </a:spcBef>
              <a:spcAft>
                <a:spcPts val="567"/>
              </a:spcAft>
              <a:buClr>
                <a:srgbClr val="1A3B47"/>
              </a:buClr>
              <a:buFont typeface="Arial,Sans-Serif"/>
              <a:buChar char="•"/>
            </a:pPr>
            <a:r>
              <a:rPr lang="es-ES" sz="1100" b="0" strike="noStrike" spc="-1">
                <a:solidFill>
                  <a:srgbClr val="1A3B47"/>
                </a:solidFill>
                <a:latin typeface="Soho Gothic Pro Light"/>
                <a:ea typeface="Soho Gothic Pro Light"/>
              </a:rPr>
              <a:t>Responsabilidades de FrontEnd en algunos proyectos de maquetación y customización de estilos para clientes</a:t>
            </a:r>
            <a:endParaRPr lang="es-ES" sz="1100" b="0" strike="noStrike" spc="-1">
              <a:latin typeface="Arial"/>
            </a:endParaRPr>
          </a:p>
          <a:p>
            <a:pPr marL="171360" indent="-169920" algn="just">
              <a:lnSpc>
                <a:spcPct val="100000"/>
              </a:lnSpc>
              <a:spcBef>
                <a:spcPts val="567"/>
              </a:spcBef>
              <a:spcAft>
                <a:spcPts val="567"/>
              </a:spcAft>
              <a:buClr>
                <a:srgbClr val="1A3B47"/>
              </a:buClr>
              <a:buFont typeface="Arial,Sans-Serif"/>
              <a:buChar char="•"/>
            </a:pPr>
            <a:r>
              <a:rPr lang="es-ES" sz="1100" b="0" strike="noStrike" spc="-1">
                <a:solidFill>
                  <a:srgbClr val="1A3B47"/>
                </a:solidFill>
                <a:latin typeface="Soho Gothic Pro Light"/>
                <a:ea typeface="Soho Gothic Pro Light"/>
              </a:rPr>
              <a:t>Resolución de incidencias críticas tanto en procesos con Selenium como en Operaciones</a:t>
            </a:r>
            <a:endParaRPr lang="es-ES" sz="1100" b="0" strike="noStrike" spc="-1">
              <a:latin typeface="Arial"/>
            </a:endParaRPr>
          </a:p>
          <a:p>
            <a:pPr algn="just">
              <a:lnSpc>
                <a:spcPct val="100000"/>
              </a:lnSpc>
            </a:pPr>
            <a:endParaRPr lang="es-ES" sz="1100" b="0" strike="noStrike" spc="-1">
              <a:latin typeface="Arial"/>
            </a:endParaRPr>
          </a:p>
          <a:p>
            <a:pPr algn="just">
              <a:lnSpc>
                <a:spcPct val="100000"/>
              </a:lnSpc>
            </a:pPr>
            <a:endParaRPr lang="es-ES" sz="1100" b="0" strike="noStrike" spc="-1">
              <a:latin typeface="Arial"/>
            </a:endParaRPr>
          </a:p>
          <a:p>
            <a:pPr algn="just">
              <a:lnSpc>
                <a:spcPct val="100000"/>
              </a:lnSpc>
            </a:pPr>
            <a:endParaRPr lang="es-ES" sz="1100" b="0" strike="noStrike" spc="-1">
              <a:latin typeface="Arial"/>
            </a:endParaRPr>
          </a:p>
          <a:p>
            <a:pPr algn="just">
              <a:lnSpc>
                <a:spcPct val="100000"/>
              </a:lnSpc>
            </a:pPr>
            <a:r>
              <a:rPr lang="es-ES" sz="1100" b="1" strike="noStrike" spc="-1">
                <a:solidFill>
                  <a:srgbClr val="1A3B47"/>
                </a:solidFill>
                <a:latin typeface="Soho Gothic Pro Light"/>
                <a:ea typeface="Soho Gothic Pro Light"/>
              </a:rPr>
              <a:t>S-TIC (Lleida, Españal)</a:t>
            </a:r>
            <a:endParaRPr lang="es-ES" sz="1100" b="0" strike="noStrike" spc="-1">
              <a:latin typeface="Arial"/>
            </a:endParaRPr>
          </a:p>
          <a:p>
            <a:pPr algn="just">
              <a:lnSpc>
                <a:spcPct val="100000"/>
              </a:lnSpc>
            </a:pPr>
            <a:r>
              <a:rPr lang="es-ES" sz="1100" b="0" strike="noStrike" spc="-1">
                <a:solidFill>
                  <a:srgbClr val="1A3B47"/>
                </a:solidFill>
                <a:latin typeface="Soho Gothic Pro Light"/>
                <a:ea typeface="Soho Gothic Pro Light"/>
              </a:rPr>
              <a:t>Ful lStack</a:t>
            </a:r>
            <a:endParaRPr lang="es-ES" sz="1100" b="0" strike="noStrike" spc="-1">
              <a:latin typeface="Arial"/>
            </a:endParaRPr>
          </a:p>
          <a:p>
            <a:pPr algn="just">
              <a:lnSpc>
                <a:spcPct val="100000"/>
              </a:lnSpc>
            </a:pPr>
            <a:endParaRPr lang="es-ES" sz="1100" b="0" strike="noStrike" spc="-1">
              <a:latin typeface="Arial"/>
            </a:endParaRPr>
          </a:p>
          <a:p>
            <a:pPr marL="171360" indent="-169920" algn="just">
              <a:lnSpc>
                <a:spcPct val="100000"/>
              </a:lnSpc>
              <a:buClr>
                <a:srgbClr val="1A3B47"/>
              </a:buClr>
              <a:buFont typeface="Arial,Sans-Serif"/>
              <a:buChar char="•"/>
            </a:pPr>
            <a:r>
              <a:rPr lang="es-ES" sz="1100" b="0" strike="noStrike" spc="-1">
                <a:solidFill>
                  <a:srgbClr val="1A3B47"/>
                </a:solidFill>
                <a:latin typeface="Soho Gothic Pro Light"/>
                <a:ea typeface="Soho Gothic Pro Light"/>
              </a:rPr>
              <a:t>Desarrollo de websites con Drupal.</a:t>
            </a:r>
            <a:endParaRPr lang="es-ES" sz="1100" b="0" strike="noStrike" spc="-1">
              <a:latin typeface="Arial"/>
            </a:endParaRPr>
          </a:p>
          <a:p>
            <a:pPr algn="just">
              <a:lnSpc>
                <a:spcPct val="100000"/>
              </a:lnSpc>
            </a:pPr>
            <a:endParaRPr lang="es-ES" sz="1100" b="0" strike="noStrike" spc="-1">
              <a:latin typeface="Arial"/>
            </a:endParaRPr>
          </a:p>
          <a:p>
            <a:pPr marL="171360" indent="-169920" algn="just">
              <a:lnSpc>
                <a:spcPct val="100000"/>
              </a:lnSpc>
              <a:buClr>
                <a:srgbClr val="1A3B47"/>
              </a:buClr>
              <a:buFont typeface="Arial,Sans-Serif"/>
              <a:buChar char="•"/>
            </a:pPr>
            <a:r>
              <a:rPr lang="es-ES" sz="1100" b="0" strike="noStrike" spc="-1">
                <a:solidFill>
                  <a:srgbClr val="1A3B47"/>
                </a:solidFill>
                <a:latin typeface="Soho Gothic Pro Light"/>
                <a:ea typeface="Soho Gothic Pro Light"/>
              </a:rPr>
              <a:t>Responsabilidades tanto de BackEnd como de FrontEnd.</a:t>
            </a:r>
            <a:endParaRPr lang="es-ES" sz="1100" b="0" strike="noStrike" spc="-1">
              <a:latin typeface="Arial"/>
            </a:endParaRPr>
          </a:p>
          <a:p>
            <a:pPr algn="just">
              <a:lnSpc>
                <a:spcPct val="100000"/>
              </a:lnSpc>
            </a:pPr>
            <a:endParaRPr lang="es-ES" sz="1100" b="0" strike="noStrike" spc="-1">
              <a:latin typeface="Arial"/>
            </a:endParaRPr>
          </a:p>
        </p:txBody>
      </p:sp>
      <p:sp>
        <p:nvSpPr>
          <p:cNvPr id="50" name="CuadroTexto 54"/>
          <p:cNvSpPr/>
          <p:nvPr/>
        </p:nvSpPr>
        <p:spPr>
          <a:xfrm>
            <a:off x="9474480" y="5191200"/>
            <a:ext cx="1607760" cy="2721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solidFill>
                  <a:srgbClr val="204856"/>
                </a:solidFill>
                <a:latin typeface="Soho Gothic Pro"/>
                <a:ea typeface="DejaVu Sans"/>
              </a:rPr>
              <a:t>Idiomas</a:t>
            </a:r>
            <a:endParaRPr lang="es-ES" sz="1200" b="0" strike="noStrike" spc="-1">
              <a:latin typeface="Arial"/>
            </a:endParaRPr>
          </a:p>
        </p:txBody>
      </p:sp>
      <p:sp>
        <p:nvSpPr>
          <p:cNvPr id="51" name="CuadroTexto 55"/>
          <p:cNvSpPr/>
          <p:nvPr/>
        </p:nvSpPr>
        <p:spPr>
          <a:xfrm>
            <a:off x="9474840" y="5545440"/>
            <a:ext cx="2153520" cy="85104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000" b="1" strike="noStrike" spc="-1">
                <a:solidFill>
                  <a:srgbClr val="1A3B47"/>
                </a:solidFill>
                <a:latin typeface="Soho Gothic Pro Light"/>
                <a:ea typeface="Soho Gothic Pro Light"/>
              </a:rPr>
              <a:t>Castellano - </a:t>
            </a:r>
            <a:r>
              <a:rPr lang="es-ES" sz="1000" b="0" strike="noStrike" spc="-1">
                <a:solidFill>
                  <a:srgbClr val="1A3B47"/>
                </a:solidFill>
                <a:latin typeface="Soho Gothic Pro Light"/>
                <a:ea typeface="Soho Gothic Pro Light"/>
              </a:rPr>
              <a:t>Nativo</a:t>
            </a:r>
            <a:endParaRPr lang="es-ES" sz="1000" b="0" strike="noStrike" spc="-1">
              <a:latin typeface="Arial"/>
            </a:endParaRPr>
          </a:p>
          <a:p>
            <a:pPr>
              <a:lnSpc>
                <a:spcPct val="100000"/>
              </a:lnSpc>
            </a:pPr>
            <a:r>
              <a:rPr lang="es-ES" sz="1000" b="1" strike="noStrike" spc="-1">
                <a:solidFill>
                  <a:srgbClr val="1A3B47"/>
                </a:solidFill>
                <a:latin typeface="Soho Gothic Pro Light"/>
                <a:ea typeface="Soho Gothic Pro Light"/>
              </a:rPr>
              <a:t>Catalán - </a:t>
            </a:r>
            <a:r>
              <a:rPr lang="es-ES" sz="1000" b="0" strike="noStrike" spc="-1">
                <a:solidFill>
                  <a:srgbClr val="1A3B47"/>
                </a:solidFill>
                <a:latin typeface="Soho Gothic Pro Light"/>
                <a:ea typeface="Soho Gothic Pro Light"/>
              </a:rPr>
              <a:t>Nativo</a:t>
            </a:r>
            <a:endParaRPr lang="es-ES" sz="1000" b="0" strike="noStrike" spc="-1">
              <a:latin typeface="Arial"/>
            </a:endParaRPr>
          </a:p>
          <a:p>
            <a:pPr>
              <a:lnSpc>
                <a:spcPct val="100000"/>
              </a:lnSpc>
            </a:pPr>
            <a:r>
              <a:rPr lang="es-ES" sz="1000" b="1" strike="noStrike" spc="-1">
                <a:solidFill>
                  <a:srgbClr val="1A3B47"/>
                </a:solidFill>
                <a:latin typeface="Soho Gothic Pro Light"/>
                <a:ea typeface="Soho Gothic Pro Light"/>
              </a:rPr>
              <a:t>Ingles - </a:t>
            </a:r>
            <a:r>
              <a:rPr lang="es-ES" sz="1000" b="0" strike="noStrike" spc="-1">
                <a:solidFill>
                  <a:srgbClr val="1A3B47"/>
                </a:solidFill>
                <a:latin typeface="Soho Gothic Pro Light"/>
                <a:ea typeface="Soho Gothic Pro Light"/>
              </a:rPr>
              <a:t>Nivel Intermedio</a:t>
            </a:r>
            <a:endParaRPr lang="es-ES" sz="1000" b="0" strike="noStrike" spc="-1">
              <a:latin typeface="Arial"/>
            </a:endParaRPr>
          </a:p>
          <a:p>
            <a:pPr>
              <a:lnSpc>
                <a:spcPct val="100000"/>
              </a:lnSpc>
            </a:pPr>
            <a:endParaRPr lang="es-ES" sz="1000" b="0" strike="noStrike" spc="-1">
              <a:latin typeface="Arial"/>
            </a:endParaRPr>
          </a:p>
          <a:p>
            <a:pPr>
              <a:lnSpc>
                <a:spcPct val="100000"/>
              </a:lnSpc>
            </a:pPr>
            <a:endParaRPr lang="es-ES" sz="1000" b="0" strike="noStrike" spc="-1">
              <a:latin typeface="Arial"/>
            </a:endParaRPr>
          </a:p>
        </p:txBody>
      </p:sp>
      <p:pic>
        <p:nvPicPr>
          <p:cNvPr id="52" name="Imagen 31"/>
          <p:cNvPicPr/>
          <p:nvPr/>
        </p:nvPicPr>
        <p:blipFill>
          <a:blip r:embed="rId3"/>
          <a:stretch/>
        </p:blipFill>
        <p:spPr>
          <a:xfrm>
            <a:off x="182880" y="6539400"/>
            <a:ext cx="622080" cy="208440"/>
          </a:xfrm>
          <a:prstGeom prst="rect">
            <a:avLst/>
          </a:prstGeom>
          <a:ln w="0">
            <a:noFill/>
          </a:ln>
        </p:spPr>
      </p:pic>
      <p:sp>
        <p:nvSpPr>
          <p:cNvPr id="53" name="CuadroTexto 40"/>
          <p:cNvSpPr/>
          <p:nvPr/>
        </p:nvSpPr>
        <p:spPr>
          <a:xfrm>
            <a:off x="3451680" y="110520"/>
            <a:ext cx="2691720" cy="4554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ctr">
              <a:lnSpc>
                <a:spcPct val="100000"/>
              </a:lnSpc>
            </a:pPr>
            <a:r>
              <a:rPr lang="es-ES" sz="2400" b="0" strike="noStrike" spc="-1">
                <a:solidFill>
                  <a:srgbClr val="FFFFFF"/>
                </a:solidFill>
                <a:latin typeface="Soho Gothic Pro Medium"/>
                <a:ea typeface="DejaVu Sans"/>
              </a:rPr>
              <a:t>DevOps</a:t>
            </a:r>
            <a:endParaRPr lang="es-ES" sz="2400" b="0" strike="noStrike" spc="-1">
              <a:latin typeface="Arial"/>
            </a:endParaRPr>
          </a:p>
        </p:txBody>
      </p:sp>
      <p:sp>
        <p:nvSpPr>
          <p:cNvPr id="54" name="CuadroTexto 30"/>
          <p:cNvSpPr/>
          <p:nvPr/>
        </p:nvSpPr>
        <p:spPr>
          <a:xfrm>
            <a:off x="87120" y="152640"/>
            <a:ext cx="2730240" cy="6994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2000" b="0" strike="noStrike" spc="-1">
                <a:solidFill>
                  <a:srgbClr val="FFFDEF"/>
                </a:solidFill>
                <a:latin typeface="Soho Gothic Pro Light"/>
                <a:ea typeface="Soho Gothic Pro Light"/>
              </a:rPr>
              <a:t>A.J.A.B.</a:t>
            </a:r>
            <a:endParaRPr lang="es-ES" sz="2000" b="0" strike="noStrike" spc="-1">
              <a:latin typeface="Arial"/>
            </a:endParaRPr>
          </a:p>
          <a:p>
            <a:pPr>
              <a:lnSpc>
                <a:spcPct val="100000"/>
              </a:lnSpc>
            </a:pPr>
            <a:endParaRPr lang="es-ES" sz="2000" b="0" strike="noStrike" spc="-1">
              <a:latin typeface="Arial"/>
            </a:endParaRPr>
          </a:p>
        </p:txBody>
      </p:sp>
      <p:sp>
        <p:nvSpPr>
          <p:cNvPr id="55" name="CuadroTexto 49"/>
          <p:cNvSpPr/>
          <p:nvPr/>
        </p:nvSpPr>
        <p:spPr>
          <a:xfrm>
            <a:off x="4880160" y="3615480"/>
            <a:ext cx="550440" cy="5011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900" b="0" strike="noStrike" spc="-1">
                <a:solidFill>
                  <a:srgbClr val="1A3B47"/>
                </a:solidFill>
                <a:latin typeface="Soho Gothic Pro Medium"/>
                <a:ea typeface="DejaVu Sans"/>
              </a:rPr>
              <a:t>2015</a:t>
            </a:r>
            <a:endParaRPr lang="es-ES" sz="900" b="0" strike="noStrike" spc="-1">
              <a:latin typeface="Arial"/>
            </a:endParaRPr>
          </a:p>
          <a:p>
            <a:pPr>
              <a:lnSpc>
                <a:spcPct val="100000"/>
              </a:lnSpc>
            </a:pPr>
            <a:r>
              <a:rPr lang="es-ES" sz="900" b="0" strike="noStrike" spc="-1">
                <a:solidFill>
                  <a:srgbClr val="1A3B47"/>
                </a:solidFill>
                <a:latin typeface="Soho Gothic Pro Medium"/>
                <a:ea typeface="DejaVu Sans"/>
              </a:rPr>
              <a:t>—</a:t>
            </a:r>
            <a:endParaRPr lang="es-ES" sz="900" b="0" strike="noStrike" spc="-1">
              <a:latin typeface="Arial"/>
            </a:endParaRPr>
          </a:p>
          <a:p>
            <a:pPr>
              <a:lnSpc>
                <a:spcPct val="100000"/>
              </a:lnSpc>
            </a:pPr>
            <a:r>
              <a:rPr lang="es-ES" sz="900" b="0" strike="noStrike" spc="-1">
                <a:solidFill>
                  <a:srgbClr val="1A3B47"/>
                </a:solidFill>
                <a:latin typeface="Soho Gothic Pro Medium"/>
                <a:ea typeface="DejaVu Sans"/>
              </a:rPr>
              <a:t>2013</a:t>
            </a:r>
            <a:endParaRPr lang="es-ES" sz="900" b="0" strike="noStrike" spc="-1">
              <a:latin typeface="Arial"/>
            </a:endParaRPr>
          </a:p>
        </p:txBody>
      </p:sp>
      <p:sp>
        <p:nvSpPr>
          <p:cNvPr id="56" name="CuadroTexto 37"/>
          <p:cNvSpPr/>
          <p:nvPr/>
        </p:nvSpPr>
        <p:spPr>
          <a:xfrm>
            <a:off x="9447480" y="2493000"/>
            <a:ext cx="1964520" cy="2721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solidFill>
                  <a:srgbClr val="204856"/>
                </a:solidFill>
                <a:latin typeface="Soho Gothic Pro"/>
                <a:ea typeface="DejaVu Sans"/>
              </a:rPr>
              <a:t>IT</a:t>
            </a:r>
            <a:endParaRPr lang="es-ES" sz="1200" b="0" strike="noStrike" spc="-1">
              <a:latin typeface="Arial"/>
            </a:endParaRPr>
          </a:p>
        </p:txBody>
      </p:sp>
      <p:sp>
        <p:nvSpPr>
          <p:cNvPr id="57" name="CuadroTexto 52"/>
          <p:cNvSpPr/>
          <p:nvPr/>
        </p:nvSpPr>
        <p:spPr>
          <a:xfrm>
            <a:off x="9437040" y="2821680"/>
            <a:ext cx="2829960" cy="19641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spcBef>
                <a:spcPts val="283"/>
              </a:spcBef>
              <a:spcAft>
                <a:spcPts val="283"/>
              </a:spcAft>
            </a:pPr>
            <a:r>
              <a:rPr lang="es-ES" sz="1000" b="1" strike="noStrike" spc="-1">
                <a:solidFill>
                  <a:srgbClr val="1A3B47"/>
                </a:solidFill>
                <a:latin typeface="Soho Gothic Pro Light"/>
                <a:ea typeface="Soho Gothic Pro Light"/>
              </a:rPr>
              <a:t>Lenguajes Programación:</a:t>
            </a:r>
            <a:r>
              <a:rPr lang="es-ES" sz="1000" b="0" strike="noStrike" spc="-1">
                <a:solidFill>
                  <a:srgbClr val="1A3B47"/>
                </a:solidFill>
                <a:latin typeface="Soho Gothic Pro Light"/>
                <a:ea typeface="Soho Gothic Pro Light"/>
              </a:rPr>
              <a:t> </a:t>
            </a:r>
            <a:r>
              <a:rPr lang="es-ES" sz="1000" b="0" i="1" strike="noStrike" spc="-1">
                <a:solidFill>
                  <a:srgbClr val="1A3B47"/>
                </a:solidFill>
                <a:latin typeface="Soho Gothic Pro Light"/>
                <a:ea typeface="Soho Gothic Pro Light"/>
              </a:rPr>
              <a:t>Java, Php, Python</a:t>
            </a:r>
            <a:endParaRPr lang="es-ES" sz="1000" b="0" strike="noStrike" spc="-1">
              <a:latin typeface="Arial"/>
            </a:endParaRPr>
          </a:p>
          <a:p>
            <a:pPr>
              <a:lnSpc>
                <a:spcPct val="100000"/>
              </a:lnSpc>
              <a:spcBef>
                <a:spcPts val="283"/>
              </a:spcBef>
              <a:spcAft>
                <a:spcPts val="283"/>
              </a:spcAft>
            </a:pPr>
            <a:r>
              <a:rPr lang="es-ES" sz="1000" b="1" strike="noStrike" spc="-1">
                <a:solidFill>
                  <a:srgbClr val="1A3B47"/>
                </a:solidFill>
                <a:latin typeface="Soho Gothic Pro Light"/>
                <a:ea typeface="Soho Gothic Pro Light"/>
              </a:rPr>
              <a:t>Scripting :</a:t>
            </a:r>
            <a:r>
              <a:rPr lang="es-ES" sz="1000" b="0" strike="noStrike" spc="-1">
                <a:solidFill>
                  <a:srgbClr val="1A3B47"/>
                </a:solidFill>
                <a:latin typeface="Soho Gothic Pro Light"/>
                <a:ea typeface="Soho Gothic Pro Light"/>
              </a:rPr>
              <a:t> </a:t>
            </a:r>
            <a:r>
              <a:rPr lang="es-ES" sz="1000" b="0" i="1" strike="noStrike" spc="-1">
                <a:solidFill>
                  <a:srgbClr val="1A3B47"/>
                </a:solidFill>
                <a:latin typeface="Soho Gothic Pro Light"/>
                <a:ea typeface="Soho Gothic Pro Light"/>
              </a:rPr>
              <a:t>Linux Scripting</a:t>
            </a:r>
            <a:endParaRPr lang="es-ES" sz="1000" b="0" strike="noStrike" spc="-1">
              <a:latin typeface="Arial"/>
            </a:endParaRPr>
          </a:p>
          <a:p>
            <a:pPr>
              <a:lnSpc>
                <a:spcPct val="100000"/>
              </a:lnSpc>
              <a:spcBef>
                <a:spcPts val="283"/>
              </a:spcBef>
              <a:spcAft>
                <a:spcPts val="283"/>
              </a:spcAft>
            </a:pPr>
            <a:r>
              <a:rPr lang="es-ES" sz="1000" b="1" strike="noStrike" spc="-1">
                <a:solidFill>
                  <a:srgbClr val="1A3B47"/>
                </a:solidFill>
                <a:latin typeface="Soho Gothic Pro Light"/>
                <a:ea typeface="Soho Gothic Pro Light"/>
              </a:rPr>
              <a:t>BBDD SQL:</a:t>
            </a:r>
            <a:r>
              <a:rPr lang="es-ES" sz="1000" b="0" strike="noStrike" spc="-1">
                <a:solidFill>
                  <a:srgbClr val="1A3B47"/>
                </a:solidFill>
                <a:latin typeface="Soho Gothic Pro Light"/>
                <a:ea typeface="Soho Gothic Pro Light"/>
              </a:rPr>
              <a:t> My</a:t>
            </a:r>
            <a:r>
              <a:rPr lang="es-ES" sz="1000" b="0" i="1" strike="noStrike" spc="-1">
                <a:solidFill>
                  <a:srgbClr val="1A3B47"/>
                </a:solidFill>
                <a:latin typeface="Soho Gothic Pro Light"/>
                <a:ea typeface="Soho Gothic Pro Light"/>
              </a:rPr>
              <a:t>SQL</a:t>
            </a:r>
            <a:endParaRPr lang="es-ES" sz="1000" b="0" strike="noStrike" spc="-1">
              <a:latin typeface="Arial"/>
            </a:endParaRPr>
          </a:p>
          <a:p>
            <a:pPr>
              <a:lnSpc>
                <a:spcPct val="100000"/>
              </a:lnSpc>
              <a:spcBef>
                <a:spcPts val="283"/>
              </a:spcBef>
              <a:spcAft>
                <a:spcPts val="283"/>
              </a:spcAft>
            </a:pPr>
            <a:r>
              <a:rPr lang="es-ES" sz="1000" b="1" strike="noStrike" spc="-1">
                <a:solidFill>
                  <a:srgbClr val="1A3B47"/>
                </a:solidFill>
                <a:latin typeface="Soho Gothic Pro Light"/>
                <a:ea typeface="Soho Gothic Pro Light"/>
              </a:rPr>
              <a:t>BBDD</a:t>
            </a:r>
            <a:r>
              <a:rPr lang="es-ES" sz="1000" b="0" strike="noStrike" spc="-1">
                <a:solidFill>
                  <a:srgbClr val="1A3B47"/>
                </a:solidFill>
                <a:latin typeface="Soho Gothic Pro Light"/>
                <a:ea typeface="Soho Gothic Pro Light"/>
              </a:rPr>
              <a:t>: </a:t>
            </a:r>
            <a:r>
              <a:rPr lang="es-ES" sz="1000" b="0" i="1" strike="noStrike" spc="-1">
                <a:solidFill>
                  <a:srgbClr val="1A3B47"/>
                </a:solidFill>
                <a:latin typeface="Soho Gothic Pro Light"/>
                <a:ea typeface="Soho Gothic Pro Light"/>
              </a:rPr>
              <a:t>MongoDB</a:t>
            </a:r>
            <a:endParaRPr lang="es-ES" sz="1000" b="0" strike="noStrike" spc="-1">
              <a:latin typeface="Arial"/>
            </a:endParaRPr>
          </a:p>
          <a:p>
            <a:pPr>
              <a:lnSpc>
                <a:spcPct val="100000"/>
              </a:lnSpc>
              <a:spcBef>
                <a:spcPts val="283"/>
              </a:spcBef>
              <a:spcAft>
                <a:spcPts val="283"/>
              </a:spcAft>
            </a:pPr>
            <a:r>
              <a:rPr lang="es-ES" sz="1000" b="1" strike="noStrike" spc="-1">
                <a:solidFill>
                  <a:srgbClr val="1A3B47"/>
                </a:solidFill>
                <a:latin typeface="Soho Gothic Pro Light"/>
                <a:ea typeface="Soho Gothic Pro Light"/>
              </a:rPr>
              <a:t>Platforms</a:t>
            </a:r>
            <a:r>
              <a:rPr lang="es-ES" sz="1000" b="0" strike="noStrike" spc="-1">
                <a:solidFill>
                  <a:srgbClr val="1A3B47"/>
                </a:solidFill>
                <a:latin typeface="Soho Gothic Pro Light"/>
                <a:ea typeface="Soho Gothic Pro Light"/>
              </a:rPr>
              <a:t>: </a:t>
            </a:r>
            <a:r>
              <a:rPr lang="es-ES" sz="1000" b="0" i="1" strike="noStrike" spc="-1">
                <a:solidFill>
                  <a:srgbClr val="1A3B47"/>
                </a:solidFill>
                <a:latin typeface="Soho Gothic Pro Light"/>
                <a:ea typeface="Soho Gothic Pro Light"/>
              </a:rPr>
              <a:t>Gcloud Google</a:t>
            </a:r>
            <a:endParaRPr lang="es-ES" sz="1000" b="0" strike="noStrike" spc="-1">
              <a:latin typeface="Arial"/>
            </a:endParaRPr>
          </a:p>
          <a:p>
            <a:pPr>
              <a:lnSpc>
                <a:spcPct val="100000"/>
              </a:lnSpc>
              <a:spcBef>
                <a:spcPts val="283"/>
              </a:spcBef>
              <a:spcAft>
                <a:spcPts val="283"/>
              </a:spcAft>
            </a:pPr>
            <a:r>
              <a:rPr lang="es-ES" sz="1000" b="1" strike="noStrike" spc="-1">
                <a:solidFill>
                  <a:srgbClr val="1A3B47"/>
                </a:solidFill>
                <a:latin typeface="Soho Gothic Pro Light"/>
                <a:ea typeface="Soho Gothic Pro Light"/>
              </a:rPr>
              <a:t>Frameworks</a:t>
            </a:r>
            <a:r>
              <a:rPr lang="es-ES" sz="1000" b="0" strike="noStrike" spc="-1">
                <a:solidFill>
                  <a:srgbClr val="1A3B47"/>
                </a:solidFill>
                <a:latin typeface="Soho Gothic Pro Light"/>
                <a:ea typeface="Soho Gothic Pro Light"/>
              </a:rPr>
              <a:t>: Symfony, Flask, Drupal</a:t>
            </a:r>
            <a:endParaRPr lang="es-ES" sz="1000" b="0" strike="noStrike" spc="-1">
              <a:latin typeface="Arial"/>
            </a:endParaRPr>
          </a:p>
          <a:p>
            <a:pPr>
              <a:lnSpc>
                <a:spcPct val="100000"/>
              </a:lnSpc>
              <a:spcBef>
                <a:spcPts val="283"/>
              </a:spcBef>
              <a:spcAft>
                <a:spcPts val="283"/>
              </a:spcAft>
            </a:pPr>
            <a:r>
              <a:rPr lang="es-ES" sz="1000" b="1" strike="noStrike" spc="-1">
                <a:solidFill>
                  <a:srgbClr val="1A3B47"/>
                </a:solidFill>
                <a:latin typeface="Soho Gothic Pro Light"/>
                <a:ea typeface="Soho Gothic Pro Light"/>
              </a:rPr>
              <a:t>FrontEnd</a:t>
            </a:r>
            <a:r>
              <a:rPr lang="es-ES" sz="1000" b="0" i="1" strike="noStrike" spc="-1">
                <a:solidFill>
                  <a:srgbClr val="1A3B47"/>
                </a:solidFill>
                <a:latin typeface="Soho Gothic Pro Light"/>
                <a:ea typeface="Soho Gothic Pro Light"/>
              </a:rPr>
              <a:t>: CSS &amp; Less</a:t>
            </a:r>
            <a:endParaRPr lang="es-ES" sz="1000" b="0" strike="noStrike" spc="-1">
              <a:latin typeface="Arial"/>
            </a:endParaRPr>
          </a:p>
          <a:p>
            <a:pPr>
              <a:lnSpc>
                <a:spcPct val="100000"/>
              </a:lnSpc>
              <a:spcBef>
                <a:spcPts val="283"/>
              </a:spcBef>
              <a:spcAft>
                <a:spcPts val="283"/>
              </a:spcAft>
            </a:pPr>
            <a:r>
              <a:rPr lang="es-ES" sz="1000" b="1" strike="noStrike" spc="-1">
                <a:solidFill>
                  <a:srgbClr val="1A3B47"/>
                </a:solidFill>
                <a:latin typeface="Soho Gothic Pro Light"/>
                <a:ea typeface="Soho Gothic Pro Light"/>
              </a:rPr>
              <a:t>Otras tecnologías:</a:t>
            </a:r>
            <a:r>
              <a:rPr lang="es-ES" sz="1000" b="0" strike="noStrike" spc="-1">
                <a:solidFill>
                  <a:srgbClr val="1A3B47"/>
                </a:solidFill>
                <a:latin typeface="Soho Gothic Pro Light"/>
                <a:ea typeface="Soho Gothic Pro Light"/>
              </a:rPr>
              <a:t> scrapping con Selenium y automatizar procesos con macro de escritorio</a:t>
            </a:r>
            <a:endParaRPr lang="es-ES" sz="1000" b="0" strike="noStrike" spc="-1">
              <a:latin typeface="Arial"/>
            </a:endParaRPr>
          </a:p>
        </p:txBody>
      </p:sp>
      <p:sp>
        <p:nvSpPr>
          <p:cNvPr id="58" name="CuadroTexto 56"/>
          <p:cNvSpPr/>
          <p:nvPr/>
        </p:nvSpPr>
        <p:spPr>
          <a:xfrm>
            <a:off x="9439200" y="703800"/>
            <a:ext cx="1964520" cy="2721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solidFill>
                  <a:srgbClr val="204856"/>
                </a:solidFill>
                <a:latin typeface="Soho Gothic Pro"/>
                <a:ea typeface="DejaVu Sans"/>
              </a:rPr>
              <a:t>Educación</a:t>
            </a:r>
            <a:endParaRPr lang="es-ES" sz="1200" b="0" strike="noStrike" spc="-1">
              <a:latin typeface="Arial"/>
            </a:endParaRPr>
          </a:p>
        </p:txBody>
      </p:sp>
      <p:sp>
        <p:nvSpPr>
          <p:cNvPr id="59" name="CuadroTexto 70"/>
          <p:cNvSpPr/>
          <p:nvPr/>
        </p:nvSpPr>
        <p:spPr>
          <a:xfrm>
            <a:off x="9827280" y="1100520"/>
            <a:ext cx="2231640" cy="5464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000" b="1" strike="noStrike" spc="-1">
                <a:solidFill>
                  <a:srgbClr val="1A3B47"/>
                </a:solidFill>
                <a:latin typeface="Soho Gothic Pro Light"/>
                <a:ea typeface="Soho Gothic Pro Light"/>
              </a:rPr>
              <a:t>CFGS de Desarrollo de Aplicaciones</a:t>
            </a:r>
            <a:endParaRPr lang="es-ES" sz="1000" b="0" strike="noStrike" spc="-1">
              <a:latin typeface="Arial"/>
            </a:endParaRPr>
          </a:p>
          <a:p>
            <a:pPr>
              <a:lnSpc>
                <a:spcPct val="100000"/>
              </a:lnSpc>
            </a:pPr>
            <a:r>
              <a:rPr lang="es-ES" sz="1000" b="1" strike="noStrike" spc="-1">
                <a:solidFill>
                  <a:srgbClr val="1A3B47"/>
                </a:solidFill>
                <a:latin typeface="Soho Gothic Pro Light"/>
                <a:ea typeface="Soho Gothic Pro Light"/>
              </a:rPr>
              <a:t>Multiplataforma (IOC).</a:t>
            </a:r>
            <a:endParaRPr lang="es-ES" sz="1000" b="0" strike="noStrike" spc="-1">
              <a:latin typeface="Arial"/>
            </a:endParaRPr>
          </a:p>
          <a:p>
            <a:pPr>
              <a:lnSpc>
                <a:spcPct val="100000"/>
              </a:lnSpc>
            </a:pPr>
            <a:r>
              <a:rPr lang="es-ES" sz="1000" b="0" strike="noStrike" spc="-1">
                <a:solidFill>
                  <a:srgbClr val="1A3B47"/>
                </a:solidFill>
                <a:latin typeface="Soho Gothic Pro Light"/>
                <a:ea typeface="Soho Gothic Pro Light"/>
              </a:rPr>
              <a:t>IOC (Institut Obert de Catalunya)</a:t>
            </a:r>
            <a:endParaRPr lang="es-ES" sz="1000" b="0" strike="noStrike" spc="-1">
              <a:latin typeface="Arial"/>
            </a:endParaRPr>
          </a:p>
        </p:txBody>
      </p:sp>
      <p:sp>
        <p:nvSpPr>
          <p:cNvPr id="60" name="CuadroTexto 73"/>
          <p:cNvSpPr/>
          <p:nvPr/>
        </p:nvSpPr>
        <p:spPr>
          <a:xfrm>
            <a:off x="9430200" y="1104480"/>
            <a:ext cx="550440" cy="5011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900" b="0" strike="noStrike" spc="-1">
                <a:solidFill>
                  <a:srgbClr val="1A3B47"/>
                </a:solidFill>
                <a:latin typeface="Soho Gothic Pro Medium"/>
                <a:ea typeface="DejaVu Sans"/>
              </a:rPr>
              <a:t>2021</a:t>
            </a:r>
            <a:endParaRPr lang="es-ES" sz="900" b="0" strike="noStrike" spc="-1">
              <a:latin typeface="Arial"/>
            </a:endParaRPr>
          </a:p>
          <a:p>
            <a:pPr>
              <a:lnSpc>
                <a:spcPct val="100000"/>
              </a:lnSpc>
            </a:pPr>
            <a:r>
              <a:rPr lang="es-ES" sz="900" b="0" strike="noStrike" spc="-1">
                <a:solidFill>
                  <a:srgbClr val="1A3B47"/>
                </a:solidFill>
                <a:latin typeface="Soho Gothic Pro Medium"/>
                <a:ea typeface="DejaVu Sans"/>
              </a:rPr>
              <a:t>—</a:t>
            </a:r>
            <a:endParaRPr lang="es-ES" sz="900" b="0" strike="noStrike" spc="-1">
              <a:latin typeface="Arial"/>
            </a:endParaRPr>
          </a:p>
          <a:p>
            <a:pPr>
              <a:lnSpc>
                <a:spcPct val="100000"/>
              </a:lnSpc>
            </a:pPr>
            <a:r>
              <a:rPr lang="es-ES" sz="900" b="0" strike="noStrike" spc="-1">
                <a:solidFill>
                  <a:srgbClr val="1A3B47"/>
                </a:solidFill>
                <a:latin typeface="Soho Gothic Pro Medium"/>
                <a:ea typeface="DejaVu Sans"/>
              </a:rPr>
              <a:t>2016</a:t>
            </a:r>
            <a:endParaRPr lang="es-ES" sz="900" b="0" strike="noStrike" spc="-1">
              <a:latin typeface="Arial"/>
            </a:endParaRPr>
          </a:p>
        </p:txBody>
      </p:sp>
      <p:sp>
        <p:nvSpPr>
          <p:cNvPr id="61" name="CuadroTexto 49_0"/>
          <p:cNvSpPr/>
          <p:nvPr/>
        </p:nvSpPr>
        <p:spPr>
          <a:xfrm>
            <a:off x="277560" y="3998880"/>
            <a:ext cx="550440" cy="5011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900" b="0" strike="noStrike" spc="-1">
                <a:solidFill>
                  <a:srgbClr val="1A3B47"/>
                </a:solidFill>
                <a:latin typeface="Soho Gothic Pro Medium"/>
                <a:ea typeface="DejaVu Sans"/>
              </a:rPr>
              <a:t>2021</a:t>
            </a:r>
            <a:endParaRPr lang="es-ES" sz="900" b="0" strike="noStrike" spc="-1">
              <a:latin typeface="Arial"/>
            </a:endParaRPr>
          </a:p>
          <a:p>
            <a:pPr>
              <a:lnSpc>
                <a:spcPct val="100000"/>
              </a:lnSpc>
            </a:pPr>
            <a:r>
              <a:rPr lang="es-ES" sz="900" b="0" strike="noStrike" spc="-1">
                <a:solidFill>
                  <a:srgbClr val="1A3B47"/>
                </a:solidFill>
                <a:latin typeface="Soho Gothic Pro Medium"/>
                <a:ea typeface="DejaVu Sans"/>
              </a:rPr>
              <a:t>—</a:t>
            </a:r>
            <a:endParaRPr lang="es-ES" sz="900" b="0" strike="noStrike" spc="-1">
              <a:latin typeface="Arial"/>
            </a:endParaRPr>
          </a:p>
          <a:p>
            <a:pPr>
              <a:lnSpc>
                <a:spcPct val="100000"/>
              </a:lnSpc>
            </a:pPr>
            <a:r>
              <a:rPr lang="es-ES" sz="900" b="0" strike="noStrike" spc="-1">
                <a:solidFill>
                  <a:srgbClr val="1A3B47"/>
                </a:solidFill>
                <a:latin typeface="Soho Gothic Pro Medium"/>
                <a:ea typeface="DejaVu Sans"/>
              </a:rPr>
              <a:t>2015</a:t>
            </a:r>
            <a:endParaRPr lang="es-ES" sz="900" b="0" strike="noStrike" spc="-1">
              <a:latin typeface="Arial"/>
            </a:endParaRPr>
          </a:p>
        </p:txBody>
      </p:sp>
      <p:sp>
        <p:nvSpPr>
          <p:cNvPr id="20" name="CuadroTexto 30_0"/>
          <p:cNvSpPr/>
          <p:nvPr/>
        </p:nvSpPr>
        <p:spPr>
          <a:xfrm>
            <a:off x="5635480" y="152640"/>
            <a:ext cx="3766681"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Alvarez Bruned, Alberto Jorge</a:t>
            </a:r>
            <a:endParaRPr lang="es-ES" sz="2000" b="0" strike="noStrike" spc="-1">
              <a:solidFill>
                <a:schemeClr val="bg1"/>
              </a:solidFill>
              <a:latin typeface="Arial"/>
            </a:endParaRPr>
          </a:p>
        </p:txBody>
      </p:sp>
    </p:spTree>
    <p:extLst>
      <p:ext uri="{BB962C8B-B14F-4D97-AF65-F5344CB8AC3E}">
        <p14:creationId xmlns:p14="http://schemas.microsoft.com/office/powerpoint/2010/main" val="1425038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ángulo 38">
            <a:extLst>
              <a:ext uri="{FF2B5EF4-FFF2-40B4-BE49-F238E27FC236}">
                <a16:creationId xmlns:a16="http://schemas.microsoft.com/office/drawing/2014/main" id="{187520E2-A78B-FB4C-BB66-37962870F3B0}"/>
              </a:ext>
            </a:extLst>
          </p:cNvPr>
          <p:cNvSpPr/>
          <p:nvPr/>
        </p:nvSpPr>
        <p:spPr>
          <a:xfrm>
            <a:off x="9388192" y="-202625"/>
            <a:ext cx="2888475" cy="7060625"/>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1351"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37" name="CuadroTexto 36">
            <a:extLst>
              <a:ext uri="{FF2B5EF4-FFF2-40B4-BE49-F238E27FC236}">
                <a16:creationId xmlns:a16="http://schemas.microsoft.com/office/drawing/2014/main" id="{E4530058-C2FA-384F-825E-F61EC4296641}"/>
              </a:ext>
            </a:extLst>
          </p:cNvPr>
          <p:cNvSpPr txBox="1"/>
          <p:nvPr/>
        </p:nvSpPr>
        <p:spPr>
          <a:xfrm>
            <a:off x="171732" y="731068"/>
            <a:ext cx="9216460" cy="584968"/>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Arquitecto</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bigdata</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senior, con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má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de 17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año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de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experiencia</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en el sector de IT.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Especializado</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en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arquitectura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BigData,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realizando</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tarea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de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definición</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y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validacion</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de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arquitectura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1A3B47"/>
                </a:solidFill>
                <a:effectLst/>
                <a:uLnTx/>
                <a:uFillTx/>
                <a:latin typeface="Soho Gothic Pro Light"/>
                <a:ea typeface="+mn-ea"/>
                <a:cs typeface="+mn-cs"/>
              </a:rPr>
              <a:t>Los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ultimo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5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año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he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estado</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trabajando</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con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proyectos</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a:t>
            </a:r>
            <a:r>
              <a:rPr kumimoji="0" lang="en-US" sz="1067" b="0" i="0" u="none" strike="noStrike" kern="1200" cap="none" spc="0" normalizeH="0" baseline="0" noProof="0" err="1">
                <a:ln>
                  <a:noFill/>
                </a:ln>
                <a:solidFill>
                  <a:srgbClr val="1A3B47"/>
                </a:solidFill>
                <a:effectLst/>
                <a:uLnTx/>
                <a:uFillTx/>
                <a:latin typeface="Soho Gothic Pro Light"/>
                <a:ea typeface="+mn-ea"/>
                <a:cs typeface="+mn-cs"/>
              </a:rPr>
              <a:t>utilizando</a:t>
            </a:r>
            <a:r>
              <a:rPr kumimoji="0" lang="en-US" sz="1067" b="0" i="0" u="none" strike="noStrike" kern="1200" cap="none" spc="0" normalizeH="0" baseline="0" noProof="0">
                <a:ln>
                  <a:noFill/>
                </a:ln>
                <a:solidFill>
                  <a:srgbClr val="1A3B47"/>
                </a:solidFill>
                <a:effectLst/>
                <a:uLnTx/>
                <a:uFillTx/>
                <a:latin typeface="Soho Gothic Pro Light"/>
                <a:ea typeface="+mn-ea"/>
                <a:cs typeface="+mn-cs"/>
              </a:rPr>
              <a:t> Cloudera, Spark, MongoDB, Impala, etc.</a:t>
            </a:r>
          </a:p>
        </p:txBody>
      </p:sp>
      <p:sp>
        <p:nvSpPr>
          <p:cNvPr id="40" name="CuadroTexto 39">
            <a:extLst>
              <a:ext uri="{FF2B5EF4-FFF2-40B4-BE49-F238E27FC236}">
                <a16:creationId xmlns:a16="http://schemas.microsoft.com/office/drawing/2014/main" id="{2671AB7D-9A8C-BF47-AEB3-28A9D0EE694D}"/>
              </a:ext>
            </a:extLst>
          </p:cNvPr>
          <p:cNvSpPr txBox="1"/>
          <p:nvPr/>
        </p:nvSpPr>
        <p:spPr>
          <a:xfrm>
            <a:off x="218240" y="1619929"/>
            <a:ext cx="551757" cy="507831"/>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AC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16</a:t>
            </a:r>
          </a:p>
        </p:txBody>
      </p:sp>
      <p:sp>
        <p:nvSpPr>
          <p:cNvPr id="45" name="CuadroTexto 44">
            <a:extLst>
              <a:ext uri="{FF2B5EF4-FFF2-40B4-BE49-F238E27FC236}">
                <a16:creationId xmlns:a16="http://schemas.microsoft.com/office/drawing/2014/main" id="{1813E8C3-18D9-0B4B-8FCA-406B39785552}"/>
              </a:ext>
            </a:extLst>
          </p:cNvPr>
          <p:cNvSpPr txBox="1"/>
          <p:nvPr/>
        </p:nvSpPr>
        <p:spPr>
          <a:xfrm>
            <a:off x="653864" y="1653465"/>
            <a:ext cx="2369472" cy="4616648"/>
          </a:xfrm>
          <a:prstGeom prst="rect">
            <a:avLst/>
          </a:prstGeom>
          <a:noFill/>
        </p:spPr>
        <p:txBody>
          <a:bodyPr wrap="square" rtlCol="0">
            <a:spAutoFit/>
          </a:bodyPr>
          <a:lstStyle/>
          <a:p>
            <a:pPr marL="0" marR="0" lvl="0" indent="0" defTabSz="913790" rtl="0" eaLnBrk="1" fontAlgn="auto" latinLnBrk="0" hangingPunct="1">
              <a:lnSpc>
                <a:spcPct val="100000"/>
              </a:lnSpc>
              <a:spcBef>
                <a:spcPts val="0"/>
              </a:spcBef>
              <a:spcAft>
                <a:spcPts val="0"/>
              </a:spcAft>
              <a:buClrTx/>
              <a:buSzTx/>
              <a:buFontTx/>
              <a:buNone/>
              <a:tabLst/>
              <a:defRPr/>
            </a:pPr>
            <a:r>
              <a:rPr lang="es-ES" sz="1100" b="1"/>
              <a:t>Minsait </a:t>
            </a:r>
            <a:r>
              <a:rPr lang="es-ES" sz="1100" b="1" err="1"/>
              <a:t>by</a:t>
            </a:r>
            <a:r>
              <a:rPr lang="es-ES" sz="1100" b="1"/>
              <a:t> Indra (Barcelona, España)</a:t>
            </a:r>
          </a:p>
          <a:p>
            <a:pPr marL="0" marR="0" lvl="0" indent="0" defTabSz="913790" rtl="0" eaLnBrk="1" fontAlgn="auto" latinLnBrk="0" hangingPunct="1">
              <a:lnSpc>
                <a:spcPct val="100000"/>
              </a:lnSpc>
              <a:spcBef>
                <a:spcPts val="0"/>
              </a:spcBef>
              <a:spcAft>
                <a:spcPts val="0"/>
              </a:spcAft>
              <a:buClrTx/>
              <a:buSzTx/>
              <a:buFontTx/>
              <a:buNone/>
              <a:tabLst/>
              <a:defRPr/>
            </a:pPr>
            <a:r>
              <a:rPr lang="es-ES" sz="1100"/>
              <a:t>Arquitecto Senior Big Data</a:t>
            </a:r>
          </a:p>
          <a:p>
            <a:pPr marL="0" marR="0" lvl="0" indent="0" defTabSz="913790" rtl="0" eaLnBrk="1" fontAlgn="auto" latinLnBrk="0" hangingPunct="1">
              <a:lnSpc>
                <a:spcPct val="100000"/>
              </a:lnSpc>
              <a:spcBef>
                <a:spcPts val="0"/>
              </a:spcBef>
              <a:spcAft>
                <a:spcPts val="0"/>
              </a:spcAft>
              <a:buClrTx/>
              <a:buSzTx/>
              <a:buFontTx/>
              <a:buNone/>
              <a:tabLst/>
              <a:defRPr/>
            </a:pPr>
            <a:endParaRPr lang="es-ES" sz="1100"/>
          </a:p>
          <a:p>
            <a:pPr marL="92072" marR="0" lvl="0" indent="-92072" defTabSz="914377" rtl="0" eaLnBrk="1" fontAlgn="auto" latinLnBrk="0" hangingPunct="1">
              <a:lnSpc>
                <a:spcPct val="100000"/>
              </a:lnSpc>
              <a:spcBef>
                <a:spcPts val="600"/>
              </a:spcBef>
              <a:spcAft>
                <a:spcPts val="0"/>
              </a:spcAft>
              <a:buClrTx/>
              <a:buSzTx/>
              <a:buFontTx/>
              <a:buChar char="•"/>
              <a:tabLst/>
              <a:defRPr b="0" i="0"/>
            </a:pPr>
            <a:r>
              <a:rPr lang="es-ES" sz="1100"/>
              <a:t>Motor de calidad sobre Big data capaz de procesar ficheros y datos provenientes de sistemas terceros e internet.</a:t>
            </a:r>
          </a:p>
          <a:p>
            <a:pPr marL="92072" marR="0" lvl="0" indent="-92072" defTabSz="914377" rtl="0" eaLnBrk="1" fontAlgn="auto" latinLnBrk="0" hangingPunct="1">
              <a:lnSpc>
                <a:spcPct val="100000"/>
              </a:lnSpc>
              <a:spcBef>
                <a:spcPts val="600"/>
              </a:spcBef>
              <a:spcAft>
                <a:spcPts val="0"/>
              </a:spcAft>
              <a:buClrTx/>
              <a:buSzTx/>
              <a:buFontTx/>
              <a:buChar char="•"/>
              <a:tabLst/>
              <a:defRPr b="0" i="0"/>
            </a:pPr>
            <a:r>
              <a:rPr lang="es-ES" sz="1100"/>
              <a:t>Diseño de la aplicación de entidades de negocio para exponer los datos de diversos orígenes homogenizados en un </a:t>
            </a:r>
            <a:r>
              <a:rPr lang="es-ES" sz="1100" err="1"/>
              <a:t>DataLake</a:t>
            </a:r>
            <a:r>
              <a:rPr lang="es-ES" sz="1100"/>
              <a:t> a los frontales via MongoDB y OSB.</a:t>
            </a:r>
          </a:p>
          <a:p>
            <a:pPr marL="92072" marR="0" lvl="0" indent="-92072" defTabSz="914377" rtl="0" eaLnBrk="1" fontAlgn="auto" latinLnBrk="0" hangingPunct="1">
              <a:lnSpc>
                <a:spcPct val="100000"/>
              </a:lnSpc>
              <a:spcBef>
                <a:spcPts val="600"/>
              </a:spcBef>
              <a:spcAft>
                <a:spcPts val="0"/>
              </a:spcAft>
              <a:buClrTx/>
              <a:buSzTx/>
              <a:buFontTx/>
              <a:buChar char="•"/>
              <a:tabLst/>
              <a:defRPr b="0" i="0"/>
            </a:pPr>
            <a:r>
              <a:rPr lang="es-ES" sz="1100"/>
              <a:t>Soporte técnico a equipos de desarrollo.</a:t>
            </a:r>
          </a:p>
          <a:p>
            <a:pPr marL="92072" marR="0" lvl="0" indent="-92072" defTabSz="914377" rtl="0" eaLnBrk="1" fontAlgn="auto" latinLnBrk="0" hangingPunct="1">
              <a:lnSpc>
                <a:spcPct val="100000"/>
              </a:lnSpc>
              <a:spcBef>
                <a:spcPts val="600"/>
              </a:spcBef>
              <a:spcAft>
                <a:spcPts val="0"/>
              </a:spcAft>
              <a:buClrTx/>
              <a:buSzTx/>
              <a:buFontTx/>
              <a:buChar char="•"/>
              <a:tabLst/>
              <a:defRPr b="0" i="0"/>
            </a:pPr>
            <a:r>
              <a:rPr lang="es-ES" sz="1100"/>
              <a:t>Elaboración de documentación técnica y funcional.</a:t>
            </a:r>
          </a:p>
          <a:p>
            <a:pPr marL="92072" marR="0" lvl="0" indent="-92072" defTabSz="914377" rtl="0" eaLnBrk="1" fontAlgn="auto" latinLnBrk="0" hangingPunct="1">
              <a:lnSpc>
                <a:spcPct val="100000"/>
              </a:lnSpc>
              <a:spcBef>
                <a:spcPts val="600"/>
              </a:spcBef>
              <a:spcAft>
                <a:spcPts val="0"/>
              </a:spcAft>
              <a:buClrTx/>
              <a:buSzTx/>
              <a:buFontTx/>
              <a:buChar char="•"/>
              <a:tabLst/>
              <a:defRPr b="0" i="0"/>
            </a:pPr>
            <a:r>
              <a:rPr lang="es-ES" sz="1100"/>
              <a:t>Gestión de equipos de desarrollo</a:t>
            </a:r>
          </a:p>
          <a:p>
            <a:pPr marL="92072" marR="0" lvl="0" indent="-92072" defTabSz="914377" rtl="0" eaLnBrk="1" fontAlgn="auto" latinLnBrk="0" hangingPunct="1">
              <a:lnSpc>
                <a:spcPct val="100000"/>
              </a:lnSpc>
              <a:spcBef>
                <a:spcPts val="600"/>
              </a:spcBef>
              <a:spcAft>
                <a:spcPts val="0"/>
              </a:spcAft>
              <a:buClrTx/>
              <a:buSzTx/>
              <a:buFontTx/>
              <a:buChar char="•"/>
              <a:tabLst/>
              <a:defRPr b="0" i="0"/>
            </a:pPr>
            <a:r>
              <a:rPr lang="es-ES" sz="1100" err="1"/>
              <a:t>DevOps</a:t>
            </a:r>
            <a:r>
              <a:rPr lang="es-ES" sz="1100"/>
              <a:t>, integración continua, entrega continua.</a:t>
            </a:r>
          </a:p>
          <a:p>
            <a:pPr marL="92072" marR="0" lvl="0" indent="-92072" defTabSz="914377" rtl="0" eaLnBrk="1" fontAlgn="auto" latinLnBrk="0" hangingPunct="1">
              <a:lnSpc>
                <a:spcPct val="100000"/>
              </a:lnSpc>
              <a:spcBef>
                <a:spcPts val="0"/>
              </a:spcBef>
              <a:spcAft>
                <a:spcPts val="0"/>
              </a:spcAft>
              <a:buClrTx/>
              <a:buSzTx/>
              <a:buFontTx/>
              <a:buChar char="•"/>
              <a:tabLst/>
              <a:defRPr b="0" i="0"/>
            </a:pPr>
            <a:r>
              <a:rPr lang="es-ES" sz="1100"/>
              <a:t>Definición de estándares de calidad y buenas prácticas para los equipos de desarrollo.</a:t>
            </a:r>
          </a:p>
        </p:txBody>
      </p:sp>
      <p:sp>
        <p:nvSpPr>
          <p:cNvPr id="46" name="CuadroTexto 45">
            <a:extLst>
              <a:ext uri="{FF2B5EF4-FFF2-40B4-BE49-F238E27FC236}">
                <a16:creationId xmlns:a16="http://schemas.microsoft.com/office/drawing/2014/main" id="{89221374-508B-FF4A-9DFB-601E8041A74B}"/>
              </a:ext>
            </a:extLst>
          </p:cNvPr>
          <p:cNvSpPr txBox="1"/>
          <p:nvPr/>
        </p:nvSpPr>
        <p:spPr>
          <a:xfrm>
            <a:off x="4746792" y="1668700"/>
            <a:ext cx="2527412" cy="2446824"/>
          </a:xfrm>
          <a:prstGeom prst="rect">
            <a:avLst/>
          </a:prstGeom>
          <a:noFill/>
        </p:spPr>
        <p:txBody>
          <a:bodyPr wrap="square" rtlCol="0">
            <a:spAutoFit/>
          </a:bodyPr>
          <a:lstStyle/>
          <a:p>
            <a:pPr marL="0" marR="0" lvl="0" indent="0" algn="just" defTabSz="913790" rtl="0" eaLnBrk="1" fontAlgn="auto" latinLnBrk="0" hangingPunct="1">
              <a:lnSpc>
                <a:spcPct val="100000"/>
              </a:lnSpc>
              <a:spcBef>
                <a:spcPts val="0"/>
              </a:spcBef>
              <a:spcAft>
                <a:spcPts val="0"/>
              </a:spcAft>
              <a:buClrTx/>
              <a:buSzTx/>
              <a:buFontTx/>
              <a:buNone/>
              <a:tabLst/>
              <a:defRPr/>
            </a:pPr>
            <a:r>
              <a:rPr lang="es-ES" sz="1100" b="1"/>
              <a:t>Minsait </a:t>
            </a:r>
            <a:r>
              <a:rPr lang="es-ES" sz="1100" b="1" err="1"/>
              <a:t>by</a:t>
            </a:r>
            <a:r>
              <a:rPr lang="es-ES" sz="1100" b="1"/>
              <a:t> Indra (Barcelona, España)</a:t>
            </a:r>
          </a:p>
          <a:p>
            <a:pPr marL="0" marR="0" lvl="0" indent="0" algn="just" defTabSz="913790" rtl="0" eaLnBrk="1" fontAlgn="auto" latinLnBrk="0" hangingPunct="1">
              <a:lnSpc>
                <a:spcPct val="100000"/>
              </a:lnSpc>
              <a:spcBef>
                <a:spcPts val="0"/>
              </a:spcBef>
              <a:spcAft>
                <a:spcPts val="0"/>
              </a:spcAft>
              <a:buClrTx/>
              <a:buSzTx/>
              <a:buFontTx/>
              <a:buNone/>
              <a:tabLst/>
              <a:defRPr/>
            </a:pPr>
            <a:r>
              <a:rPr lang="en-US" sz="1100"/>
              <a:t>SOA Architect</a:t>
            </a:r>
          </a:p>
          <a:p>
            <a:pPr marL="0" marR="0" lvl="0" indent="0" algn="just" defTabSz="913790" rtl="0" eaLnBrk="1" fontAlgn="auto" latinLnBrk="0" hangingPunct="1">
              <a:lnSpc>
                <a:spcPct val="100000"/>
              </a:lnSpc>
              <a:spcBef>
                <a:spcPts val="0"/>
              </a:spcBef>
              <a:spcAft>
                <a:spcPts val="0"/>
              </a:spcAft>
              <a:buClrTx/>
              <a:buSzTx/>
              <a:buFontTx/>
              <a:buNone/>
              <a:tabLst/>
              <a:defRPr/>
            </a:pPr>
            <a:endParaRPr lang="en-US" sz="1100"/>
          </a:p>
          <a:p>
            <a:pPr marL="92072" marR="0" lvl="1" indent="-92072" algn="l" defTabSz="914377" rtl="0" eaLnBrk="1" fontAlgn="auto" latinLnBrk="0" hangingPunct="1">
              <a:lnSpc>
                <a:spcPct val="100000"/>
              </a:lnSpc>
              <a:spcBef>
                <a:spcPts val="600"/>
              </a:spcBef>
              <a:spcAft>
                <a:spcPts val="0"/>
              </a:spcAft>
              <a:buClr>
                <a:srgbClr val="1A3B47"/>
              </a:buClr>
              <a:buSzPct val="45000"/>
              <a:buFontTx/>
              <a:buChar char="•"/>
              <a:tabLst/>
              <a:defRPr b="0" i="0"/>
            </a:pPr>
            <a:r>
              <a:rPr lang="es-ES" sz="1100"/>
              <a:t>Diseño de la arquitectura e infraestructura técnica de la nueva plataforma basada en SOA. PICA (plataforma de interoperabilidad de la Generalitat de Catalunya).</a:t>
            </a:r>
          </a:p>
          <a:p>
            <a:pPr marL="92072" marR="0" lvl="1" indent="-92072" algn="l" defTabSz="914377" rtl="0" eaLnBrk="1" fontAlgn="auto" latinLnBrk="0" hangingPunct="1">
              <a:lnSpc>
                <a:spcPct val="100000"/>
              </a:lnSpc>
              <a:spcBef>
                <a:spcPts val="600"/>
              </a:spcBef>
              <a:spcAft>
                <a:spcPts val="0"/>
              </a:spcAft>
              <a:buClr>
                <a:srgbClr val="1A3B47"/>
              </a:buClr>
              <a:buSzPct val="45000"/>
              <a:buFontTx/>
              <a:buChar char="•"/>
              <a:tabLst/>
              <a:defRPr b="0" i="0"/>
            </a:pPr>
            <a:r>
              <a:rPr lang="es-ES" sz="1100"/>
              <a:t>Análisis, diseño e implementación de los servicios de la plataforma PICA tanto en Oracle </a:t>
            </a:r>
            <a:r>
              <a:rPr lang="es-ES" sz="1100" err="1"/>
              <a:t>Service</a:t>
            </a:r>
            <a:r>
              <a:rPr lang="es-ES" sz="1100"/>
              <a:t> Bus como en </a:t>
            </a:r>
            <a:r>
              <a:rPr lang="es-ES" sz="1100" err="1"/>
              <a:t>Soa</a:t>
            </a:r>
            <a:r>
              <a:rPr lang="es-ES" sz="1100"/>
              <a:t>.</a:t>
            </a:r>
          </a:p>
        </p:txBody>
      </p:sp>
      <p:sp>
        <p:nvSpPr>
          <p:cNvPr id="49" name="CuadroTexto 48">
            <a:extLst>
              <a:ext uri="{FF2B5EF4-FFF2-40B4-BE49-F238E27FC236}">
                <a16:creationId xmlns:a16="http://schemas.microsoft.com/office/drawing/2014/main" id="{A669BC4B-6A50-864F-85AF-01EA17581A38}"/>
              </a:ext>
            </a:extLst>
          </p:cNvPr>
          <p:cNvSpPr txBox="1"/>
          <p:nvPr/>
        </p:nvSpPr>
        <p:spPr>
          <a:xfrm>
            <a:off x="4356261" y="1658244"/>
            <a:ext cx="551757" cy="507831"/>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16</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13</a:t>
            </a:r>
          </a:p>
        </p:txBody>
      </p:sp>
      <p:sp>
        <p:nvSpPr>
          <p:cNvPr id="55" name="CuadroTexto 54">
            <a:extLst>
              <a:ext uri="{FF2B5EF4-FFF2-40B4-BE49-F238E27FC236}">
                <a16:creationId xmlns:a16="http://schemas.microsoft.com/office/drawing/2014/main" id="{BF1684E3-CE8A-1E4E-B964-0132E29D63C2}"/>
              </a:ext>
            </a:extLst>
          </p:cNvPr>
          <p:cNvSpPr txBox="1"/>
          <p:nvPr/>
        </p:nvSpPr>
        <p:spPr>
          <a:xfrm>
            <a:off x="9355909" y="5236625"/>
            <a:ext cx="1609032" cy="276999"/>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lang="es-ES" sz="1200" b="1">
                <a:solidFill>
                  <a:schemeClr val="tx1">
                    <a:lumMod val="95000"/>
                    <a:lumOff val="5000"/>
                  </a:schemeClr>
                </a:solidFill>
              </a:rPr>
              <a:t>Idiomas</a:t>
            </a:r>
          </a:p>
        </p:txBody>
      </p:sp>
      <p:sp>
        <p:nvSpPr>
          <p:cNvPr id="56" name="CuadroTexto 55">
            <a:extLst>
              <a:ext uri="{FF2B5EF4-FFF2-40B4-BE49-F238E27FC236}">
                <a16:creationId xmlns:a16="http://schemas.microsoft.com/office/drawing/2014/main" id="{BE67F8B7-F4EB-B543-BD33-1314BDD2C39B}"/>
              </a:ext>
            </a:extLst>
          </p:cNvPr>
          <p:cNvSpPr txBox="1"/>
          <p:nvPr/>
        </p:nvSpPr>
        <p:spPr>
          <a:xfrm>
            <a:off x="9509744" y="5502247"/>
            <a:ext cx="2154917" cy="1169551"/>
          </a:xfrm>
          <a:prstGeom prst="rect">
            <a:avLst/>
          </a:prstGeom>
          <a:noFill/>
        </p:spPr>
        <p:txBody>
          <a:bodyPr wrap="square" rtlCol="0">
            <a:spAutoFit/>
          </a:bodyPr>
          <a:lstStyle>
            <a:defPPr>
              <a:defRPr lang="es-ES"/>
            </a:defPPr>
            <a:lvl1pPr>
              <a:defRPr sz="1000" b="1"/>
            </a:lvl1pPr>
          </a:lstStyle>
          <a:p>
            <a:r>
              <a:rPr lang="es-ES"/>
              <a:t>Español </a:t>
            </a:r>
          </a:p>
          <a:p>
            <a:r>
              <a:rPr lang="es-ES" b="0"/>
              <a:t>Nativo</a:t>
            </a:r>
          </a:p>
          <a:p>
            <a:r>
              <a:rPr lang="es-ES"/>
              <a:t/>
            </a:r>
            <a:br>
              <a:rPr lang="es-ES"/>
            </a:br>
            <a:r>
              <a:rPr lang="es-ES"/>
              <a:t>Inglés</a:t>
            </a:r>
          </a:p>
          <a:p>
            <a:r>
              <a:rPr lang="es-ES" b="0"/>
              <a:t>Nivel avanzado</a:t>
            </a:r>
          </a:p>
          <a:p>
            <a:endParaRPr lang="es-ES"/>
          </a:p>
          <a:p>
            <a:endParaRPr lang="es-ES"/>
          </a:p>
        </p:txBody>
      </p:sp>
      <p:sp>
        <p:nvSpPr>
          <p:cNvPr id="64" name="CuadroTexto 63">
            <a:extLst>
              <a:ext uri="{FF2B5EF4-FFF2-40B4-BE49-F238E27FC236}">
                <a16:creationId xmlns:a16="http://schemas.microsoft.com/office/drawing/2014/main" id="{EC5938A8-E57B-1E46-AF63-2CE0CACC9782}"/>
              </a:ext>
            </a:extLst>
          </p:cNvPr>
          <p:cNvSpPr txBox="1"/>
          <p:nvPr/>
        </p:nvSpPr>
        <p:spPr>
          <a:xfrm>
            <a:off x="9388192" y="117753"/>
            <a:ext cx="1732857" cy="276999"/>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lang="es-ES" sz="1200" b="1">
                <a:solidFill>
                  <a:schemeClr val="tx1">
                    <a:lumMod val="95000"/>
                    <a:lumOff val="5000"/>
                  </a:schemeClr>
                </a:solidFill>
              </a:rPr>
              <a:t>Educación</a:t>
            </a:r>
          </a:p>
        </p:txBody>
      </p:sp>
      <p:sp>
        <p:nvSpPr>
          <p:cNvPr id="66" name="CuadroTexto 65">
            <a:extLst>
              <a:ext uri="{FF2B5EF4-FFF2-40B4-BE49-F238E27FC236}">
                <a16:creationId xmlns:a16="http://schemas.microsoft.com/office/drawing/2014/main" id="{2A66A929-B846-D44F-959A-6C9F46C29E0F}"/>
              </a:ext>
            </a:extLst>
          </p:cNvPr>
          <p:cNvSpPr txBox="1"/>
          <p:nvPr/>
        </p:nvSpPr>
        <p:spPr>
          <a:xfrm>
            <a:off x="9827648" y="512505"/>
            <a:ext cx="2670432" cy="400110"/>
          </a:xfrm>
          <a:prstGeom prst="rect">
            <a:avLst/>
          </a:prstGeom>
          <a:noFill/>
        </p:spPr>
        <p:txBody>
          <a:bodyPr wrap="square" rtlCol="0">
            <a:spAutoFit/>
          </a:bodyPr>
          <a:lstStyle/>
          <a:p>
            <a:pPr>
              <a:defRPr/>
            </a:pPr>
            <a:r>
              <a:rPr lang="es-ES" sz="1000" b="1"/>
              <a:t>Master en Ingeniería de Software</a:t>
            </a:r>
          </a:p>
          <a:p>
            <a:pPr marL="0" marR="0" lvl="0" indent="0" algn="l" defTabSz="913790" rtl="0" eaLnBrk="1" fontAlgn="auto" latinLnBrk="0" hangingPunct="1">
              <a:lnSpc>
                <a:spcPct val="100000"/>
              </a:lnSpc>
              <a:spcBef>
                <a:spcPts val="0"/>
              </a:spcBef>
              <a:spcAft>
                <a:spcPts val="0"/>
              </a:spcAft>
              <a:buClrTx/>
              <a:buSzTx/>
              <a:buFontTx/>
              <a:buNone/>
              <a:tabLst/>
              <a:defRPr/>
            </a:pPr>
            <a:r>
              <a:rPr lang="en-US" sz="1000" err="1"/>
              <a:t>Universitat</a:t>
            </a:r>
            <a:r>
              <a:rPr lang="en-US" sz="1000"/>
              <a:t> </a:t>
            </a:r>
            <a:r>
              <a:rPr lang="en-US" sz="1000" err="1"/>
              <a:t>Politécnica</a:t>
            </a:r>
            <a:r>
              <a:rPr lang="en-US" sz="1000"/>
              <a:t> de </a:t>
            </a:r>
            <a:r>
              <a:rPr lang="en-US" sz="1000" err="1"/>
              <a:t>Catalunya</a:t>
            </a:r>
            <a:endParaRPr lang="en-US" sz="1000"/>
          </a:p>
        </p:txBody>
      </p:sp>
      <p:sp>
        <p:nvSpPr>
          <p:cNvPr id="67" name="CuadroTexto 66">
            <a:extLst>
              <a:ext uri="{FF2B5EF4-FFF2-40B4-BE49-F238E27FC236}">
                <a16:creationId xmlns:a16="http://schemas.microsoft.com/office/drawing/2014/main" id="{561F596E-21F8-694B-836D-BD069D539A49}"/>
              </a:ext>
            </a:extLst>
          </p:cNvPr>
          <p:cNvSpPr txBox="1"/>
          <p:nvPr/>
        </p:nvSpPr>
        <p:spPr>
          <a:xfrm>
            <a:off x="9489287" y="1016578"/>
            <a:ext cx="551757" cy="507831"/>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1999</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1994</a:t>
            </a:r>
          </a:p>
        </p:txBody>
      </p:sp>
      <p:sp>
        <p:nvSpPr>
          <p:cNvPr id="68" name="CuadroTexto 67">
            <a:extLst>
              <a:ext uri="{FF2B5EF4-FFF2-40B4-BE49-F238E27FC236}">
                <a16:creationId xmlns:a16="http://schemas.microsoft.com/office/drawing/2014/main" id="{592FED21-684F-1C48-9233-F269DFEF0F10}"/>
              </a:ext>
            </a:extLst>
          </p:cNvPr>
          <p:cNvSpPr txBox="1"/>
          <p:nvPr/>
        </p:nvSpPr>
        <p:spPr>
          <a:xfrm>
            <a:off x="9861936" y="979144"/>
            <a:ext cx="2670432" cy="553998"/>
          </a:xfrm>
          <a:prstGeom prst="rect">
            <a:avLst/>
          </a:prstGeom>
          <a:noFill/>
        </p:spPr>
        <p:txBody>
          <a:bodyPr wrap="square" rtlCol="0">
            <a:spAutoFit/>
          </a:bodyPr>
          <a:lstStyle>
            <a:defPPr>
              <a:defRPr lang="es-ES"/>
            </a:defPPr>
            <a:lvl1pPr>
              <a:defRPr sz="1000" b="1"/>
            </a:lvl1pPr>
          </a:lstStyle>
          <a:p>
            <a:r>
              <a:rPr lang="en-US" err="1"/>
              <a:t>Ingeniero</a:t>
            </a:r>
            <a:r>
              <a:rPr lang="en-US"/>
              <a:t> </a:t>
            </a:r>
            <a:r>
              <a:rPr lang="en-US" err="1"/>
              <a:t>Informático</a:t>
            </a:r>
            <a:endParaRPr lang="en-US"/>
          </a:p>
          <a:p>
            <a:r>
              <a:rPr lang="es-ES" b="0"/>
              <a:t>Instituto tecnológico de Hermosillo. </a:t>
            </a:r>
          </a:p>
          <a:p>
            <a:r>
              <a:rPr lang="es-ES" b="0"/>
              <a:t>México.</a:t>
            </a:r>
          </a:p>
        </p:txBody>
      </p:sp>
      <p:sp>
        <p:nvSpPr>
          <p:cNvPr id="69" name="CuadroTexto 68">
            <a:extLst>
              <a:ext uri="{FF2B5EF4-FFF2-40B4-BE49-F238E27FC236}">
                <a16:creationId xmlns:a16="http://schemas.microsoft.com/office/drawing/2014/main" id="{7B82553E-CC55-FE4B-A11B-DE0E22DC5EE6}"/>
              </a:ext>
            </a:extLst>
          </p:cNvPr>
          <p:cNvSpPr txBox="1"/>
          <p:nvPr/>
        </p:nvSpPr>
        <p:spPr>
          <a:xfrm>
            <a:off x="9497304" y="486513"/>
            <a:ext cx="551757" cy="507831"/>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06</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1A3B47"/>
                </a:solidFill>
                <a:effectLst/>
                <a:uLnTx/>
                <a:uFillTx/>
                <a:latin typeface="Soho Gothic Pro Medium" panose="020B0503030504020204" pitchFamily="34" charset="77"/>
                <a:ea typeface="+mn-ea"/>
                <a:cs typeface="+mn-cs"/>
              </a:rPr>
              <a:t>2005</a:t>
            </a:r>
          </a:p>
        </p:txBody>
      </p:sp>
      <p:sp>
        <p:nvSpPr>
          <p:cNvPr id="34" name="CuadroTexto 33">
            <a:extLst>
              <a:ext uri="{FF2B5EF4-FFF2-40B4-BE49-F238E27FC236}">
                <a16:creationId xmlns:a16="http://schemas.microsoft.com/office/drawing/2014/main" id="{920CDAA3-74D2-6940-8900-4AABDD5BE40B}"/>
              </a:ext>
            </a:extLst>
          </p:cNvPr>
          <p:cNvSpPr txBox="1"/>
          <p:nvPr/>
        </p:nvSpPr>
        <p:spPr>
          <a:xfrm>
            <a:off x="9388192" y="1715642"/>
            <a:ext cx="1965960" cy="276999"/>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lang="es-ES" sz="1200" b="1">
                <a:solidFill>
                  <a:schemeClr val="tx1">
                    <a:lumMod val="95000"/>
                    <a:lumOff val="5000"/>
                  </a:schemeClr>
                </a:solidFill>
              </a:rPr>
              <a:t>Certificaciones</a:t>
            </a:r>
          </a:p>
        </p:txBody>
      </p:sp>
      <p:sp>
        <p:nvSpPr>
          <p:cNvPr id="43" name="CuadroTexto 42">
            <a:extLst>
              <a:ext uri="{FF2B5EF4-FFF2-40B4-BE49-F238E27FC236}">
                <a16:creationId xmlns:a16="http://schemas.microsoft.com/office/drawing/2014/main" id="{AB2E014F-704F-3649-A8CA-79AC24262337}"/>
              </a:ext>
            </a:extLst>
          </p:cNvPr>
          <p:cNvSpPr txBox="1"/>
          <p:nvPr/>
        </p:nvSpPr>
        <p:spPr>
          <a:xfrm>
            <a:off x="9509744" y="1952384"/>
            <a:ext cx="2613089" cy="1631216"/>
          </a:xfrm>
          <a:prstGeom prst="rect">
            <a:avLst/>
          </a:prstGeom>
          <a:noFill/>
        </p:spPr>
        <p:txBody>
          <a:bodyPr wrap="square" rtlCol="0">
            <a:spAutoFit/>
          </a:bodyPr>
          <a:lstStyle>
            <a:defPPr>
              <a:defRPr lang="es-ES"/>
            </a:defPPr>
            <a:lvl1pPr>
              <a:defRPr sz="1000" b="1"/>
            </a:lvl1pPr>
          </a:lstStyle>
          <a:p>
            <a:r>
              <a:rPr lang="es-ES" b="0"/>
              <a:t>2019 | AWS </a:t>
            </a:r>
            <a:r>
              <a:rPr lang="es-ES" b="0" err="1"/>
              <a:t>Certified</a:t>
            </a:r>
            <a:r>
              <a:rPr lang="es-ES" b="0"/>
              <a:t> </a:t>
            </a:r>
            <a:r>
              <a:rPr lang="es-ES" b="0" err="1"/>
              <a:t>Developer</a:t>
            </a:r>
            <a:r>
              <a:rPr lang="es-ES" b="0"/>
              <a:t> - </a:t>
            </a:r>
            <a:r>
              <a:rPr lang="es-ES" b="0" err="1"/>
              <a:t>Associate</a:t>
            </a:r>
            <a:endParaRPr lang="es-ES" b="0"/>
          </a:p>
          <a:p>
            <a:endParaRPr lang="es-ES" b="0"/>
          </a:p>
          <a:p>
            <a:r>
              <a:rPr lang="es-ES" b="0"/>
              <a:t>2018 | </a:t>
            </a:r>
            <a:r>
              <a:rPr lang="es-ES" b="0" err="1"/>
              <a:t>Cloudera</a:t>
            </a:r>
            <a:r>
              <a:rPr lang="es-ES" b="0"/>
              <a:t> </a:t>
            </a:r>
            <a:r>
              <a:rPr lang="es-ES" b="0" err="1"/>
              <a:t>Hadoop</a:t>
            </a:r>
            <a:r>
              <a:rPr lang="es-ES" b="0"/>
              <a:t> &amp; </a:t>
            </a:r>
            <a:r>
              <a:rPr lang="es-ES" b="0" err="1"/>
              <a:t>Spark</a:t>
            </a:r>
            <a:r>
              <a:rPr lang="es-ES" b="0"/>
              <a:t> </a:t>
            </a:r>
            <a:r>
              <a:rPr lang="es-ES" b="0" err="1"/>
              <a:t>Developer</a:t>
            </a:r>
            <a:endParaRPr lang="es-ES" b="0"/>
          </a:p>
          <a:p>
            <a:endParaRPr lang="es-ES" b="0"/>
          </a:p>
          <a:p>
            <a:r>
              <a:rPr lang="es-ES" b="0"/>
              <a:t>2018 | </a:t>
            </a:r>
            <a:r>
              <a:rPr lang="es-ES" b="0" err="1"/>
              <a:t>Implementing</a:t>
            </a:r>
            <a:r>
              <a:rPr lang="es-ES" b="0"/>
              <a:t> Microsoft </a:t>
            </a:r>
            <a:r>
              <a:rPr lang="es-ES" b="0" err="1"/>
              <a:t>Azure</a:t>
            </a:r>
            <a:r>
              <a:rPr lang="es-ES" b="0"/>
              <a:t> </a:t>
            </a:r>
            <a:r>
              <a:rPr lang="es-ES" b="0" err="1"/>
              <a:t>Solutions</a:t>
            </a:r>
            <a:endParaRPr lang="es-ES" b="0"/>
          </a:p>
          <a:p>
            <a:endParaRPr lang="es-ES" b="0"/>
          </a:p>
          <a:p>
            <a:r>
              <a:rPr lang="es-ES" b="0"/>
              <a:t>2021 | MongoDB </a:t>
            </a:r>
            <a:r>
              <a:rPr lang="es-ES" b="0" err="1"/>
              <a:t>developer</a:t>
            </a:r>
            <a:r>
              <a:rPr lang="es-ES" b="0"/>
              <a:t> </a:t>
            </a:r>
            <a:r>
              <a:rPr lang="es-ES" b="0" err="1"/>
              <a:t>Associate</a:t>
            </a:r>
            <a:endParaRPr lang="es-ES" b="0"/>
          </a:p>
        </p:txBody>
      </p:sp>
      <p:sp>
        <p:nvSpPr>
          <p:cNvPr id="38" name="CuadroTexto 37">
            <a:extLst>
              <a:ext uri="{FF2B5EF4-FFF2-40B4-BE49-F238E27FC236}">
                <a16:creationId xmlns:a16="http://schemas.microsoft.com/office/drawing/2014/main" id="{920CDAA3-74D2-6940-8900-4AABDD5BE40B}"/>
              </a:ext>
            </a:extLst>
          </p:cNvPr>
          <p:cNvSpPr txBox="1"/>
          <p:nvPr/>
        </p:nvSpPr>
        <p:spPr>
          <a:xfrm>
            <a:off x="9360924" y="3518678"/>
            <a:ext cx="1965960" cy="276999"/>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lang="es-ES" sz="1200" b="1">
                <a:solidFill>
                  <a:schemeClr val="tx1">
                    <a:lumMod val="95000"/>
                    <a:lumOff val="5000"/>
                  </a:schemeClr>
                </a:solidFill>
              </a:rPr>
              <a:t>IT</a:t>
            </a:r>
          </a:p>
        </p:txBody>
      </p:sp>
      <p:sp>
        <p:nvSpPr>
          <p:cNvPr id="53" name="CuadroTexto 52">
            <a:extLst>
              <a:ext uri="{FF2B5EF4-FFF2-40B4-BE49-F238E27FC236}">
                <a16:creationId xmlns:a16="http://schemas.microsoft.com/office/drawing/2014/main" id="{AB2E014F-704F-3649-A8CA-79AC24262337}"/>
              </a:ext>
            </a:extLst>
          </p:cNvPr>
          <p:cNvSpPr txBox="1"/>
          <p:nvPr/>
        </p:nvSpPr>
        <p:spPr>
          <a:xfrm>
            <a:off x="9476013" y="3759297"/>
            <a:ext cx="2680550" cy="1477328"/>
          </a:xfrm>
          <a:prstGeom prst="rect">
            <a:avLst/>
          </a:prstGeom>
          <a:noFill/>
        </p:spPr>
        <p:txBody>
          <a:bodyPr wrap="square" lIns="91440" tIns="45720" rIns="91440" bIns="45720" rtlCol="0" anchor="t">
            <a:spAutoFit/>
          </a:bodyPr>
          <a:lstStyle>
            <a:defPPr>
              <a:defRPr lang="es-ES"/>
            </a:defPPr>
            <a:lvl1pPr>
              <a:defRPr sz="1000" b="1">
                <a:ea typeface="+mn-lt"/>
                <a:cs typeface="+mn-lt"/>
              </a:defRPr>
            </a:lvl1pPr>
          </a:lstStyle>
          <a:p>
            <a:r>
              <a:rPr lang="en-US"/>
              <a:t>Programming languages: </a:t>
            </a:r>
            <a:r>
              <a:rPr lang="en-US" b="0"/>
              <a:t>Java, Scala</a:t>
            </a:r>
          </a:p>
          <a:p>
            <a:r>
              <a:rPr lang="en-US"/>
              <a:t>Scripting language: </a:t>
            </a:r>
            <a:r>
              <a:rPr lang="en-US" b="0"/>
              <a:t>Linux Scripting</a:t>
            </a:r>
          </a:p>
          <a:p>
            <a:r>
              <a:rPr lang="en-US"/>
              <a:t>SQL: </a:t>
            </a:r>
            <a:r>
              <a:rPr lang="en-US" b="0"/>
              <a:t>Transact-SQL, Pl-SQL, H-SQL</a:t>
            </a:r>
          </a:p>
          <a:p>
            <a:r>
              <a:rPr lang="en-US"/>
              <a:t>Databases: </a:t>
            </a:r>
            <a:r>
              <a:rPr lang="en-US" b="0"/>
              <a:t>MongoDB, Hive/Impala, Kudu, Elasticsearch, Oracle, MySQL, </a:t>
            </a:r>
            <a:r>
              <a:rPr lang="en-US" b="0" err="1"/>
              <a:t>Postgres</a:t>
            </a:r>
            <a:endParaRPr lang="en-US" b="0"/>
          </a:p>
          <a:p>
            <a:r>
              <a:rPr lang="en-US"/>
              <a:t>Platforms: </a:t>
            </a:r>
            <a:r>
              <a:rPr lang="en-US" b="0"/>
              <a:t>Cloudera, AWS</a:t>
            </a:r>
          </a:p>
          <a:p>
            <a:r>
              <a:rPr lang="en-US"/>
              <a:t>DevOps: </a:t>
            </a:r>
            <a:r>
              <a:rPr lang="en-US" b="0"/>
              <a:t>SVN, GIT, Jenkins</a:t>
            </a:r>
          </a:p>
          <a:p>
            <a:r>
              <a:rPr lang="en-US" err="1"/>
              <a:t>Atlassian</a:t>
            </a:r>
            <a:r>
              <a:rPr lang="en-US"/>
              <a:t> Tools:  </a:t>
            </a:r>
            <a:r>
              <a:rPr lang="en-US" b="0"/>
              <a:t>Jira, Confluence, </a:t>
            </a:r>
            <a:r>
              <a:rPr lang="en-US" b="0" err="1"/>
              <a:t>Bitbucket</a:t>
            </a:r>
            <a:r>
              <a:rPr lang="en-US" b="0"/>
              <a:t> and Nexus.</a:t>
            </a:r>
          </a:p>
        </p:txBody>
      </p:sp>
      <p:grpSp>
        <p:nvGrpSpPr>
          <p:cNvPr id="2" name="Grupo 1"/>
          <p:cNvGrpSpPr/>
          <p:nvPr/>
        </p:nvGrpSpPr>
        <p:grpSpPr>
          <a:xfrm>
            <a:off x="3516" y="0"/>
            <a:ext cx="9388192" cy="598607"/>
            <a:chOff x="0" y="0"/>
            <a:chExt cx="9388192" cy="598607"/>
          </a:xfrm>
        </p:grpSpPr>
        <p:sp>
          <p:nvSpPr>
            <p:cNvPr id="36" name="CustomShape 2"/>
            <p:cNvSpPr/>
            <p:nvPr/>
          </p:nvSpPr>
          <p:spPr>
            <a:xfrm>
              <a:off x="0" y="0"/>
              <a:ext cx="9388192" cy="598607"/>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44" name="CuadroTexto 43">
              <a:extLst>
                <a:ext uri="{FF2B5EF4-FFF2-40B4-BE49-F238E27FC236}">
                  <a16:creationId xmlns:a16="http://schemas.microsoft.com/office/drawing/2014/main" id="{0F4E0202-A252-624B-BDF1-C6AE5E8A25DE}"/>
                </a:ext>
              </a:extLst>
            </p:cNvPr>
            <p:cNvSpPr txBox="1"/>
            <p:nvPr/>
          </p:nvSpPr>
          <p:spPr>
            <a:xfrm>
              <a:off x="3451752" y="110493"/>
              <a:ext cx="3762001" cy="461665"/>
            </a:xfrm>
            <a:prstGeom prst="rect">
              <a:avLst/>
            </a:prstGeom>
            <a:noFill/>
          </p:spPr>
          <p:txBody>
            <a:bodyPr wrap="square" rtlCol="0">
              <a:spAutoFit/>
            </a:bodyPr>
            <a:lstStyle/>
            <a:p>
              <a:r>
                <a:rPr lang="es-ES" sz="2400">
                  <a:solidFill>
                    <a:schemeClr val="bg1"/>
                  </a:solidFill>
                  <a:latin typeface="Soho Gothic Pro Medium" panose="020B0503030504020204" pitchFamily="34" charset="77"/>
                </a:rPr>
                <a:t>BigData </a:t>
              </a:r>
              <a:r>
                <a:rPr lang="es-ES" sz="2400" err="1">
                  <a:solidFill>
                    <a:schemeClr val="bg1"/>
                  </a:solidFill>
                  <a:latin typeface="Soho Gothic Pro Medium" panose="020B0503030504020204" pitchFamily="34" charset="77"/>
                </a:rPr>
                <a:t>Architect</a:t>
              </a:r>
              <a:endParaRPr lang="es-ES" sz="2400">
                <a:solidFill>
                  <a:schemeClr val="bg1"/>
                </a:solidFill>
                <a:latin typeface="Soho Gothic Pro Medium" panose="020B0503030504020204" pitchFamily="34" charset="77"/>
              </a:endParaRPr>
            </a:p>
          </p:txBody>
        </p:sp>
        <p:sp>
          <p:nvSpPr>
            <p:cNvPr id="47" name="CuadroTexto 46">
              <a:extLst>
                <a:ext uri="{FF2B5EF4-FFF2-40B4-BE49-F238E27FC236}">
                  <a16:creationId xmlns:a16="http://schemas.microsoft.com/office/drawing/2014/main" id="{0F4E0202-A252-624B-BDF1-C6AE5E8A25DE}"/>
                </a:ext>
              </a:extLst>
            </p:cNvPr>
            <p:cNvSpPr txBox="1"/>
            <p:nvPr/>
          </p:nvSpPr>
          <p:spPr>
            <a:xfrm>
              <a:off x="87086" y="152551"/>
              <a:ext cx="2731759" cy="400110"/>
            </a:xfrm>
            <a:prstGeom prst="rect">
              <a:avLst/>
            </a:prstGeom>
            <a:noFill/>
          </p:spPr>
          <p:txBody>
            <a:bodyPr wrap="square" rtlCol="0">
              <a:spAutoFit/>
            </a:bodyPr>
            <a:lstStyle/>
            <a:p>
              <a:r>
                <a:rPr lang="es-ES" sz="2000">
                  <a:solidFill>
                    <a:srgbClr val="FFFDEF"/>
                  </a:solidFill>
                  <a:ea typeface="+mn-lt"/>
                  <a:cs typeface="+mn-lt"/>
                </a:rPr>
                <a:t>P.B.M.</a:t>
              </a:r>
            </a:p>
          </p:txBody>
        </p:sp>
      </p:grpSp>
      <p:sp>
        <p:nvSpPr>
          <p:cNvPr id="26" name="CuadroTexto 30_0"/>
          <p:cNvSpPr/>
          <p:nvPr/>
        </p:nvSpPr>
        <p:spPr>
          <a:xfrm>
            <a:off x="5635480" y="152640"/>
            <a:ext cx="3766681"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ctr">
              <a:lnSpc>
                <a:spcPct val="100000"/>
              </a:lnSpc>
            </a:pPr>
            <a:r>
              <a:rPr lang="es-ES" sz="2000" spc="-1">
                <a:solidFill>
                  <a:schemeClr val="bg1"/>
                </a:solidFill>
                <a:ea typeface="Soho Gothic Pro Light"/>
              </a:rPr>
              <a:t>Bourne Murrieta, Paul</a:t>
            </a:r>
            <a:endParaRPr lang="es-ES" sz="2000" b="0" strike="noStrike" spc="-1">
              <a:solidFill>
                <a:schemeClr val="bg1"/>
              </a:solidFill>
              <a:latin typeface="Arial"/>
            </a:endParaRPr>
          </a:p>
        </p:txBody>
      </p:sp>
      <p:sp>
        <p:nvSpPr>
          <p:cNvPr id="28" name="CuadroTexto 27">
            <a:extLst>
              <a:ext uri="{FF2B5EF4-FFF2-40B4-BE49-F238E27FC236}">
                <a16:creationId xmlns:a16="http://schemas.microsoft.com/office/drawing/2014/main" id="{89221374-508B-FF4A-9DFB-601E8041A74B}"/>
              </a:ext>
            </a:extLst>
          </p:cNvPr>
          <p:cNvSpPr txBox="1"/>
          <p:nvPr/>
        </p:nvSpPr>
        <p:spPr>
          <a:xfrm>
            <a:off x="4746792" y="4157332"/>
            <a:ext cx="2527412" cy="1523494"/>
          </a:xfrm>
          <a:prstGeom prst="rect">
            <a:avLst/>
          </a:prstGeom>
          <a:noFill/>
        </p:spPr>
        <p:txBody>
          <a:bodyPr wrap="square" rtlCol="0">
            <a:spAutoFit/>
          </a:bodyPr>
          <a:lstStyle/>
          <a:p>
            <a:pPr marL="0" marR="0" lvl="0" indent="0" algn="just" defTabSz="913790" rtl="0" eaLnBrk="1" fontAlgn="auto" latinLnBrk="0" hangingPunct="1">
              <a:lnSpc>
                <a:spcPct val="100000"/>
              </a:lnSpc>
              <a:spcBef>
                <a:spcPts val="0"/>
              </a:spcBef>
              <a:spcAft>
                <a:spcPts val="0"/>
              </a:spcAft>
              <a:buClrTx/>
              <a:buSzTx/>
              <a:buFontTx/>
              <a:buNone/>
              <a:tabLst/>
              <a:defRPr/>
            </a:pPr>
            <a:r>
              <a:rPr lang="es-ES" sz="1100" b="1"/>
              <a:t>Minsait </a:t>
            </a:r>
            <a:r>
              <a:rPr lang="es-ES" sz="1100" b="1" err="1"/>
              <a:t>by</a:t>
            </a:r>
            <a:r>
              <a:rPr lang="es-ES" sz="1100" b="1"/>
              <a:t> Indra (Barcelona, España)</a:t>
            </a:r>
          </a:p>
          <a:p>
            <a:pPr marL="0" marR="0" lvl="0" indent="0" algn="just" defTabSz="913790" rtl="0" eaLnBrk="1" fontAlgn="auto" latinLnBrk="0" hangingPunct="1">
              <a:lnSpc>
                <a:spcPct val="100000"/>
              </a:lnSpc>
              <a:spcBef>
                <a:spcPts val="0"/>
              </a:spcBef>
              <a:spcAft>
                <a:spcPts val="0"/>
              </a:spcAft>
              <a:buClrTx/>
              <a:buSzTx/>
              <a:buFontTx/>
              <a:buNone/>
              <a:tabLst/>
              <a:defRPr/>
            </a:pPr>
            <a:r>
              <a:rPr lang="en-US" sz="1100"/>
              <a:t>SOA Architect</a:t>
            </a:r>
          </a:p>
          <a:p>
            <a:pPr marL="0" marR="0" lvl="0" indent="0" algn="just" defTabSz="913790" rtl="0" eaLnBrk="1" fontAlgn="auto" latinLnBrk="0" hangingPunct="1">
              <a:lnSpc>
                <a:spcPct val="100000"/>
              </a:lnSpc>
              <a:spcBef>
                <a:spcPts val="0"/>
              </a:spcBef>
              <a:spcAft>
                <a:spcPts val="0"/>
              </a:spcAft>
              <a:buClrTx/>
              <a:buSzTx/>
              <a:buFontTx/>
              <a:buNone/>
              <a:tabLst/>
              <a:defRPr/>
            </a:pPr>
            <a:endParaRPr lang="en-US" sz="1100"/>
          </a:p>
          <a:p>
            <a:pPr marL="92072" lvl="1" indent="-92072" defTabSz="914377">
              <a:spcBef>
                <a:spcPts val="600"/>
              </a:spcBef>
              <a:buClr>
                <a:srgbClr val="1A3B47"/>
              </a:buClr>
              <a:buSzPct val="45000"/>
              <a:buFontTx/>
              <a:buChar char="•"/>
              <a:defRPr b="0" i="0"/>
            </a:pPr>
            <a:r>
              <a:rPr lang="es-ES" sz="1100"/>
              <a:t>Diseño, desarrollo y testeo de performance para la migración de datos del sistema </a:t>
            </a:r>
            <a:r>
              <a:rPr lang="es-ES" sz="1100" err="1"/>
              <a:t>legacy</a:t>
            </a:r>
            <a:r>
              <a:rPr lang="es-ES" sz="1100"/>
              <a:t> a base de datos Oracle para Gas Natural Fenosa.</a:t>
            </a:r>
          </a:p>
        </p:txBody>
      </p:sp>
      <p:sp>
        <p:nvSpPr>
          <p:cNvPr id="29" name="CuadroTexto 28">
            <a:extLst>
              <a:ext uri="{FF2B5EF4-FFF2-40B4-BE49-F238E27FC236}">
                <a16:creationId xmlns:a16="http://schemas.microsoft.com/office/drawing/2014/main" id="{A669BC4B-6A50-864F-85AF-01EA17581A38}"/>
              </a:ext>
            </a:extLst>
          </p:cNvPr>
          <p:cNvSpPr txBox="1"/>
          <p:nvPr/>
        </p:nvSpPr>
        <p:spPr>
          <a:xfrm>
            <a:off x="4356261" y="4146876"/>
            <a:ext cx="551757" cy="507831"/>
          </a:xfrm>
          <a:prstGeom prst="rect">
            <a:avLst/>
          </a:prstGeom>
          <a:noFill/>
        </p:spPr>
        <p:txBody>
          <a:bodyPr wrap="squar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effectLst/>
                <a:uLnTx/>
                <a:uFillTx/>
                <a:latin typeface="Soho Gothic Pro Medium" panose="020B0503030504020204" pitchFamily="34" charset="77"/>
                <a:ea typeface="+mn-ea"/>
                <a:cs typeface="+mn-cs"/>
              </a:rPr>
              <a:t>2011</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effectLst/>
                <a:uLnTx/>
                <a:uFillTx/>
                <a:latin typeface="Soho Gothic Pro Medium" panose="020B0503030504020204" pitchFamily="34" charset="77"/>
                <a:ea typeface="+mn-ea"/>
                <a:cs typeface="+mn-cs"/>
              </a:rPr>
              <a:t>—</a:t>
            </a:r>
          </a:p>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effectLst/>
                <a:uLnTx/>
                <a:uFillTx/>
                <a:latin typeface="Soho Gothic Pro Medium" panose="020B0503030504020204" pitchFamily="34" charset="77"/>
                <a:ea typeface="+mn-ea"/>
                <a:cs typeface="+mn-cs"/>
              </a:rPr>
              <a:t>2012</a:t>
            </a:r>
          </a:p>
        </p:txBody>
      </p:sp>
    </p:spTree>
    <p:extLst>
      <p:ext uri="{BB962C8B-B14F-4D97-AF65-F5344CB8AC3E}">
        <p14:creationId xmlns:p14="http://schemas.microsoft.com/office/powerpoint/2010/main" val="2561514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stomShape 2"/>
          <p:cNvSpPr/>
          <p:nvPr/>
        </p:nvSpPr>
        <p:spPr>
          <a:xfrm>
            <a:off x="0" y="0"/>
            <a:ext cx="9388192" cy="598607"/>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39" name="Rectángulo 38">
            <a:extLst>
              <a:ext uri="{FF2B5EF4-FFF2-40B4-BE49-F238E27FC236}">
                <a16:creationId xmlns:a16="http://schemas.microsoft.com/office/drawing/2014/main" id="{187520E2-A78B-FB4C-BB66-37962870F3B0}"/>
              </a:ext>
            </a:extLst>
          </p:cNvPr>
          <p:cNvSpPr/>
          <p:nvPr/>
        </p:nvSpPr>
        <p:spPr>
          <a:xfrm>
            <a:off x="9358021" y="1"/>
            <a:ext cx="2751370" cy="6857999"/>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1">
              <a:solidFill>
                <a:schemeClr val="tx1"/>
              </a:solidFill>
            </a:endParaRPr>
          </a:p>
        </p:txBody>
      </p:sp>
      <p:sp>
        <p:nvSpPr>
          <p:cNvPr id="37" name="CuadroTexto 36">
            <a:extLst>
              <a:ext uri="{FF2B5EF4-FFF2-40B4-BE49-F238E27FC236}">
                <a16:creationId xmlns:a16="http://schemas.microsoft.com/office/drawing/2014/main" id="{E4530058-C2FA-384F-825E-F61EC4296641}"/>
              </a:ext>
            </a:extLst>
          </p:cNvPr>
          <p:cNvSpPr txBox="1"/>
          <p:nvPr/>
        </p:nvSpPr>
        <p:spPr>
          <a:xfrm>
            <a:off x="87086" y="720814"/>
            <a:ext cx="9259003" cy="1015663"/>
          </a:xfrm>
          <a:prstGeom prst="rect">
            <a:avLst/>
          </a:prstGeom>
          <a:noFill/>
        </p:spPr>
        <p:txBody>
          <a:bodyPr wrap="square" lIns="91440" tIns="45720" rIns="91440" bIns="45720" rtlCol="0" anchor="t">
            <a:spAutoFit/>
          </a:bodyPr>
          <a:lstStyle/>
          <a:p>
            <a:r>
              <a:rPr lang="es-ES" sz="1200">
                <a:ea typeface="+mn-lt"/>
                <a:cs typeface="+mn-lt"/>
              </a:rPr>
              <a:t>Arquitecto Software y Datos, con 14 años de experiencia en el sector IT, definiendo requerimientos, planificando las soluciones e implementándolas en diversos sectores: Bancario, Hoteles, Educativo, Administraciones Publicas. En los últimos 3 años, trabajando en la definición/implementación de un “Gestor Documental”  en entornos on-premise de Cloudera y usando tecnologías como: Spark, </a:t>
            </a:r>
            <a:endParaRPr lang="es-ES"/>
          </a:p>
          <a:p>
            <a:r>
              <a:rPr lang="es-ES" sz="1200">
                <a:ea typeface="+mn-lt"/>
                <a:cs typeface="+mn-lt"/>
              </a:rPr>
              <a:t>HDFS, Kudu, MongoDB, Neo4J con los lenguajes Java y </a:t>
            </a:r>
            <a:r>
              <a:rPr lang="es-ES" sz="1200" err="1">
                <a:ea typeface="+mn-lt"/>
                <a:cs typeface="+mn-lt"/>
              </a:rPr>
              <a:t>Scala</a:t>
            </a:r>
            <a:r>
              <a:rPr lang="es-ES" sz="1200">
                <a:ea typeface="+mn-lt"/>
                <a:cs typeface="+mn-lt"/>
              </a:rPr>
              <a:t> y en varias ETL para exportar la información hacia Neo4J.</a:t>
            </a:r>
            <a:endParaRPr lang="es-ES"/>
          </a:p>
          <a:p>
            <a:endParaRPr lang="es-ES" sz="1200"/>
          </a:p>
        </p:txBody>
      </p:sp>
      <p:sp>
        <p:nvSpPr>
          <p:cNvPr id="45" name="CuadroTexto 44">
            <a:extLst>
              <a:ext uri="{FF2B5EF4-FFF2-40B4-BE49-F238E27FC236}">
                <a16:creationId xmlns:a16="http://schemas.microsoft.com/office/drawing/2014/main" id="{1813E8C3-18D9-0B4B-8FCA-406B39785552}"/>
              </a:ext>
            </a:extLst>
          </p:cNvPr>
          <p:cNvSpPr txBox="1"/>
          <p:nvPr/>
        </p:nvSpPr>
        <p:spPr>
          <a:xfrm>
            <a:off x="685930" y="1743081"/>
            <a:ext cx="3989098" cy="2292935"/>
          </a:xfrm>
          <a:prstGeom prst="rect">
            <a:avLst/>
          </a:prstGeom>
          <a:noFill/>
        </p:spPr>
        <p:txBody>
          <a:bodyPr wrap="square" lIns="91440" tIns="45720" rIns="91440" bIns="45720" rtlCol="0" anchor="t">
            <a:spAutoFit/>
          </a:bodyPr>
          <a:lstStyle/>
          <a:p>
            <a:pPr algn="just"/>
            <a:r>
              <a:rPr lang="es-ES" sz="1100" b="1">
                <a:ea typeface="+mn-lt"/>
                <a:cs typeface="+mn-lt"/>
              </a:rPr>
              <a:t>Minsait by Indra (Barcelona, España)</a:t>
            </a:r>
            <a:endParaRPr lang="en-US" sz="1100">
              <a:ea typeface="+mn-lt"/>
              <a:cs typeface="+mn-lt"/>
            </a:endParaRPr>
          </a:p>
          <a:p>
            <a:pPr algn="just"/>
            <a:r>
              <a:rPr lang="es-ES" sz="1100">
                <a:ea typeface="+mn-lt"/>
                <a:cs typeface="+mn-lt"/>
              </a:rPr>
              <a:t>Arquitecto Big Data</a:t>
            </a:r>
            <a:endParaRPr lang="en-US" sz="1100">
              <a:ea typeface="+mn-lt"/>
              <a:cs typeface="+mn-lt"/>
            </a:endParaRPr>
          </a:p>
          <a:p>
            <a:pPr algn="just"/>
            <a:endParaRPr lang="es-ES" sz="1100">
              <a:ea typeface="+mn-lt"/>
              <a:cs typeface="+mn-lt"/>
            </a:endParaRPr>
          </a:p>
          <a:p>
            <a:pPr marL="171450" indent="-171450" algn="just">
              <a:buFont typeface="Arial,Sans-Serif"/>
              <a:buChar char="•"/>
            </a:pPr>
            <a:r>
              <a:rPr lang="es-ES" sz="1100" b="1" u="sng">
                <a:ea typeface="+mn-lt"/>
                <a:cs typeface="+mn-lt"/>
              </a:rPr>
              <a:t>ATC (Agencia Tributaria Catalunya)</a:t>
            </a:r>
          </a:p>
          <a:p>
            <a:pPr marL="171450" indent="-171450" algn="just">
              <a:buFont typeface="Arial,Sans-Serif"/>
              <a:buChar char="•"/>
            </a:pPr>
            <a:endParaRPr lang="es-ES" sz="1100" b="1" u="sng">
              <a:ea typeface="+mn-lt"/>
              <a:cs typeface="+mn-lt"/>
            </a:endParaRPr>
          </a:p>
          <a:p>
            <a:pPr marL="171450" indent="-171450" algn="just">
              <a:buFont typeface="Arial,Sans-Serif"/>
              <a:buChar char="•"/>
            </a:pPr>
            <a:r>
              <a:rPr lang="es-ES" sz="1100">
                <a:ea typeface="+mn-lt"/>
                <a:cs typeface="+mn-lt"/>
              </a:rPr>
              <a:t>Análisis, diseño e implementación de un “Gestor Documental” para la ATC. Usando tecnologías </a:t>
            </a:r>
            <a:r>
              <a:rPr lang="es-ES" sz="1100" err="1">
                <a:ea typeface="+mn-lt"/>
                <a:cs typeface="+mn-lt"/>
              </a:rPr>
              <a:t>Spark</a:t>
            </a:r>
            <a:r>
              <a:rPr lang="es-ES" sz="1100">
                <a:ea typeface="+mn-lt"/>
                <a:cs typeface="+mn-lt"/>
              </a:rPr>
              <a:t>, </a:t>
            </a:r>
            <a:r>
              <a:rPr lang="es-ES" sz="1100" err="1">
                <a:ea typeface="+mn-lt"/>
                <a:cs typeface="+mn-lt"/>
              </a:rPr>
              <a:t>Mongodb</a:t>
            </a:r>
            <a:r>
              <a:rPr lang="es-ES" sz="1100">
                <a:ea typeface="+mn-lt"/>
                <a:cs typeface="+mn-lt"/>
              </a:rPr>
              <a:t>, </a:t>
            </a:r>
            <a:r>
              <a:rPr lang="es-ES" sz="1100" err="1">
                <a:ea typeface="+mn-lt"/>
                <a:cs typeface="+mn-lt"/>
              </a:rPr>
              <a:t>Kudu</a:t>
            </a:r>
            <a:r>
              <a:rPr lang="es-ES" sz="1100">
                <a:ea typeface="+mn-lt"/>
                <a:cs typeface="+mn-lt"/>
              </a:rPr>
              <a:t> y HDFS para los procesos de </a:t>
            </a:r>
            <a:r>
              <a:rPr lang="es-ES" sz="1100" err="1">
                <a:ea typeface="+mn-lt"/>
                <a:cs typeface="+mn-lt"/>
              </a:rPr>
              <a:t>background</a:t>
            </a:r>
            <a:r>
              <a:rPr lang="es-ES" sz="1100">
                <a:ea typeface="+mn-lt"/>
                <a:cs typeface="+mn-lt"/>
              </a:rPr>
              <a:t> y Java, Spring </a:t>
            </a:r>
            <a:r>
              <a:rPr lang="es-ES" sz="1100" err="1">
                <a:ea typeface="+mn-lt"/>
                <a:cs typeface="+mn-lt"/>
              </a:rPr>
              <a:t>Boot</a:t>
            </a:r>
            <a:r>
              <a:rPr lang="es-ES" sz="1100">
                <a:ea typeface="+mn-lt"/>
                <a:cs typeface="+mn-lt"/>
              </a:rPr>
              <a:t> y OSB para ofrecer los servicios a los clientes.</a:t>
            </a:r>
            <a:endParaRPr lang="en-US" sz="1100">
              <a:ea typeface="+mn-lt"/>
              <a:cs typeface="+mn-lt"/>
            </a:endParaRPr>
          </a:p>
          <a:p>
            <a:pPr marL="171450" indent="-171450" algn="just">
              <a:buFont typeface="Arial,Sans-Serif"/>
              <a:buChar char="•"/>
            </a:pPr>
            <a:endParaRPr lang="es-ES" sz="1100">
              <a:ea typeface="+mn-lt"/>
              <a:cs typeface="+mn-lt"/>
            </a:endParaRPr>
          </a:p>
          <a:p>
            <a:pPr marL="171450" indent="-171450" algn="just">
              <a:buFont typeface="Arial,Sans-Serif"/>
              <a:buChar char="•"/>
            </a:pPr>
            <a:r>
              <a:rPr lang="es-ES" sz="1100">
                <a:ea typeface="+mn-lt"/>
                <a:cs typeface="+mn-lt"/>
              </a:rPr>
              <a:t>Definición de la pipelines (ETL) para procesar información y su posterior transformación y almacenamiento en Neo4J.</a:t>
            </a:r>
            <a:endParaRPr lang="en-US" sz="1100">
              <a:ea typeface="+mn-lt"/>
              <a:cs typeface="+mn-lt"/>
            </a:endParaRPr>
          </a:p>
        </p:txBody>
      </p:sp>
      <p:sp>
        <p:nvSpPr>
          <p:cNvPr id="46" name="CuadroTexto 45">
            <a:extLst>
              <a:ext uri="{FF2B5EF4-FFF2-40B4-BE49-F238E27FC236}">
                <a16:creationId xmlns:a16="http://schemas.microsoft.com/office/drawing/2014/main" id="{89221374-508B-FF4A-9DFB-601E8041A74B}"/>
              </a:ext>
            </a:extLst>
          </p:cNvPr>
          <p:cNvSpPr txBox="1"/>
          <p:nvPr/>
        </p:nvSpPr>
        <p:spPr>
          <a:xfrm>
            <a:off x="5342656" y="1743081"/>
            <a:ext cx="3848927" cy="1107996"/>
          </a:xfrm>
          <a:prstGeom prst="rect">
            <a:avLst/>
          </a:prstGeom>
          <a:noFill/>
        </p:spPr>
        <p:txBody>
          <a:bodyPr wrap="square" lIns="91440" tIns="45720" rIns="91440" bIns="45720" rtlCol="0" anchor="t">
            <a:spAutoFit/>
          </a:bodyPr>
          <a:lstStyle/>
          <a:p>
            <a:pPr algn="just"/>
            <a:r>
              <a:rPr lang="es-ES" sz="1100" b="1" err="1">
                <a:ea typeface="+mn-lt"/>
                <a:cs typeface="+mn-lt"/>
              </a:rPr>
              <a:t>Optimissa</a:t>
            </a:r>
            <a:r>
              <a:rPr lang="es-ES" sz="1100" b="1">
                <a:ea typeface="+mn-lt"/>
                <a:cs typeface="+mn-lt"/>
              </a:rPr>
              <a:t> Capital </a:t>
            </a:r>
            <a:r>
              <a:rPr lang="es-ES" sz="1100" b="1" err="1">
                <a:ea typeface="+mn-lt"/>
                <a:cs typeface="+mn-lt"/>
              </a:rPr>
              <a:t>Market</a:t>
            </a:r>
            <a:r>
              <a:rPr lang="es-ES" sz="1100" b="1">
                <a:ea typeface="+mn-lt"/>
                <a:cs typeface="+mn-lt"/>
              </a:rPr>
              <a:t> </a:t>
            </a:r>
            <a:r>
              <a:rPr lang="es-ES" sz="1100" b="1" err="1">
                <a:ea typeface="+mn-lt"/>
                <a:cs typeface="+mn-lt"/>
              </a:rPr>
              <a:t>Consulting</a:t>
            </a:r>
            <a:endParaRPr lang="es-ES" sz="1100">
              <a:ea typeface="+mn-lt"/>
              <a:cs typeface="+mn-lt"/>
            </a:endParaRPr>
          </a:p>
          <a:p>
            <a:pPr algn="just"/>
            <a:r>
              <a:rPr lang="es-ES" sz="1100">
                <a:ea typeface="+mn-lt"/>
                <a:cs typeface="+mn-lt"/>
              </a:rPr>
              <a:t>Analista Programador</a:t>
            </a:r>
            <a:endParaRPr lang="en-US"/>
          </a:p>
          <a:p>
            <a:pPr algn="just"/>
            <a:endParaRPr lang="en-US" sz="1100">
              <a:latin typeface="Soho Gothic Pro" panose="020B0503030504020204" pitchFamily="34" charset="77"/>
            </a:endParaRPr>
          </a:p>
          <a:p>
            <a:pPr marL="171450" indent="-171450" algn="just">
              <a:buFont typeface="Arial,Sans-Serif" panose="020B0604020202020204" pitchFamily="34" charset="0"/>
              <a:buChar char="•"/>
            </a:pPr>
            <a:r>
              <a:rPr lang="es-ES" sz="1100">
                <a:ea typeface="+mn-lt"/>
                <a:cs typeface="+mn-lt"/>
              </a:rPr>
              <a:t>Analista programador para diversas aplicaciones para entidad bancaria española. Usando Eclipse RCP, </a:t>
            </a:r>
            <a:r>
              <a:rPr lang="es-ES" sz="1100" err="1">
                <a:ea typeface="+mn-lt"/>
                <a:cs typeface="+mn-lt"/>
              </a:rPr>
              <a:t>OSGi</a:t>
            </a:r>
            <a:r>
              <a:rPr lang="es-ES" sz="1100">
                <a:ea typeface="+mn-lt"/>
                <a:cs typeface="+mn-lt"/>
              </a:rPr>
              <a:t>.</a:t>
            </a:r>
            <a:endParaRPr lang="en-US" sz="1100">
              <a:ea typeface="+mn-lt"/>
              <a:cs typeface="+mn-lt"/>
            </a:endParaRPr>
          </a:p>
          <a:p>
            <a:pPr algn="just"/>
            <a:endParaRPr lang="es-ES" sz="1100">
              <a:ea typeface="+mn-lt"/>
              <a:cs typeface="+mn-lt"/>
            </a:endParaRPr>
          </a:p>
        </p:txBody>
      </p:sp>
      <p:sp>
        <p:nvSpPr>
          <p:cNvPr id="49" name="CuadroTexto 48">
            <a:extLst>
              <a:ext uri="{FF2B5EF4-FFF2-40B4-BE49-F238E27FC236}">
                <a16:creationId xmlns:a16="http://schemas.microsoft.com/office/drawing/2014/main" id="{A669BC4B-6A50-864F-85AF-01EA17581A38}"/>
              </a:ext>
            </a:extLst>
          </p:cNvPr>
          <p:cNvSpPr txBox="1"/>
          <p:nvPr/>
        </p:nvSpPr>
        <p:spPr>
          <a:xfrm>
            <a:off x="4898823" y="1689405"/>
            <a:ext cx="551757" cy="784830"/>
          </a:xfrm>
          <a:prstGeom prst="rect">
            <a:avLst/>
          </a:prstGeom>
          <a:noFill/>
        </p:spPr>
        <p:txBody>
          <a:bodyPr wrap="square" lIns="91440" tIns="45720" rIns="91440" bIns="45720" rtlCol="0" anchor="t">
            <a:spAutoFit/>
          </a:bodyPr>
          <a:lstStyle/>
          <a:p>
            <a:r>
              <a:rPr lang="es-ES" sz="900" b="1">
                <a:ea typeface="+mn-lt"/>
                <a:cs typeface="+mn-lt"/>
              </a:rPr>
              <a:t>Marzo  2015</a:t>
            </a:r>
            <a:endParaRPr lang="en-US" sz="900" b="1">
              <a:ea typeface="+mn-lt"/>
              <a:cs typeface="+mn-lt"/>
            </a:endParaRPr>
          </a:p>
          <a:p>
            <a:r>
              <a:rPr lang="es-ES" sz="900" b="1">
                <a:ea typeface="+mn-lt"/>
                <a:cs typeface="+mn-lt"/>
              </a:rPr>
              <a:t>—</a:t>
            </a:r>
          </a:p>
          <a:p>
            <a:r>
              <a:rPr lang="es-ES" sz="900" b="1">
                <a:ea typeface="+mn-lt"/>
                <a:cs typeface="+mn-lt"/>
              </a:rPr>
              <a:t>Nov.</a:t>
            </a:r>
            <a:endParaRPr lang="en-US" sz="900" b="1">
              <a:ea typeface="+mn-lt"/>
              <a:cs typeface="+mn-lt"/>
            </a:endParaRPr>
          </a:p>
          <a:p>
            <a:r>
              <a:rPr lang="es-ES" sz="900" b="1">
                <a:ea typeface="+mn-lt"/>
                <a:cs typeface="+mn-lt"/>
              </a:rPr>
              <a:t>2016</a:t>
            </a:r>
            <a:endParaRPr lang="es-ES" b="1"/>
          </a:p>
        </p:txBody>
      </p:sp>
      <p:sp>
        <p:nvSpPr>
          <p:cNvPr id="55" name="CuadroTexto 54">
            <a:extLst>
              <a:ext uri="{FF2B5EF4-FFF2-40B4-BE49-F238E27FC236}">
                <a16:creationId xmlns:a16="http://schemas.microsoft.com/office/drawing/2014/main" id="{BF1684E3-CE8A-1E4E-B964-0132E29D63C2}"/>
              </a:ext>
            </a:extLst>
          </p:cNvPr>
          <p:cNvSpPr txBox="1"/>
          <p:nvPr/>
        </p:nvSpPr>
        <p:spPr>
          <a:xfrm>
            <a:off x="9441599" y="6006257"/>
            <a:ext cx="1609032" cy="276999"/>
          </a:xfrm>
          <a:prstGeom prst="rect">
            <a:avLst/>
          </a:prstGeom>
          <a:noFill/>
        </p:spPr>
        <p:txBody>
          <a:bodyPr wrap="square" rtlCol="0">
            <a:spAutoFit/>
          </a:bodyPr>
          <a:lstStyle/>
          <a:p>
            <a:r>
              <a:rPr lang="es-ES" sz="1200">
                <a:solidFill>
                  <a:schemeClr val="tx1">
                    <a:lumMod val="95000"/>
                    <a:lumOff val="5000"/>
                  </a:schemeClr>
                </a:solidFill>
                <a:latin typeface="Soho Gothic Pro" panose="020B0503030504020204" pitchFamily="34" charset="77"/>
              </a:rPr>
              <a:t>Idiomas</a:t>
            </a:r>
          </a:p>
        </p:txBody>
      </p:sp>
      <p:sp>
        <p:nvSpPr>
          <p:cNvPr id="56" name="CuadroTexto 55">
            <a:extLst>
              <a:ext uri="{FF2B5EF4-FFF2-40B4-BE49-F238E27FC236}">
                <a16:creationId xmlns:a16="http://schemas.microsoft.com/office/drawing/2014/main" id="{BE67F8B7-F4EB-B543-BD33-1314BDD2C39B}"/>
              </a:ext>
            </a:extLst>
          </p:cNvPr>
          <p:cNvSpPr txBox="1"/>
          <p:nvPr/>
        </p:nvSpPr>
        <p:spPr>
          <a:xfrm>
            <a:off x="9445986" y="6276382"/>
            <a:ext cx="2154917" cy="553998"/>
          </a:xfrm>
          <a:prstGeom prst="rect">
            <a:avLst/>
          </a:prstGeom>
          <a:noFill/>
        </p:spPr>
        <p:txBody>
          <a:bodyPr wrap="square" lIns="91440" tIns="45720" rIns="91440" bIns="45720" rtlCol="0" anchor="t">
            <a:spAutoFit/>
          </a:bodyPr>
          <a:lstStyle/>
          <a:p>
            <a:r>
              <a:rPr lang="es-ES" sz="1000" b="1">
                <a:ea typeface="+mn-lt"/>
                <a:cs typeface="+mn-lt"/>
              </a:rPr>
              <a:t>Castellano - </a:t>
            </a:r>
            <a:r>
              <a:rPr lang="es-ES" sz="1000">
                <a:ea typeface="+mn-lt"/>
                <a:cs typeface="+mn-lt"/>
              </a:rPr>
              <a:t>Nativo</a:t>
            </a:r>
            <a:r>
              <a:rPr lang="en-US" sz="1000">
                <a:ea typeface="+mn-lt"/>
                <a:cs typeface="+mn-lt"/>
              </a:rPr>
              <a:t/>
            </a:r>
            <a:br>
              <a:rPr lang="en-US" sz="1000">
                <a:ea typeface="+mn-lt"/>
                <a:cs typeface="+mn-lt"/>
              </a:rPr>
            </a:br>
            <a:r>
              <a:rPr lang="es-ES" sz="1000" b="1">
                <a:ea typeface="+mn-lt"/>
                <a:cs typeface="+mn-lt"/>
              </a:rPr>
              <a:t>Ingles - </a:t>
            </a:r>
            <a:r>
              <a:rPr lang="es-ES" sz="1000">
                <a:ea typeface="+mn-lt"/>
                <a:cs typeface="+mn-lt"/>
              </a:rPr>
              <a:t>Nivel Básico</a:t>
            </a:r>
            <a:endParaRPr lang="en-US" sz="1000">
              <a:ea typeface="+mn-lt"/>
              <a:cs typeface="+mn-lt"/>
            </a:endParaRPr>
          </a:p>
          <a:p>
            <a:endParaRPr lang="es-ES" sz="1000">
              <a:latin typeface="Soho Gothic Pro" panose="020B0503030504020204" pitchFamily="34" charset="77"/>
            </a:endParaRPr>
          </a:p>
        </p:txBody>
      </p:sp>
      <p:sp>
        <p:nvSpPr>
          <p:cNvPr id="41" name="CuadroTexto 40">
            <a:extLst>
              <a:ext uri="{FF2B5EF4-FFF2-40B4-BE49-F238E27FC236}">
                <a16:creationId xmlns:a16="http://schemas.microsoft.com/office/drawing/2014/main" id="{0F4E0202-A252-624B-BDF1-C6AE5E8A25DE}"/>
              </a:ext>
            </a:extLst>
          </p:cNvPr>
          <p:cNvSpPr txBox="1"/>
          <p:nvPr/>
        </p:nvSpPr>
        <p:spPr>
          <a:xfrm>
            <a:off x="3451753" y="110493"/>
            <a:ext cx="2693324" cy="461665"/>
          </a:xfrm>
          <a:prstGeom prst="rect">
            <a:avLst/>
          </a:prstGeom>
          <a:noFill/>
        </p:spPr>
        <p:txBody>
          <a:bodyPr wrap="square" lIns="91440" tIns="45720" rIns="91440" bIns="45720" rtlCol="0" anchor="t">
            <a:spAutoFit/>
          </a:bodyPr>
          <a:lstStyle/>
          <a:p>
            <a:r>
              <a:rPr lang="es-ES" sz="2400">
                <a:solidFill>
                  <a:schemeClr val="bg1"/>
                </a:solidFill>
                <a:latin typeface="Soho Gothic Pro Medium"/>
              </a:rPr>
              <a:t>Data Engineer</a:t>
            </a:r>
            <a:endParaRPr lang="es-ES" sz="2400">
              <a:solidFill>
                <a:schemeClr val="bg1"/>
              </a:solidFill>
              <a:latin typeface="Soho Gothic Pro Medium" panose="020B0503030504020204" pitchFamily="34" charset="77"/>
            </a:endParaRPr>
          </a:p>
        </p:txBody>
      </p:sp>
      <p:sp>
        <p:nvSpPr>
          <p:cNvPr id="31" name="CuadroTexto 30">
            <a:extLst>
              <a:ext uri="{FF2B5EF4-FFF2-40B4-BE49-F238E27FC236}">
                <a16:creationId xmlns:a16="http://schemas.microsoft.com/office/drawing/2014/main" id="{0F4E0202-A252-624B-BDF1-C6AE5E8A25DE}"/>
              </a:ext>
            </a:extLst>
          </p:cNvPr>
          <p:cNvSpPr txBox="1"/>
          <p:nvPr/>
        </p:nvSpPr>
        <p:spPr>
          <a:xfrm>
            <a:off x="87086" y="152551"/>
            <a:ext cx="2731759" cy="707886"/>
          </a:xfrm>
          <a:prstGeom prst="rect">
            <a:avLst/>
          </a:prstGeom>
          <a:noFill/>
        </p:spPr>
        <p:txBody>
          <a:bodyPr wrap="square" lIns="91440" tIns="45720" rIns="91440" bIns="45720" rtlCol="0" anchor="t">
            <a:spAutoFit/>
          </a:bodyPr>
          <a:lstStyle/>
          <a:p>
            <a:r>
              <a:rPr lang="es-ES" sz="2000">
                <a:solidFill>
                  <a:srgbClr val="FFFDEF"/>
                </a:solidFill>
                <a:ea typeface="+mn-lt"/>
                <a:cs typeface="+mn-lt"/>
              </a:rPr>
              <a:t>J.C.P.C.</a:t>
            </a:r>
            <a:endParaRPr lang="es-ES" sz="2000">
              <a:ea typeface="+mn-lt"/>
              <a:cs typeface="+mn-lt"/>
            </a:endParaRPr>
          </a:p>
          <a:p>
            <a:endParaRPr lang="es-ES" sz="2000">
              <a:solidFill>
                <a:schemeClr val="bg1"/>
              </a:solidFill>
              <a:latin typeface="Soho Gothic Pro Medium" panose="020B0503030504020204" pitchFamily="34" charset="77"/>
            </a:endParaRPr>
          </a:p>
        </p:txBody>
      </p:sp>
      <p:sp>
        <p:nvSpPr>
          <p:cNvPr id="47" name="CuadroTexto 46">
            <a:extLst>
              <a:ext uri="{FF2B5EF4-FFF2-40B4-BE49-F238E27FC236}">
                <a16:creationId xmlns:a16="http://schemas.microsoft.com/office/drawing/2014/main" id="{89221374-508B-FF4A-9DFB-601E8041A74B}"/>
              </a:ext>
            </a:extLst>
          </p:cNvPr>
          <p:cNvSpPr txBox="1"/>
          <p:nvPr/>
        </p:nvSpPr>
        <p:spPr>
          <a:xfrm>
            <a:off x="5342656" y="4158317"/>
            <a:ext cx="3851849" cy="1277273"/>
          </a:xfrm>
          <a:prstGeom prst="rect">
            <a:avLst/>
          </a:prstGeom>
          <a:noFill/>
        </p:spPr>
        <p:txBody>
          <a:bodyPr wrap="square" lIns="91440" tIns="45720" rIns="91440" bIns="45720" rtlCol="0" anchor="t">
            <a:spAutoFit/>
          </a:bodyPr>
          <a:lstStyle/>
          <a:p>
            <a:pPr algn="just"/>
            <a:r>
              <a:rPr lang="es-ES" sz="1100" b="1">
                <a:ea typeface="+mn-lt"/>
                <a:cs typeface="+mn-lt"/>
              </a:rPr>
              <a:t>ALTEN</a:t>
            </a:r>
            <a:endParaRPr lang="es-ES" sz="1100">
              <a:ea typeface="+mn-lt"/>
              <a:cs typeface="+mn-lt"/>
            </a:endParaRPr>
          </a:p>
          <a:p>
            <a:pPr algn="just"/>
            <a:r>
              <a:rPr lang="es-ES" sz="1100">
                <a:ea typeface="+mn-lt"/>
                <a:cs typeface="+mn-lt"/>
              </a:rPr>
              <a:t>Java Developer</a:t>
            </a:r>
            <a:endParaRPr lang="en-US" sz="1100">
              <a:ea typeface="+mn-lt"/>
              <a:cs typeface="+mn-lt"/>
            </a:endParaRPr>
          </a:p>
          <a:p>
            <a:pPr algn="just"/>
            <a:endParaRPr lang="es-ES" sz="1100">
              <a:ea typeface="+mn-lt"/>
              <a:cs typeface="+mn-lt"/>
            </a:endParaRPr>
          </a:p>
          <a:p>
            <a:pPr marL="171450" indent="-171450" algn="just">
              <a:buFont typeface="Arial,Sans-Serif"/>
              <a:buChar char="•"/>
            </a:pPr>
            <a:r>
              <a:rPr lang="es-ES" sz="1100">
                <a:ea typeface="+mn-lt"/>
                <a:cs typeface="+mn-lt"/>
              </a:rPr>
              <a:t>Desarrollador Java para proyectos Universitarios. Usando Spring, JSF, </a:t>
            </a:r>
            <a:r>
              <a:rPr lang="es-ES" sz="1100" err="1">
                <a:ea typeface="+mn-lt"/>
                <a:cs typeface="+mn-lt"/>
              </a:rPr>
              <a:t>Hibernate</a:t>
            </a:r>
            <a:r>
              <a:rPr lang="es-ES" sz="1100">
                <a:ea typeface="+mn-lt"/>
                <a:cs typeface="+mn-lt"/>
              </a:rPr>
              <a:t>, Oracle, XML/XSL.</a:t>
            </a:r>
            <a:endParaRPr lang="en-US"/>
          </a:p>
          <a:p>
            <a:pPr algn="just"/>
            <a:endParaRPr lang="es-ES" sz="1100" b="1">
              <a:latin typeface="Soho Gothic Pro" panose="020B0503030504020204" pitchFamily="34" charset="77"/>
            </a:endParaRPr>
          </a:p>
          <a:p>
            <a:pPr algn="just"/>
            <a:endParaRPr lang="en-US" sz="1100">
              <a:latin typeface="Soho Gothic Pro" panose="020B0503030504020204" pitchFamily="34" charset="77"/>
            </a:endParaRPr>
          </a:p>
        </p:txBody>
      </p:sp>
      <p:sp>
        <p:nvSpPr>
          <p:cNvPr id="50" name="CuadroTexto 49">
            <a:extLst>
              <a:ext uri="{FF2B5EF4-FFF2-40B4-BE49-F238E27FC236}">
                <a16:creationId xmlns:a16="http://schemas.microsoft.com/office/drawing/2014/main" id="{A669BC4B-6A50-864F-85AF-01EA17581A38}"/>
              </a:ext>
            </a:extLst>
          </p:cNvPr>
          <p:cNvSpPr txBox="1"/>
          <p:nvPr/>
        </p:nvSpPr>
        <p:spPr>
          <a:xfrm>
            <a:off x="4952126" y="4155550"/>
            <a:ext cx="551757" cy="784830"/>
          </a:xfrm>
          <a:prstGeom prst="rect">
            <a:avLst/>
          </a:prstGeom>
          <a:noFill/>
        </p:spPr>
        <p:txBody>
          <a:bodyPr wrap="square" lIns="91440" tIns="45720" rIns="91440" bIns="45720" rtlCol="0" anchor="t">
            <a:spAutoFit/>
          </a:bodyPr>
          <a:lstStyle/>
          <a:p>
            <a:r>
              <a:rPr lang="es-ES" sz="900">
                <a:latin typeface="Soho Gothic Pro Medium"/>
              </a:rPr>
              <a:t>Enero 2007</a:t>
            </a:r>
            <a:endParaRPr lang="es-ES" sz="900">
              <a:latin typeface="Soho Gothic Pro Medium" panose="020B0503030504020204" pitchFamily="34" charset="77"/>
            </a:endParaRPr>
          </a:p>
          <a:p>
            <a:r>
              <a:rPr lang="es-ES" sz="900">
                <a:latin typeface="Soho Gothic Pro Medium" panose="020B0503030504020204" pitchFamily="34" charset="77"/>
              </a:rPr>
              <a:t>—</a:t>
            </a:r>
          </a:p>
          <a:p>
            <a:r>
              <a:rPr lang="es-ES" sz="900">
                <a:latin typeface="Soho Gothic Pro Medium" panose="020B0503030504020204" pitchFamily="34" charset="77"/>
              </a:rPr>
              <a:t>Junio</a:t>
            </a:r>
          </a:p>
          <a:p>
            <a:r>
              <a:rPr lang="es-ES" sz="900">
                <a:latin typeface="Soho Gothic Pro Medium"/>
              </a:rPr>
              <a:t>2017</a:t>
            </a:r>
            <a:endParaRPr lang="es-ES" sz="900">
              <a:latin typeface="Soho Gothic Pro Medium" panose="020B0503030504020204" pitchFamily="34" charset="77"/>
            </a:endParaRPr>
          </a:p>
        </p:txBody>
      </p:sp>
      <p:sp>
        <p:nvSpPr>
          <p:cNvPr id="38" name="CuadroTexto 37">
            <a:extLst>
              <a:ext uri="{FF2B5EF4-FFF2-40B4-BE49-F238E27FC236}">
                <a16:creationId xmlns:a16="http://schemas.microsoft.com/office/drawing/2014/main" id="{920CDAA3-74D2-6940-8900-4AABDD5BE40B}"/>
              </a:ext>
            </a:extLst>
          </p:cNvPr>
          <p:cNvSpPr txBox="1"/>
          <p:nvPr/>
        </p:nvSpPr>
        <p:spPr>
          <a:xfrm>
            <a:off x="9477119" y="4470735"/>
            <a:ext cx="1965960" cy="276999"/>
          </a:xfrm>
          <a:prstGeom prst="rect">
            <a:avLst/>
          </a:prstGeom>
          <a:noFill/>
        </p:spPr>
        <p:txBody>
          <a:bodyPr wrap="square" rtlCol="0">
            <a:spAutoFit/>
          </a:bodyPr>
          <a:lstStyle/>
          <a:p>
            <a:r>
              <a:rPr lang="es-ES" sz="1200">
                <a:solidFill>
                  <a:schemeClr val="tx1">
                    <a:lumMod val="95000"/>
                    <a:lumOff val="5000"/>
                  </a:schemeClr>
                </a:solidFill>
                <a:latin typeface="Soho Gothic Pro" panose="020B0503030504020204" pitchFamily="34" charset="77"/>
              </a:rPr>
              <a:t>IT</a:t>
            </a:r>
          </a:p>
        </p:txBody>
      </p:sp>
      <p:sp>
        <p:nvSpPr>
          <p:cNvPr id="53" name="CuadroTexto 52">
            <a:extLst>
              <a:ext uri="{FF2B5EF4-FFF2-40B4-BE49-F238E27FC236}">
                <a16:creationId xmlns:a16="http://schemas.microsoft.com/office/drawing/2014/main" id="{AB2E014F-704F-3649-A8CA-79AC24262337}"/>
              </a:ext>
            </a:extLst>
          </p:cNvPr>
          <p:cNvSpPr txBox="1"/>
          <p:nvPr/>
        </p:nvSpPr>
        <p:spPr>
          <a:xfrm>
            <a:off x="9448502" y="4899212"/>
            <a:ext cx="2831359" cy="1169551"/>
          </a:xfrm>
          <a:prstGeom prst="rect">
            <a:avLst/>
          </a:prstGeom>
          <a:noFill/>
        </p:spPr>
        <p:txBody>
          <a:bodyPr wrap="square" lIns="91440" tIns="45720" rIns="91440" bIns="45720" rtlCol="0" anchor="t">
            <a:spAutoFit/>
          </a:bodyPr>
          <a:lstStyle/>
          <a:p>
            <a:r>
              <a:rPr lang="es-ES" sz="1000" b="1">
                <a:ea typeface="+mn-lt"/>
                <a:cs typeface="+mn-lt"/>
              </a:rPr>
              <a:t>Lenguajes Programación:</a:t>
            </a:r>
            <a:r>
              <a:rPr lang="es-ES" sz="1000">
                <a:ea typeface="+mn-lt"/>
                <a:cs typeface="+mn-lt"/>
              </a:rPr>
              <a:t> </a:t>
            </a:r>
            <a:r>
              <a:rPr lang="es-ES" sz="1000" i="1">
                <a:ea typeface="+mn-lt"/>
                <a:cs typeface="+mn-lt"/>
              </a:rPr>
              <a:t>Java, </a:t>
            </a:r>
            <a:r>
              <a:rPr lang="es-ES" sz="1000" i="1" err="1">
                <a:ea typeface="+mn-lt"/>
                <a:cs typeface="+mn-lt"/>
              </a:rPr>
              <a:t>Scala</a:t>
            </a:r>
            <a:r>
              <a:rPr lang="es-ES" sz="1000" i="1">
                <a:ea typeface="+mn-lt"/>
                <a:cs typeface="+mn-lt"/>
              </a:rPr>
              <a:t>, R, </a:t>
            </a:r>
          </a:p>
          <a:p>
            <a:r>
              <a:rPr lang="es-ES" sz="1000" i="1">
                <a:ea typeface="+mn-lt"/>
                <a:cs typeface="+mn-lt"/>
              </a:rPr>
              <a:t>Python</a:t>
            </a:r>
            <a:endParaRPr lang="es-ES" sz="1000">
              <a:ea typeface="+mn-lt"/>
              <a:cs typeface="+mn-lt"/>
            </a:endParaRPr>
          </a:p>
          <a:p>
            <a:r>
              <a:rPr lang="es-ES" sz="1000" b="1">
                <a:ea typeface="+mn-lt"/>
                <a:cs typeface="+mn-lt"/>
              </a:rPr>
              <a:t>BBDD SQL:</a:t>
            </a:r>
            <a:r>
              <a:rPr lang="es-ES" sz="1000">
                <a:ea typeface="+mn-lt"/>
                <a:cs typeface="+mn-lt"/>
              </a:rPr>
              <a:t> </a:t>
            </a:r>
            <a:r>
              <a:rPr lang="es-ES" sz="1000" i="1">
                <a:ea typeface="+mn-lt"/>
                <a:cs typeface="+mn-lt"/>
              </a:rPr>
              <a:t>Hive/Impala, Kudu, Oracle.</a:t>
            </a:r>
          </a:p>
          <a:p>
            <a:r>
              <a:rPr lang="es-ES" sz="1000" b="1">
                <a:ea typeface="+mn-lt"/>
                <a:cs typeface="+mn-lt"/>
              </a:rPr>
              <a:t>BBDD</a:t>
            </a:r>
            <a:r>
              <a:rPr lang="es-ES" sz="1000">
                <a:ea typeface="+mn-lt"/>
                <a:cs typeface="+mn-lt"/>
              </a:rPr>
              <a:t>: </a:t>
            </a:r>
            <a:r>
              <a:rPr lang="es-ES" sz="1000" i="1">
                <a:ea typeface="+mn-lt"/>
                <a:cs typeface="+mn-lt"/>
              </a:rPr>
              <a:t>MongoDB, Neo4J</a:t>
            </a:r>
            <a:endParaRPr lang="en-US" sz="1000">
              <a:ea typeface="+mn-lt"/>
              <a:cs typeface="+mn-lt"/>
            </a:endParaRPr>
          </a:p>
          <a:p>
            <a:r>
              <a:rPr lang="es-ES" sz="1000" b="1">
                <a:ea typeface="+mn-lt"/>
                <a:cs typeface="+mn-lt"/>
              </a:rPr>
              <a:t>Platforms</a:t>
            </a:r>
            <a:r>
              <a:rPr lang="es-ES" sz="1000">
                <a:ea typeface="+mn-lt"/>
                <a:cs typeface="+mn-lt"/>
              </a:rPr>
              <a:t>: </a:t>
            </a:r>
            <a:r>
              <a:rPr lang="es-ES" sz="1000" i="1" err="1">
                <a:ea typeface="+mn-lt"/>
                <a:cs typeface="+mn-lt"/>
              </a:rPr>
              <a:t>Cloudera</a:t>
            </a:r>
            <a:r>
              <a:rPr lang="es-ES" sz="1000" i="1">
                <a:ea typeface="+mn-lt"/>
                <a:cs typeface="+mn-lt"/>
              </a:rPr>
              <a:t>.</a:t>
            </a:r>
          </a:p>
          <a:p>
            <a:r>
              <a:rPr lang="es-ES" sz="1000" b="1" err="1">
                <a:ea typeface="+mn-lt"/>
                <a:cs typeface="+mn-lt"/>
              </a:rPr>
              <a:t>DevOps</a:t>
            </a:r>
            <a:r>
              <a:rPr lang="es-ES" sz="1000">
                <a:ea typeface="+mn-lt"/>
                <a:cs typeface="+mn-lt"/>
              </a:rPr>
              <a:t>: </a:t>
            </a:r>
            <a:r>
              <a:rPr lang="es-ES" sz="1000" i="1">
                <a:ea typeface="+mn-lt"/>
                <a:cs typeface="+mn-lt"/>
              </a:rPr>
              <a:t>GIT, Jenkins, Maven</a:t>
            </a:r>
            <a:endParaRPr lang="en-US" sz="1000">
              <a:ea typeface="+mn-lt"/>
              <a:cs typeface="+mn-lt"/>
            </a:endParaRPr>
          </a:p>
          <a:p>
            <a:r>
              <a:rPr lang="es-ES" sz="1000" b="1">
                <a:ea typeface="+mn-lt"/>
                <a:cs typeface="+mn-lt"/>
              </a:rPr>
              <a:t>Otras tecnologías</a:t>
            </a:r>
            <a:r>
              <a:rPr lang="es-ES" sz="1000" i="1">
                <a:ea typeface="+mn-lt"/>
                <a:cs typeface="+mn-lt"/>
              </a:rPr>
              <a:t>: J2EE, </a:t>
            </a:r>
            <a:r>
              <a:rPr lang="es-ES" sz="1000" i="1" err="1">
                <a:ea typeface="+mn-lt"/>
                <a:cs typeface="+mn-lt"/>
              </a:rPr>
              <a:t>OSGi</a:t>
            </a:r>
            <a:r>
              <a:rPr lang="es-ES" sz="1000" i="1">
                <a:ea typeface="+mn-lt"/>
                <a:cs typeface="+mn-lt"/>
              </a:rPr>
              <a:t>, GIS, NLP</a:t>
            </a:r>
            <a:endParaRPr lang="en-US"/>
          </a:p>
        </p:txBody>
      </p:sp>
      <p:sp>
        <p:nvSpPr>
          <p:cNvPr id="44" name="CuadroTexto 43">
            <a:extLst>
              <a:ext uri="{FF2B5EF4-FFF2-40B4-BE49-F238E27FC236}">
                <a16:creationId xmlns:a16="http://schemas.microsoft.com/office/drawing/2014/main" id="{920CDAA3-74D2-6940-8900-4AABDD5BE40B}"/>
              </a:ext>
            </a:extLst>
          </p:cNvPr>
          <p:cNvSpPr txBox="1"/>
          <p:nvPr/>
        </p:nvSpPr>
        <p:spPr>
          <a:xfrm>
            <a:off x="9473486" y="2115722"/>
            <a:ext cx="1965960" cy="276999"/>
          </a:xfrm>
          <a:prstGeom prst="rect">
            <a:avLst/>
          </a:prstGeom>
          <a:noFill/>
        </p:spPr>
        <p:txBody>
          <a:bodyPr wrap="square" rtlCol="0">
            <a:spAutoFit/>
          </a:bodyPr>
          <a:lstStyle/>
          <a:p>
            <a:r>
              <a:rPr lang="es-ES" sz="1200">
                <a:solidFill>
                  <a:schemeClr val="tx1">
                    <a:lumMod val="95000"/>
                    <a:lumOff val="5000"/>
                  </a:schemeClr>
                </a:solidFill>
                <a:latin typeface="Soho Gothic Pro" panose="020B0503030504020204" pitchFamily="34" charset="77"/>
              </a:rPr>
              <a:t>Certificaciones</a:t>
            </a:r>
          </a:p>
        </p:txBody>
      </p:sp>
      <p:sp>
        <p:nvSpPr>
          <p:cNvPr id="51" name="CuadroTexto 50">
            <a:extLst>
              <a:ext uri="{FF2B5EF4-FFF2-40B4-BE49-F238E27FC236}">
                <a16:creationId xmlns:a16="http://schemas.microsoft.com/office/drawing/2014/main" id="{AB2E014F-704F-3649-A8CA-79AC24262337}"/>
              </a:ext>
            </a:extLst>
          </p:cNvPr>
          <p:cNvSpPr txBox="1"/>
          <p:nvPr/>
        </p:nvSpPr>
        <p:spPr>
          <a:xfrm>
            <a:off x="9450295" y="2364760"/>
            <a:ext cx="2840167" cy="2554545"/>
          </a:xfrm>
          <a:prstGeom prst="rect">
            <a:avLst/>
          </a:prstGeom>
          <a:noFill/>
        </p:spPr>
        <p:txBody>
          <a:bodyPr wrap="square" lIns="91440" tIns="45720" rIns="91440" bIns="45720" rtlCol="0" anchor="t">
            <a:spAutoFit/>
          </a:bodyPr>
          <a:lstStyle/>
          <a:p>
            <a:r>
              <a:rPr lang="es-ES" sz="1000">
                <a:ea typeface="+mn-lt"/>
                <a:cs typeface="+mn-lt"/>
              </a:rPr>
              <a:t>2021</a:t>
            </a:r>
            <a:endParaRPr lang="en-US" sz="1000">
              <a:ea typeface="+mn-lt"/>
              <a:cs typeface="+mn-lt"/>
            </a:endParaRPr>
          </a:p>
          <a:p>
            <a:r>
              <a:rPr lang="es-ES" sz="1000">
                <a:ea typeface="+mn-lt"/>
                <a:cs typeface="+mn-lt"/>
              </a:rPr>
              <a:t>MongoDB </a:t>
            </a:r>
            <a:r>
              <a:rPr lang="es-ES" sz="1000" err="1">
                <a:ea typeface="+mn-lt"/>
                <a:cs typeface="+mn-lt"/>
              </a:rPr>
              <a:t>Certified</a:t>
            </a:r>
            <a:r>
              <a:rPr lang="es-ES" sz="1000">
                <a:ea typeface="+mn-lt"/>
                <a:cs typeface="+mn-lt"/>
              </a:rPr>
              <a:t> DBA, </a:t>
            </a:r>
            <a:r>
              <a:rPr lang="es-ES" sz="1000" err="1">
                <a:ea typeface="+mn-lt"/>
                <a:cs typeface="+mn-lt"/>
              </a:rPr>
              <a:t>nº</a:t>
            </a:r>
            <a:r>
              <a:rPr lang="es-ES" sz="1000">
                <a:ea typeface="+mn-lt"/>
                <a:cs typeface="+mn-lt"/>
              </a:rPr>
              <a:t> credencial</a:t>
            </a:r>
            <a:endParaRPr lang="en-US" sz="1000">
              <a:ea typeface="+mn-lt"/>
              <a:cs typeface="+mn-lt"/>
            </a:endParaRPr>
          </a:p>
          <a:p>
            <a:r>
              <a:rPr lang="en-US" sz="1000">
                <a:ea typeface="+mn-lt"/>
                <a:cs typeface="+mn-lt"/>
              </a:rPr>
              <a:t>983-930-316</a:t>
            </a:r>
            <a:endParaRPr lang="es-ES"/>
          </a:p>
          <a:p>
            <a:endParaRPr lang="en-US" sz="1000">
              <a:ea typeface="+mn-lt"/>
              <a:cs typeface="+mn-lt"/>
            </a:endParaRPr>
          </a:p>
          <a:p>
            <a:r>
              <a:rPr lang="es-ES" sz="1000">
                <a:ea typeface="+mn-lt"/>
                <a:cs typeface="+mn-lt"/>
              </a:rPr>
              <a:t>2020 </a:t>
            </a:r>
            <a:endParaRPr lang="en-US" sz="1000">
              <a:ea typeface="+mn-lt"/>
              <a:cs typeface="+mn-lt"/>
            </a:endParaRPr>
          </a:p>
          <a:p>
            <a:r>
              <a:rPr lang="es-ES" sz="1000">
                <a:ea typeface="+mn-lt"/>
                <a:cs typeface="+mn-lt"/>
              </a:rPr>
              <a:t>MongoDB developer Associate, nº credencial</a:t>
            </a:r>
          </a:p>
          <a:p>
            <a:r>
              <a:rPr lang="en-US" sz="1000">
                <a:ea typeface="+mn-lt"/>
                <a:cs typeface="+mn-lt"/>
              </a:rPr>
              <a:t>995-832-690</a:t>
            </a:r>
          </a:p>
          <a:p>
            <a:endParaRPr lang="es-ES" sz="1000">
              <a:ea typeface="+mn-lt"/>
              <a:cs typeface="+mn-lt"/>
            </a:endParaRPr>
          </a:p>
          <a:p>
            <a:r>
              <a:rPr lang="es-ES" sz="1000">
                <a:ea typeface="+mn-lt"/>
                <a:cs typeface="+mn-lt"/>
              </a:rPr>
              <a:t>2020 </a:t>
            </a:r>
            <a:endParaRPr lang="en-US" sz="1000">
              <a:ea typeface="+mn-lt"/>
              <a:cs typeface="+mn-lt"/>
            </a:endParaRPr>
          </a:p>
          <a:p>
            <a:r>
              <a:rPr lang="es-ES" sz="1000">
                <a:ea typeface="+mn-lt"/>
                <a:cs typeface="+mn-lt"/>
              </a:rPr>
              <a:t>Neo4j </a:t>
            </a:r>
            <a:r>
              <a:rPr lang="es-ES" sz="1000" err="1">
                <a:ea typeface="+mn-lt"/>
                <a:cs typeface="+mn-lt"/>
              </a:rPr>
              <a:t>Certified</a:t>
            </a:r>
            <a:r>
              <a:rPr lang="es-ES" sz="1000">
                <a:ea typeface="+mn-lt"/>
                <a:cs typeface="+mn-lt"/>
              </a:rPr>
              <a:t> Professional, nº Certificado</a:t>
            </a:r>
            <a:endParaRPr lang="en-US" sz="1000">
              <a:ea typeface="+mn-lt"/>
              <a:cs typeface="+mn-lt"/>
            </a:endParaRPr>
          </a:p>
          <a:p>
            <a:r>
              <a:rPr lang="es-ES" sz="1000">
                <a:ea typeface="+mn-lt"/>
                <a:cs typeface="+mn-lt"/>
              </a:rPr>
              <a:t>17065278</a:t>
            </a:r>
          </a:p>
          <a:p>
            <a:endParaRPr lang="es-ES" sz="1000">
              <a:latin typeface="Soho Gothic Pro" panose="020B0503030504020204" pitchFamily="34" charset="77"/>
              <a:ea typeface="+mn-lt"/>
              <a:cs typeface="+mn-lt"/>
            </a:endParaRPr>
          </a:p>
          <a:p>
            <a:r>
              <a:rPr lang="es-ES" sz="1000">
                <a:ea typeface="+mn-lt"/>
                <a:cs typeface="+mn-lt"/>
              </a:rPr>
              <a:t>2008 </a:t>
            </a:r>
            <a:endParaRPr lang="en-US" sz="1000">
              <a:ea typeface="+mn-lt"/>
              <a:cs typeface="+mn-lt"/>
            </a:endParaRPr>
          </a:p>
          <a:p>
            <a:r>
              <a:rPr lang="es-ES" sz="1000">
                <a:ea typeface="+mn-lt"/>
                <a:cs typeface="+mn-lt"/>
              </a:rPr>
              <a:t>Sun  Certified Web </a:t>
            </a:r>
            <a:r>
              <a:rPr lang="es-ES" sz="1000" err="1">
                <a:ea typeface="+mn-lt"/>
                <a:cs typeface="+mn-lt"/>
              </a:rPr>
              <a:t>Component</a:t>
            </a:r>
            <a:r>
              <a:rPr lang="es-ES" sz="1000">
                <a:ea typeface="+mn-lt"/>
                <a:cs typeface="+mn-lt"/>
              </a:rPr>
              <a:t> </a:t>
            </a:r>
            <a:r>
              <a:rPr lang="es-ES" sz="1000" err="1">
                <a:ea typeface="+mn-lt"/>
                <a:cs typeface="+mn-lt"/>
              </a:rPr>
              <a:t>Developer</a:t>
            </a:r>
            <a:endParaRPr lang="es-ES" sz="1000">
              <a:ea typeface="+mn-lt"/>
              <a:cs typeface="+mn-lt"/>
            </a:endParaRPr>
          </a:p>
          <a:p>
            <a:r>
              <a:rPr lang="es-ES" sz="1000" err="1">
                <a:latin typeface="Soho Gothic Pro"/>
                <a:ea typeface="+mn-lt"/>
                <a:cs typeface="+mn-lt"/>
              </a:rPr>
              <a:t>For</a:t>
            </a:r>
            <a:r>
              <a:rPr lang="es-ES" sz="1000">
                <a:latin typeface="Soho Gothic Pro"/>
                <a:ea typeface="+mn-lt"/>
                <a:cs typeface="+mn-lt"/>
              </a:rPr>
              <a:t>  J2EE </a:t>
            </a:r>
            <a:r>
              <a:rPr lang="es-ES" sz="1000" err="1">
                <a:latin typeface="Soho Gothic Pro"/>
                <a:ea typeface="+mn-lt"/>
                <a:cs typeface="+mn-lt"/>
              </a:rPr>
              <a:t>Platform</a:t>
            </a:r>
            <a:r>
              <a:rPr lang="es-ES" sz="1000">
                <a:latin typeface="Soho Gothic Pro"/>
                <a:ea typeface="+mn-lt"/>
                <a:cs typeface="+mn-lt"/>
              </a:rPr>
              <a:t> 1.4</a:t>
            </a:r>
            <a:endParaRPr lang="es-ES" sz="1000">
              <a:latin typeface="Soho Gothic Pro"/>
            </a:endParaRPr>
          </a:p>
          <a:p>
            <a:endParaRPr lang="es-ES" sz="1000">
              <a:latin typeface="Soho Gothic Pro" panose="020B0503030504020204" pitchFamily="34" charset="77"/>
            </a:endParaRPr>
          </a:p>
        </p:txBody>
      </p:sp>
      <p:sp>
        <p:nvSpPr>
          <p:cNvPr id="57" name="CuadroTexto 56">
            <a:extLst>
              <a:ext uri="{FF2B5EF4-FFF2-40B4-BE49-F238E27FC236}">
                <a16:creationId xmlns:a16="http://schemas.microsoft.com/office/drawing/2014/main" id="{920CDAA3-74D2-6940-8900-4AABDD5BE40B}"/>
              </a:ext>
            </a:extLst>
          </p:cNvPr>
          <p:cNvSpPr txBox="1"/>
          <p:nvPr/>
        </p:nvSpPr>
        <p:spPr>
          <a:xfrm>
            <a:off x="9475278" y="127917"/>
            <a:ext cx="1965960" cy="276999"/>
          </a:xfrm>
          <a:prstGeom prst="rect">
            <a:avLst/>
          </a:prstGeom>
          <a:noFill/>
        </p:spPr>
        <p:txBody>
          <a:bodyPr wrap="square" rtlCol="0">
            <a:spAutoFit/>
          </a:bodyPr>
          <a:lstStyle/>
          <a:p>
            <a:r>
              <a:rPr lang="es-ES" sz="1200">
                <a:solidFill>
                  <a:schemeClr val="tx1">
                    <a:lumMod val="95000"/>
                    <a:lumOff val="5000"/>
                  </a:schemeClr>
                </a:solidFill>
                <a:latin typeface="Soho Gothic Pro" panose="020B0503030504020204" pitchFamily="34" charset="77"/>
              </a:rPr>
              <a:t>Educación</a:t>
            </a:r>
          </a:p>
        </p:txBody>
      </p:sp>
      <p:sp>
        <p:nvSpPr>
          <p:cNvPr id="71" name="CuadroTexto 70">
            <a:extLst>
              <a:ext uri="{FF2B5EF4-FFF2-40B4-BE49-F238E27FC236}">
                <a16:creationId xmlns:a16="http://schemas.microsoft.com/office/drawing/2014/main" id="{2A66A929-B846-D44F-959A-6C9F46C29E0F}"/>
              </a:ext>
            </a:extLst>
          </p:cNvPr>
          <p:cNvSpPr txBox="1"/>
          <p:nvPr/>
        </p:nvSpPr>
        <p:spPr>
          <a:xfrm>
            <a:off x="9827404" y="488572"/>
            <a:ext cx="3715301" cy="553998"/>
          </a:xfrm>
          <a:prstGeom prst="rect">
            <a:avLst/>
          </a:prstGeom>
          <a:noFill/>
        </p:spPr>
        <p:txBody>
          <a:bodyPr wrap="square" lIns="91440" tIns="45720" rIns="91440" bIns="45720" rtlCol="0" anchor="t">
            <a:spAutoFit/>
          </a:bodyPr>
          <a:lstStyle/>
          <a:p>
            <a:r>
              <a:rPr lang="es-ES" sz="1000" b="1">
                <a:ea typeface="+mn-lt"/>
                <a:cs typeface="+mn-lt"/>
              </a:rPr>
              <a:t>Especialización Big Data y Base </a:t>
            </a:r>
          </a:p>
          <a:p>
            <a:r>
              <a:rPr lang="es-ES" sz="1000" b="1">
                <a:ea typeface="+mn-lt"/>
                <a:cs typeface="+mn-lt"/>
              </a:rPr>
              <a:t>de Datos </a:t>
            </a:r>
            <a:r>
              <a:rPr lang="es-ES" sz="1000" b="1" err="1">
                <a:ea typeface="+mn-lt"/>
                <a:cs typeface="+mn-lt"/>
              </a:rPr>
              <a:t>NoSQL</a:t>
            </a:r>
            <a:endParaRPr lang="es-ES" sz="1000" b="1">
              <a:ea typeface="+mn-lt"/>
              <a:cs typeface="+mn-lt"/>
            </a:endParaRPr>
          </a:p>
          <a:p>
            <a:r>
              <a:rPr lang="es-ES" sz="1000">
                <a:ea typeface="+mn-lt"/>
                <a:cs typeface="+mn-lt"/>
              </a:rPr>
              <a:t>UOC (</a:t>
            </a:r>
            <a:r>
              <a:rPr lang="es-ES" sz="1000" err="1">
                <a:ea typeface="+mn-lt"/>
                <a:cs typeface="+mn-lt"/>
              </a:rPr>
              <a:t>Universitat</a:t>
            </a:r>
            <a:r>
              <a:rPr lang="es-ES" sz="1000">
                <a:ea typeface="+mn-lt"/>
                <a:cs typeface="+mn-lt"/>
              </a:rPr>
              <a:t> </a:t>
            </a:r>
            <a:r>
              <a:rPr lang="es-ES" sz="1000" err="1">
                <a:ea typeface="+mn-lt"/>
                <a:cs typeface="+mn-lt"/>
              </a:rPr>
              <a:t>Oberta</a:t>
            </a:r>
            <a:r>
              <a:rPr lang="es-ES" sz="1000">
                <a:ea typeface="+mn-lt"/>
                <a:cs typeface="+mn-lt"/>
              </a:rPr>
              <a:t> de Catalunya)</a:t>
            </a:r>
            <a:endParaRPr lang="en-US" sz="1000">
              <a:latin typeface="Soho Gothic Pro" panose="020B0503030504020204" pitchFamily="34" charset="77"/>
            </a:endParaRPr>
          </a:p>
        </p:txBody>
      </p:sp>
      <p:sp>
        <p:nvSpPr>
          <p:cNvPr id="72" name="CuadroTexto 71">
            <a:extLst>
              <a:ext uri="{FF2B5EF4-FFF2-40B4-BE49-F238E27FC236}">
                <a16:creationId xmlns:a16="http://schemas.microsoft.com/office/drawing/2014/main" id="{561F596E-21F8-694B-836D-BD069D539A49}"/>
              </a:ext>
            </a:extLst>
          </p:cNvPr>
          <p:cNvSpPr txBox="1"/>
          <p:nvPr/>
        </p:nvSpPr>
        <p:spPr>
          <a:xfrm>
            <a:off x="9436876" y="1013478"/>
            <a:ext cx="551757" cy="507831"/>
          </a:xfrm>
          <a:prstGeom prst="rect">
            <a:avLst/>
          </a:prstGeom>
          <a:noFill/>
        </p:spPr>
        <p:txBody>
          <a:bodyPr wrap="square" lIns="91440" tIns="45720" rIns="91440" bIns="45720" rtlCol="0" anchor="t">
            <a:spAutoFit/>
          </a:bodyPr>
          <a:lstStyle/>
          <a:p>
            <a:r>
              <a:rPr lang="es-ES" sz="900">
                <a:latin typeface="Soho Gothic Pro Medium"/>
              </a:rPr>
              <a:t>2009</a:t>
            </a:r>
            <a:endParaRPr lang="es-ES" sz="900">
              <a:latin typeface="Soho Gothic Pro Medium" panose="020B0503030504020204" pitchFamily="34" charset="77"/>
            </a:endParaRPr>
          </a:p>
          <a:p>
            <a:r>
              <a:rPr lang="es-ES" sz="900">
                <a:latin typeface="Soho Gothic Pro Medium" panose="020B0503030504020204" pitchFamily="34" charset="77"/>
              </a:rPr>
              <a:t>—</a:t>
            </a:r>
          </a:p>
          <a:p>
            <a:r>
              <a:rPr lang="es-ES" sz="900">
                <a:latin typeface="Soho Gothic Pro Medium"/>
              </a:rPr>
              <a:t>2010</a:t>
            </a:r>
            <a:endParaRPr lang="es-ES" sz="900">
              <a:latin typeface="Soho Gothic Pro Medium" panose="020B0503030504020204" pitchFamily="34" charset="77"/>
            </a:endParaRPr>
          </a:p>
        </p:txBody>
      </p:sp>
      <p:sp>
        <p:nvSpPr>
          <p:cNvPr id="73" name="CuadroTexto 72">
            <a:extLst>
              <a:ext uri="{FF2B5EF4-FFF2-40B4-BE49-F238E27FC236}">
                <a16:creationId xmlns:a16="http://schemas.microsoft.com/office/drawing/2014/main" id="{592FED21-684F-1C48-9233-F269DFEF0F10}"/>
              </a:ext>
            </a:extLst>
          </p:cNvPr>
          <p:cNvSpPr txBox="1"/>
          <p:nvPr/>
        </p:nvSpPr>
        <p:spPr>
          <a:xfrm>
            <a:off x="9849466" y="1628288"/>
            <a:ext cx="3715301" cy="400110"/>
          </a:xfrm>
          <a:prstGeom prst="rect">
            <a:avLst/>
          </a:prstGeom>
          <a:noFill/>
        </p:spPr>
        <p:txBody>
          <a:bodyPr wrap="square" lIns="91440" tIns="45720" rIns="91440" bIns="45720" rtlCol="0" anchor="t">
            <a:spAutoFit/>
          </a:bodyPr>
          <a:lstStyle/>
          <a:p>
            <a:r>
              <a:rPr lang="es-ES" sz="1000" b="1">
                <a:ea typeface="+mn-lt"/>
                <a:cs typeface="+mn-lt"/>
              </a:rPr>
              <a:t>Ingeniería Técnica de Sistemas </a:t>
            </a:r>
          </a:p>
          <a:p>
            <a:r>
              <a:rPr lang="es-ES" sz="1000">
                <a:ea typeface="+mn-lt"/>
                <a:cs typeface="+mn-lt"/>
              </a:rPr>
              <a:t>UOC (</a:t>
            </a:r>
            <a:r>
              <a:rPr lang="es-ES" sz="1000" err="1">
                <a:ea typeface="+mn-lt"/>
                <a:cs typeface="+mn-lt"/>
              </a:rPr>
              <a:t>Universitat</a:t>
            </a:r>
            <a:r>
              <a:rPr lang="es-ES" sz="1000">
                <a:ea typeface="+mn-lt"/>
                <a:cs typeface="+mn-lt"/>
              </a:rPr>
              <a:t> </a:t>
            </a:r>
            <a:r>
              <a:rPr lang="es-ES" sz="1000" err="1">
                <a:ea typeface="+mn-lt"/>
                <a:cs typeface="+mn-lt"/>
              </a:rPr>
              <a:t>Oberta</a:t>
            </a:r>
            <a:r>
              <a:rPr lang="es-ES" sz="1000">
                <a:ea typeface="+mn-lt"/>
                <a:cs typeface="+mn-lt"/>
              </a:rPr>
              <a:t> de Catalunya)</a:t>
            </a:r>
            <a:endParaRPr lang="en-US" sz="1000">
              <a:latin typeface="Soho Gothic Pro" panose="020B0503030504020204" pitchFamily="34" charset="77"/>
            </a:endParaRPr>
          </a:p>
        </p:txBody>
      </p:sp>
      <p:sp>
        <p:nvSpPr>
          <p:cNvPr id="74" name="CuadroTexto 73">
            <a:extLst>
              <a:ext uri="{FF2B5EF4-FFF2-40B4-BE49-F238E27FC236}">
                <a16:creationId xmlns:a16="http://schemas.microsoft.com/office/drawing/2014/main" id="{7B82553E-CC55-FE4B-A11B-DE0E22DC5EE6}"/>
              </a:ext>
            </a:extLst>
          </p:cNvPr>
          <p:cNvSpPr txBox="1"/>
          <p:nvPr/>
        </p:nvSpPr>
        <p:spPr>
          <a:xfrm>
            <a:off x="9430295" y="456647"/>
            <a:ext cx="551757" cy="507831"/>
          </a:xfrm>
          <a:prstGeom prst="rect">
            <a:avLst/>
          </a:prstGeom>
          <a:noFill/>
        </p:spPr>
        <p:txBody>
          <a:bodyPr wrap="square" lIns="91440" tIns="45720" rIns="91440" bIns="45720" rtlCol="0" anchor="t">
            <a:spAutoFit/>
          </a:bodyPr>
          <a:lstStyle/>
          <a:p>
            <a:r>
              <a:rPr lang="es-ES" sz="900">
                <a:latin typeface="Soho Gothic Pro Medium"/>
              </a:rPr>
              <a:t>2019</a:t>
            </a:r>
            <a:endParaRPr lang="es-ES" sz="900">
              <a:latin typeface="Soho Gothic Pro Medium" panose="020B0503030504020204" pitchFamily="34" charset="77"/>
            </a:endParaRPr>
          </a:p>
          <a:p>
            <a:r>
              <a:rPr lang="es-ES" sz="900">
                <a:latin typeface="Soho Gothic Pro Medium" panose="020B0503030504020204" pitchFamily="34" charset="77"/>
              </a:rPr>
              <a:t>—</a:t>
            </a:r>
          </a:p>
          <a:p>
            <a:r>
              <a:rPr lang="es-ES" sz="900">
                <a:latin typeface="Soho Gothic Pro Medium"/>
              </a:rPr>
              <a:t>2017</a:t>
            </a:r>
            <a:endParaRPr lang="es-ES" sz="900">
              <a:latin typeface="Soho Gothic Pro Medium" panose="020B0503030504020204" pitchFamily="34" charset="77"/>
            </a:endParaRPr>
          </a:p>
        </p:txBody>
      </p:sp>
      <p:sp>
        <p:nvSpPr>
          <p:cNvPr id="25" name="CuadroTexto 24">
            <a:extLst>
              <a:ext uri="{FF2B5EF4-FFF2-40B4-BE49-F238E27FC236}">
                <a16:creationId xmlns:a16="http://schemas.microsoft.com/office/drawing/2014/main" id="{561F596E-21F8-694B-836D-BD069D539A49}"/>
              </a:ext>
            </a:extLst>
          </p:cNvPr>
          <p:cNvSpPr txBox="1"/>
          <p:nvPr/>
        </p:nvSpPr>
        <p:spPr>
          <a:xfrm>
            <a:off x="9416894" y="1600634"/>
            <a:ext cx="551757" cy="507831"/>
          </a:xfrm>
          <a:prstGeom prst="rect">
            <a:avLst/>
          </a:prstGeom>
          <a:noFill/>
        </p:spPr>
        <p:txBody>
          <a:bodyPr wrap="square" lIns="91440" tIns="45720" rIns="91440" bIns="45720" rtlCol="0" anchor="t">
            <a:spAutoFit/>
          </a:bodyPr>
          <a:lstStyle/>
          <a:p>
            <a:r>
              <a:rPr lang="es-ES" sz="900">
                <a:latin typeface="Soho Gothic Pro Medium"/>
              </a:rPr>
              <a:t>2007</a:t>
            </a:r>
            <a:endParaRPr lang="es-ES" sz="900">
              <a:latin typeface="Soho Gothic Pro Medium" panose="020B0503030504020204" pitchFamily="34" charset="77"/>
            </a:endParaRPr>
          </a:p>
          <a:p>
            <a:r>
              <a:rPr lang="es-ES" sz="900">
                <a:latin typeface="Soho Gothic Pro Medium" panose="020B0503030504020204" pitchFamily="34" charset="77"/>
              </a:rPr>
              <a:t>—</a:t>
            </a:r>
          </a:p>
          <a:p>
            <a:r>
              <a:rPr lang="es-ES" sz="900">
                <a:latin typeface="Soho Gothic Pro Medium"/>
              </a:rPr>
              <a:t>2016</a:t>
            </a:r>
            <a:endParaRPr lang="es-ES" sz="900">
              <a:latin typeface="Soho Gothic Pro Medium" panose="020B0503030504020204" pitchFamily="34" charset="77"/>
            </a:endParaRPr>
          </a:p>
        </p:txBody>
      </p:sp>
      <p:sp>
        <p:nvSpPr>
          <p:cNvPr id="26" name="CuadroTexto 25">
            <a:extLst>
              <a:ext uri="{FF2B5EF4-FFF2-40B4-BE49-F238E27FC236}">
                <a16:creationId xmlns:a16="http://schemas.microsoft.com/office/drawing/2014/main" id="{592FED21-684F-1C48-9233-F269DFEF0F10}"/>
              </a:ext>
            </a:extLst>
          </p:cNvPr>
          <p:cNvSpPr txBox="1"/>
          <p:nvPr/>
        </p:nvSpPr>
        <p:spPr>
          <a:xfrm>
            <a:off x="9827403" y="1026495"/>
            <a:ext cx="3715301" cy="553998"/>
          </a:xfrm>
          <a:prstGeom prst="rect">
            <a:avLst/>
          </a:prstGeom>
          <a:noFill/>
        </p:spPr>
        <p:txBody>
          <a:bodyPr wrap="square" lIns="91440" tIns="45720" rIns="91440" bIns="45720" rtlCol="0" anchor="t">
            <a:spAutoFit/>
          </a:bodyPr>
          <a:lstStyle/>
          <a:p>
            <a:r>
              <a:rPr lang="es-ES" sz="1000" b="1">
                <a:ea typeface="+mn-lt"/>
                <a:cs typeface="+mn-lt"/>
              </a:rPr>
              <a:t>Diplomado Programación y </a:t>
            </a:r>
          </a:p>
          <a:p>
            <a:r>
              <a:rPr lang="es-ES" sz="1000" b="1">
                <a:ea typeface="+mn-lt"/>
                <a:cs typeface="+mn-lt"/>
              </a:rPr>
              <a:t>Arquitectura Java Nivel 2</a:t>
            </a:r>
          </a:p>
          <a:p>
            <a:r>
              <a:rPr lang="es-ES" sz="1000">
                <a:ea typeface="+mn-lt"/>
                <a:cs typeface="+mn-lt"/>
              </a:rPr>
              <a:t>UOC (</a:t>
            </a:r>
            <a:r>
              <a:rPr lang="es-ES" sz="1000" err="1">
                <a:ea typeface="+mn-lt"/>
                <a:cs typeface="+mn-lt"/>
              </a:rPr>
              <a:t>Universitat</a:t>
            </a:r>
            <a:r>
              <a:rPr lang="es-ES" sz="1000">
                <a:ea typeface="+mn-lt"/>
                <a:cs typeface="+mn-lt"/>
              </a:rPr>
              <a:t> </a:t>
            </a:r>
            <a:r>
              <a:rPr lang="es-ES" sz="1000" err="1">
                <a:ea typeface="+mn-lt"/>
                <a:cs typeface="+mn-lt"/>
              </a:rPr>
              <a:t>Oberta</a:t>
            </a:r>
            <a:r>
              <a:rPr lang="es-ES" sz="1000">
                <a:ea typeface="+mn-lt"/>
                <a:cs typeface="+mn-lt"/>
              </a:rPr>
              <a:t> de Catalunya)</a:t>
            </a:r>
            <a:endParaRPr lang="en-US" sz="1000">
              <a:latin typeface="Soho Gothic Pro" panose="020B0503030504020204" pitchFamily="34" charset="77"/>
            </a:endParaRPr>
          </a:p>
        </p:txBody>
      </p:sp>
      <p:sp>
        <p:nvSpPr>
          <p:cNvPr id="27" name="CuadroTexto 26">
            <a:extLst>
              <a:ext uri="{FF2B5EF4-FFF2-40B4-BE49-F238E27FC236}">
                <a16:creationId xmlns:a16="http://schemas.microsoft.com/office/drawing/2014/main" id="{2671AB7D-9A8C-BF47-AEB3-28A9D0EE694D}"/>
              </a:ext>
            </a:extLst>
          </p:cNvPr>
          <p:cNvSpPr txBox="1"/>
          <p:nvPr/>
        </p:nvSpPr>
        <p:spPr>
          <a:xfrm>
            <a:off x="250308" y="1709545"/>
            <a:ext cx="551757" cy="784830"/>
          </a:xfrm>
          <a:prstGeom prst="rect">
            <a:avLst/>
          </a:prstGeom>
          <a:noFill/>
        </p:spPr>
        <p:txBody>
          <a:bodyPr wrap="square" lIns="91440" tIns="45720" rIns="91440" bIns="45720" rtlCol="0" anchor="t">
            <a:spAutoFit/>
          </a:bodyPr>
          <a:lstStyle/>
          <a:p>
            <a:r>
              <a:rPr lang="es-ES" sz="900" b="1">
                <a:ea typeface="+mn-lt"/>
                <a:cs typeface="+mn-lt"/>
              </a:rPr>
              <a:t>ACT</a:t>
            </a:r>
            <a:endParaRPr lang="en-US" sz="900" b="1">
              <a:ea typeface="+mn-lt"/>
              <a:cs typeface="+mn-lt"/>
            </a:endParaRPr>
          </a:p>
          <a:p>
            <a:r>
              <a:rPr lang="es-ES" sz="900" b="1">
                <a:ea typeface="+mn-lt"/>
                <a:cs typeface="+mn-lt"/>
              </a:rPr>
              <a:t>—</a:t>
            </a:r>
            <a:endParaRPr lang="en-US" sz="900" b="1">
              <a:ea typeface="+mn-lt"/>
              <a:cs typeface="+mn-lt"/>
            </a:endParaRPr>
          </a:p>
          <a:p>
            <a:r>
              <a:rPr lang="es-ES" sz="900" b="1">
                <a:ea typeface="+mn-lt"/>
                <a:cs typeface="+mn-lt"/>
              </a:rPr>
              <a:t>Agosto2018</a:t>
            </a:r>
            <a:endParaRPr lang="en-US" sz="900" b="1">
              <a:ea typeface="+mn-lt"/>
              <a:cs typeface="+mn-lt"/>
            </a:endParaRPr>
          </a:p>
          <a:p>
            <a:endParaRPr lang="es-ES" sz="900">
              <a:latin typeface="Soho Gothic Pro Medium" panose="020B0503030504020204" pitchFamily="34" charset="77"/>
            </a:endParaRPr>
          </a:p>
        </p:txBody>
      </p:sp>
      <p:sp>
        <p:nvSpPr>
          <p:cNvPr id="28" name="CuadroTexto 27">
            <a:extLst>
              <a:ext uri="{FF2B5EF4-FFF2-40B4-BE49-F238E27FC236}">
                <a16:creationId xmlns:a16="http://schemas.microsoft.com/office/drawing/2014/main" id="{2671AB7D-9A8C-BF47-AEB3-28A9D0EE694D}"/>
              </a:ext>
            </a:extLst>
          </p:cNvPr>
          <p:cNvSpPr txBox="1"/>
          <p:nvPr/>
        </p:nvSpPr>
        <p:spPr>
          <a:xfrm>
            <a:off x="250308" y="4175268"/>
            <a:ext cx="551757" cy="923330"/>
          </a:xfrm>
          <a:prstGeom prst="rect">
            <a:avLst/>
          </a:prstGeom>
          <a:noFill/>
        </p:spPr>
        <p:txBody>
          <a:bodyPr wrap="square" lIns="91440" tIns="45720" rIns="91440" bIns="45720" rtlCol="0" anchor="t">
            <a:spAutoFit/>
          </a:bodyPr>
          <a:lstStyle/>
          <a:p>
            <a:r>
              <a:rPr lang="es-ES" sz="900" b="1">
                <a:ea typeface="+mn-lt"/>
                <a:cs typeface="+mn-lt"/>
              </a:rPr>
              <a:t>Julio 2018</a:t>
            </a:r>
            <a:endParaRPr lang="en-US" sz="900" b="1">
              <a:ea typeface="+mn-lt"/>
              <a:cs typeface="+mn-lt"/>
            </a:endParaRPr>
          </a:p>
          <a:p>
            <a:r>
              <a:rPr lang="es-ES" sz="900" b="1">
                <a:ea typeface="+mn-lt"/>
                <a:cs typeface="+mn-lt"/>
              </a:rPr>
              <a:t>—</a:t>
            </a:r>
            <a:endParaRPr lang="en-US" sz="900" b="1">
              <a:ea typeface="+mn-lt"/>
              <a:cs typeface="+mn-lt"/>
            </a:endParaRPr>
          </a:p>
          <a:p>
            <a:r>
              <a:rPr lang="es-ES" sz="900" b="1">
                <a:ea typeface="+mn-lt"/>
                <a:cs typeface="+mn-lt"/>
              </a:rPr>
              <a:t>Julio 2017</a:t>
            </a:r>
            <a:endParaRPr lang="en-US" sz="900" b="1">
              <a:ea typeface="+mn-lt"/>
              <a:cs typeface="+mn-lt"/>
            </a:endParaRPr>
          </a:p>
          <a:p>
            <a:endParaRPr lang="es-ES" sz="900">
              <a:latin typeface="Soho Gothic Pro Medium" panose="020B0503030504020204" pitchFamily="34" charset="77"/>
            </a:endParaRPr>
          </a:p>
        </p:txBody>
      </p:sp>
      <p:sp>
        <p:nvSpPr>
          <p:cNvPr id="29" name="CuadroTexto 28">
            <a:extLst>
              <a:ext uri="{FF2B5EF4-FFF2-40B4-BE49-F238E27FC236}">
                <a16:creationId xmlns:a16="http://schemas.microsoft.com/office/drawing/2014/main" id="{1813E8C3-18D9-0B4B-8FCA-406B39785552}"/>
              </a:ext>
            </a:extLst>
          </p:cNvPr>
          <p:cNvSpPr txBox="1"/>
          <p:nvPr/>
        </p:nvSpPr>
        <p:spPr>
          <a:xfrm>
            <a:off x="685930" y="4204683"/>
            <a:ext cx="3989098" cy="1107996"/>
          </a:xfrm>
          <a:prstGeom prst="rect">
            <a:avLst/>
          </a:prstGeom>
          <a:noFill/>
        </p:spPr>
        <p:txBody>
          <a:bodyPr wrap="square" lIns="91440" tIns="45720" rIns="91440" bIns="45720" rtlCol="0" anchor="t">
            <a:spAutoFit/>
          </a:bodyPr>
          <a:lstStyle/>
          <a:p>
            <a:pPr algn="just"/>
            <a:r>
              <a:rPr lang="es-ES" sz="1100" b="1">
                <a:ea typeface="+mn-lt"/>
                <a:cs typeface="+mn-lt"/>
              </a:rPr>
              <a:t>INNOFIS</a:t>
            </a:r>
            <a:endParaRPr lang="en-US" sz="1100">
              <a:ea typeface="+mn-lt"/>
              <a:cs typeface="+mn-lt"/>
            </a:endParaRPr>
          </a:p>
          <a:p>
            <a:pPr algn="just"/>
            <a:r>
              <a:rPr lang="es-ES" sz="1100">
                <a:ea typeface="+mn-lt"/>
                <a:cs typeface="+mn-lt"/>
              </a:rPr>
              <a:t>Analista Programador</a:t>
            </a:r>
          </a:p>
          <a:p>
            <a:pPr algn="just"/>
            <a:endParaRPr lang="es-ES" sz="1100" b="1" u="sng">
              <a:ea typeface="+mn-lt"/>
              <a:cs typeface="+mn-lt"/>
            </a:endParaRPr>
          </a:p>
          <a:p>
            <a:pPr marL="171450" indent="-171450" algn="just">
              <a:buFont typeface="Arial,Sans-Serif"/>
              <a:buChar char="•"/>
            </a:pPr>
            <a:r>
              <a:rPr lang="es-ES" sz="1100">
                <a:ea typeface="+mn-lt"/>
                <a:cs typeface="+mn-lt"/>
              </a:rPr>
              <a:t>Analista programador para diversas aplicaciones de una entidad bancaria extranjera.  Usando Spring MVC, Spring </a:t>
            </a:r>
            <a:r>
              <a:rPr lang="es-ES" sz="1100" err="1">
                <a:ea typeface="+mn-lt"/>
                <a:cs typeface="+mn-lt"/>
              </a:rPr>
              <a:t>Batch</a:t>
            </a:r>
            <a:r>
              <a:rPr lang="es-ES" sz="1100">
                <a:ea typeface="+mn-lt"/>
                <a:cs typeface="+mn-lt"/>
              </a:rPr>
              <a:t>, Spring </a:t>
            </a:r>
            <a:r>
              <a:rPr lang="es-ES" sz="1100" err="1">
                <a:ea typeface="+mn-lt"/>
                <a:cs typeface="+mn-lt"/>
              </a:rPr>
              <a:t>Boot</a:t>
            </a:r>
            <a:r>
              <a:rPr lang="es-ES" sz="1100">
                <a:ea typeface="+mn-lt"/>
                <a:cs typeface="+mn-lt"/>
              </a:rPr>
              <a:t>, </a:t>
            </a:r>
            <a:r>
              <a:rPr lang="es-ES" sz="1100" err="1">
                <a:ea typeface="+mn-lt"/>
                <a:cs typeface="+mn-lt"/>
              </a:rPr>
              <a:t>Hibernate</a:t>
            </a:r>
            <a:r>
              <a:rPr lang="es-ES" sz="1100">
                <a:ea typeface="+mn-lt"/>
                <a:cs typeface="+mn-lt"/>
              </a:rPr>
              <a:t>/JPA, </a:t>
            </a:r>
          </a:p>
        </p:txBody>
      </p:sp>
      <p:sp>
        <p:nvSpPr>
          <p:cNvPr id="30" name="CuadroTexto 29">
            <a:extLst>
              <a:ext uri="{FF2B5EF4-FFF2-40B4-BE49-F238E27FC236}">
                <a16:creationId xmlns:a16="http://schemas.microsoft.com/office/drawing/2014/main" id="{2671AB7D-9A8C-BF47-AEB3-28A9D0EE694D}"/>
              </a:ext>
            </a:extLst>
          </p:cNvPr>
          <p:cNvSpPr txBox="1"/>
          <p:nvPr/>
        </p:nvSpPr>
        <p:spPr>
          <a:xfrm>
            <a:off x="242097" y="5604040"/>
            <a:ext cx="551757" cy="923330"/>
          </a:xfrm>
          <a:prstGeom prst="rect">
            <a:avLst/>
          </a:prstGeom>
          <a:noFill/>
        </p:spPr>
        <p:txBody>
          <a:bodyPr wrap="square" lIns="91440" tIns="45720" rIns="91440" bIns="45720" rtlCol="0" anchor="t">
            <a:spAutoFit/>
          </a:bodyPr>
          <a:lstStyle/>
          <a:p>
            <a:r>
              <a:rPr lang="es-ES" sz="900" b="1">
                <a:ea typeface="+mn-lt"/>
                <a:cs typeface="+mn-lt"/>
              </a:rPr>
              <a:t>Marzo 2017</a:t>
            </a:r>
            <a:endParaRPr lang="en-US" sz="900" b="1">
              <a:ea typeface="+mn-lt"/>
              <a:cs typeface="+mn-lt"/>
            </a:endParaRPr>
          </a:p>
          <a:p>
            <a:r>
              <a:rPr lang="es-ES" sz="900" b="1">
                <a:ea typeface="+mn-lt"/>
                <a:cs typeface="+mn-lt"/>
              </a:rPr>
              <a:t>—</a:t>
            </a:r>
            <a:endParaRPr lang="en-US" sz="900" b="1">
              <a:ea typeface="+mn-lt"/>
              <a:cs typeface="+mn-lt"/>
            </a:endParaRPr>
          </a:p>
          <a:p>
            <a:r>
              <a:rPr lang="es-ES" sz="900" b="1">
                <a:ea typeface="+mn-lt"/>
                <a:cs typeface="+mn-lt"/>
              </a:rPr>
              <a:t>Julio 2017</a:t>
            </a:r>
            <a:endParaRPr lang="en-US" sz="900" b="1">
              <a:ea typeface="+mn-lt"/>
              <a:cs typeface="+mn-lt"/>
            </a:endParaRPr>
          </a:p>
          <a:p>
            <a:endParaRPr lang="es-ES" sz="900">
              <a:latin typeface="Soho Gothic Pro Medium" panose="020B0503030504020204" pitchFamily="34" charset="77"/>
            </a:endParaRPr>
          </a:p>
        </p:txBody>
      </p:sp>
      <p:sp>
        <p:nvSpPr>
          <p:cNvPr id="33" name="CuadroTexto 32">
            <a:extLst>
              <a:ext uri="{FF2B5EF4-FFF2-40B4-BE49-F238E27FC236}">
                <a16:creationId xmlns:a16="http://schemas.microsoft.com/office/drawing/2014/main" id="{1813E8C3-18D9-0B4B-8FCA-406B39785552}"/>
              </a:ext>
            </a:extLst>
          </p:cNvPr>
          <p:cNvSpPr txBox="1"/>
          <p:nvPr/>
        </p:nvSpPr>
        <p:spPr>
          <a:xfrm>
            <a:off x="685930" y="5481347"/>
            <a:ext cx="3989098" cy="938719"/>
          </a:xfrm>
          <a:prstGeom prst="rect">
            <a:avLst/>
          </a:prstGeom>
          <a:noFill/>
        </p:spPr>
        <p:txBody>
          <a:bodyPr wrap="square" lIns="91440" tIns="45720" rIns="91440" bIns="45720" rtlCol="0" anchor="t">
            <a:spAutoFit/>
          </a:bodyPr>
          <a:lstStyle/>
          <a:p>
            <a:pPr algn="just"/>
            <a:r>
              <a:rPr lang="es-ES" sz="1100" b="1">
                <a:ea typeface="+mn-lt"/>
                <a:cs typeface="+mn-lt"/>
              </a:rPr>
              <a:t>Grupo TBH</a:t>
            </a:r>
            <a:endParaRPr lang="en-US" sz="1100">
              <a:ea typeface="+mn-lt"/>
              <a:cs typeface="+mn-lt"/>
            </a:endParaRPr>
          </a:p>
          <a:p>
            <a:pPr algn="just"/>
            <a:r>
              <a:rPr lang="es-ES" sz="1100">
                <a:ea typeface="+mn-lt"/>
                <a:cs typeface="+mn-lt"/>
              </a:rPr>
              <a:t>Analista Programador</a:t>
            </a:r>
            <a:endParaRPr lang="en-US" sz="1100">
              <a:ea typeface="+mn-lt"/>
              <a:cs typeface="+mn-lt"/>
            </a:endParaRPr>
          </a:p>
          <a:p>
            <a:pPr algn="just"/>
            <a:endParaRPr lang="es-ES" sz="1100" b="1" u="sng">
              <a:ea typeface="+mn-lt"/>
              <a:cs typeface="+mn-lt"/>
            </a:endParaRPr>
          </a:p>
          <a:p>
            <a:pPr marL="171450" indent="-171450" algn="just">
              <a:buFont typeface="Arial,Sans-Serif"/>
              <a:buChar char="•"/>
            </a:pPr>
            <a:r>
              <a:rPr lang="es-ES" sz="1100">
                <a:ea typeface="+mn-lt"/>
                <a:cs typeface="+mn-lt"/>
              </a:rPr>
              <a:t>Analista programador para aplicación de Hoteles. Usando Spring MVC, Spring, Gestor de Contenido </a:t>
            </a:r>
            <a:r>
              <a:rPr lang="es-ES" sz="1100" err="1">
                <a:ea typeface="+mn-lt"/>
                <a:cs typeface="+mn-lt"/>
              </a:rPr>
              <a:t>Tridion</a:t>
            </a:r>
            <a:endParaRPr lang="es-ES" sz="1100">
              <a:ea typeface="+mn-lt"/>
              <a:cs typeface="+mn-lt"/>
            </a:endParaRPr>
          </a:p>
        </p:txBody>
      </p:sp>
      <p:sp>
        <p:nvSpPr>
          <p:cNvPr id="34" name="CuadroTexto 33">
            <a:extLst>
              <a:ext uri="{FF2B5EF4-FFF2-40B4-BE49-F238E27FC236}">
                <a16:creationId xmlns:a16="http://schemas.microsoft.com/office/drawing/2014/main" id="{A669BC4B-6A50-864F-85AF-01EA17581A38}"/>
              </a:ext>
            </a:extLst>
          </p:cNvPr>
          <p:cNvSpPr txBox="1"/>
          <p:nvPr/>
        </p:nvSpPr>
        <p:spPr>
          <a:xfrm>
            <a:off x="4898823" y="2902340"/>
            <a:ext cx="551757" cy="784830"/>
          </a:xfrm>
          <a:prstGeom prst="rect">
            <a:avLst/>
          </a:prstGeom>
          <a:noFill/>
        </p:spPr>
        <p:txBody>
          <a:bodyPr wrap="square" lIns="91440" tIns="45720" rIns="91440" bIns="45720" rtlCol="0" anchor="t">
            <a:spAutoFit/>
          </a:bodyPr>
          <a:lstStyle/>
          <a:p>
            <a:r>
              <a:rPr lang="es-ES" sz="900" b="1">
                <a:ea typeface="+mn-lt"/>
                <a:cs typeface="+mn-lt"/>
              </a:rPr>
              <a:t>Junio  2011</a:t>
            </a:r>
            <a:endParaRPr lang="en-US" sz="900" b="1">
              <a:ea typeface="+mn-lt"/>
              <a:cs typeface="+mn-lt"/>
            </a:endParaRPr>
          </a:p>
          <a:p>
            <a:r>
              <a:rPr lang="es-ES" sz="900" b="1">
                <a:ea typeface="+mn-lt"/>
                <a:cs typeface="+mn-lt"/>
              </a:rPr>
              <a:t>—</a:t>
            </a:r>
          </a:p>
          <a:p>
            <a:r>
              <a:rPr lang="es-ES" sz="900" b="1">
                <a:ea typeface="+mn-lt"/>
                <a:cs typeface="+mn-lt"/>
              </a:rPr>
              <a:t>Marzo</a:t>
            </a:r>
            <a:endParaRPr lang="en-US" sz="900" b="1">
              <a:ea typeface="+mn-lt"/>
              <a:cs typeface="+mn-lt"/>
            </a:endParaRPr>
          </a:p>
          <a:p>
            <a:r>
              <a:rPr lang="es-ES" sz="900" b="1">
                <a:ea typeface="+mn-lt"/>
                <a:cs typeface="+mn-lt"/>
              </a:rPr>
              <a:t>2015</a:t>
            </a:r>
            <a:endParaRPr lang="es-ES" b="1"/>
          </a:p>
        </p:txBody>
      </p:sp>
      <p:sp>
        <p:nvSpPr>
          <p:cNvPr id="35" name="CuadroTexto 34">
            <a:extLst>
              <a:ext uri="{FF2B5EF4-FFF2-40B4-BE49-F238E27FC236}">
                <a16:creationId xmlns:a16="http://schemas.microsoft.com/office/drawing/2014/main" id="{89221374-508B-FF4A-9DFB-601E8041A74B}"/>
              </a:ext>
            </a:extLst>
          </p:cNvPr>
          <p:cNvSpPr txBox="1"/>
          <p:nvPr/>
        </p:nvSpPr>
        <p:spPr>
          <a:xfrm>
            <a:off x="5341140" y="2813364"/>
            <a:ext cx="3848927" cy="1107996"/>
          </a:xfrm>
          <a:prstGeom prst="rect">
            <a:avLst/>
          </a:prstGeom>
          <a:noFill/>
        </p:spPr>
        <p:txBody>
          <a:bodyPr wrap="square" lIns="91440" tIns="45720" rIns="91440" bIns="45720" rtlCol="0" anchor="t">
            <a:spAutoFit/>
          </a:bodyPr>
          <a:lstStyle/>
          <a:p>
            <a:pPr algn="just"/>
            <a:r>
              <a:rPr lang="es-ES" sz="1100" b="1">
                <a:ea typeface="+mn-lt"/>
                <a:cs typeface="+mn-lt"/>
              </a:rPr>
              <a:t>INDRA</a:t>
            </a:r>
            <a:endParaRPr lang="es-ES" sz="1100">
              <a:ea typeface="+mn-lt"/>
              <a:cs typeface="+mn-lt"/>
            </a:endParaRPr>
          </a:p>
          <a:p>
            <a:pPr algn="just"/>
            <a:r>
              <a:rPr lang="es-ES" sz="1100">
                <a:ea typeface="+mn-lt"/>
                <a:cs typeface="+mn-lt"/>
              </a:rPr>
              <a:t>Analista Programador</a:t>
            </a:r>
            <a:endParaRPr lang="en-US"/>
          </a:p>
          <a:p>
            <a:pPr algn="just"/>
            <a:endParaRPr lang="en-US" sz="1100">
              <a:latin typeface="Soho Gothic Pro" panose="020B0503030504020204" pitchFamily="34" charset="77"/>
            </a:endParaRPr>
          </a:p>
          <a:p>
            <a:pPr marL="171450" indent="-171450" algn="just">
              <a:buFont typeface="Arial,Sans-Serif" panose="020B0604020202020204" pitchFamily="34" charset="0"/>
              <a:buChar char="•"/>
            </a:pPr>
            <a:r>
              <a:rPr lang="es-ES" sz="1100">
                <a:ea typeface="+mn-lt"/>
                <a:cs typeface="+mn-lt"/>
              </a:rPr>
              <a:t>Analista programador para Gas Natural.  Usando Spring, Spring </a:t>
            </a:r>
            <a:r>
              <a:rPr lang="es-ES" sz="1100" err="1">
                <a:ea typeface="+mn-lt"/>
                <a:cs typeface="+mn-lt"/>
              </a:rPr>
              <a:t>Batch</a:t>
            </a:r>
            <a:r>
              <a:rPr lang="es-ES" sz="1100">
                <a:ea typeface="+mn-lt"/>
                <a:cs typeface="+mn-lt"/>
              </a:rPr>
              <a:t>, </a:t>
            </a:r>
            <a:r>
              <a:rPr lang="es-ES" sz="1100" err="1">
                <a:ea typeface="+mn-lt"/>
                <a:cs typeface="+mn-lt"/>
              </a:rPr>
              <a:t>Hibernate</a:t>
            </a:r>
            <a:r>
              <a:rPr lang="es-ES" sz="1100">
                <a:ea typeface="+mn-lt"/>
                <a:cs typeface="+mn-lt"/>
              </a:rPr>
              <a:t>/JPA, Oracle y Flex.  </a:t>
            </a:r>
            <a:endParaRPr lang="en-US" sz="1100">
              <a:ea typeface="+mn-lt"/>
              <a:cs typeface="+mn-lt"/>
            </a:endParaRPr>
          </a:p>
          <a:p>
            <a:pPr algn="just"/>
            <a:endParaRPr lang="es-ES" sz="1100">
              <a:ea typeface="+mn-lt"/>
              <a:cs typeface="+mn-lt"/>
            </a:endParaRPr>
          </a:p>
        </p:txBody>
      </p:sp>
      <p:sp>
        <p:nvSpPr>
          <p:cNvPr id="40" name="CuadroTexto 30_0"/>
          <p:cNvSpPr/>
          <p:nvPr/>
        </p:nvSpPr>
        <p:spPr>
          <a:xfrm>
            <a:off x="5635480" y="152640"/>
            <a:ext cx="3766681" cy="400110"/>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gn="ctr">
              <a:lnSpc>
                <a:spcPct val="100000"/>
              </a:lnSpc>
            </a:pPr>
            <a:r>
              <a:rPr lang="es-ES" sz="2000" spc="-1">
                <a:solidFill>
                  <a:schemeClr val="bg1"/>
                </a:solidFill>
                <a:ea typeface="Soho Gothic Pro Light"/>
              </a:rPr>
              <a:t>Pérez Campo, Juan Carlos</a:t>
            </a:r>
            <a:endParaRPr lang="es-ES" sz="2000" b="0" strike="noStrike" spc="-1">
              <a:solidFill>
                <a:schemeClr val="bg1"/>
              </a:solidFill>
              <a:latin typeface="Arial"/>
            </a:endParaRPr>
          </a:p>
        </p:txBody>
      </p:sp>
    </p:spTree>
    <p:extLst>
      <p:ext uri="{BB962C8B-B14F-4D97-AF65-F5344CB8AC3E}">
        <p14:creationId xmlns:p14="http://schemas.microsoft.com/office/powerpoint/2010/main" val="1860150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276999"/>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1200" spc="-1">
                <a:solidFill>
                  <a:srgbClr val="1A3B47"/>
                </a:solidFill>
                <a:ea typeface="Soho Gothic Pro Light"/>
              </a:rPr>
              <a:t>Desarrollador Senior e Ingeniero Big Data con más de 13 años de experiencia en gestión de equipos de desarrollo de aplicaciones web</a:t>
            </a:r>
            <a:endParaRPr lang="es-ES" sz="1200" b="0" strike="noStrike" spc="-1">
              <a:latin typeface="Arial"/>
            </a:endParaRPr>
          </a:p>
        </p:txBody>
      </p:sp>
      <p:sp>
        <p:nvSpPr>
          <p:cNvPr id="98" name="CuadroTexto 39_0"/>
          <p:cNvSpPr/>
          <p:nvPr/>
        </p:nvSpPr>
        <p:spPr>
          <a:xfrm>
            <a:off x="250200" y="1709640"/>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ACT</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8</a:t>
            </a:r>
            <a:endParaRPr lang="es-ES" sz="900" b="1" strike="noStrike" spc="-1">
              <a:latin typeface="Arial"/>
            </a:endParaRPr>
          </a:p>
          <a:p>
            <a:pPr>
              <a:lnSpc>
                <a:spcPct val="100000"/>
              </a:lnSpc>
            </a:pPr>
            <a:endParaRPr lang="es-ES" sz="900" b="0" strike="noStrike" spc="-1">
              <a:latin typeface="Arial"/>
            </a:endParaRPr>
          </a:p>
        </p:txBody>
      </p:sp>
      <p:sp>
        <p:nvSpPr>
          <p:cNvPr id="99" name="CuadroTexto 44_0"/>
          <p:cNvSpPr/>
          <p:nvPr/>
        </p:nvSpPr>
        <p:spPr>
          <a:xfrm>
            <a:off x="685800" y="1743120"/>
            <a:ext cx="3988800" cy="1615827"/>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gn="just">
              <a:lnSpc>
                <a:spcPct val="100000"/>
              </a:lnSpc>
            </a:pPr>
            <a:r>
              <a:rPr lang="es-ES" sz="1100" b="1" strike="noStrike" spc="-1">
                <a:latin typeface="Soho Gothic Pro Light"/>
                <a:ea typeface="Soho Gothic Pro Light"/>
              </a:rPr>
              <a:t>Minsai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0" strike="noStrike" spc="-1">
              <a:latin typeface="Arial"/>
            </a:endParaRPr>
          </a:p>
          <a:p>
            <a:pPr algn="just">
              <a:lnSpc>
                <a:spcPct val="100000"/>
              </a:lnSpc>
            </a:pPr>
            <a:r>
              <a:rPr lang="es-ES" sz="1100" b="0" strike="noStrike" spc="-1">
                <a:latin typeface="Soho Gothic Pro Light"/>
                <a:ea typeface="Soho Gothic Pro Light"/>
              </a:rPr>
              <a:t>Big Data </a:t>
            </a:r>
            <a:r>
              <a:rPr lang="es-ES" sz="1100" spc="-1" err="1">
                <a:latin typeface="Soho Gothic Pro Light"/>
                <a:ea typeface="Soho Gothic Pro Light"/>
              </a:rPr>
              <a:t>Developer</a:t>
            </a:r>
            <a:endParaRPr lang="es-ES" sz="1100" b="0" strike="noStrike"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100" spc="-1"/>
              <a:t>Arquitecto java para Frontal Grafico de gobierno de las diferentes herramientas y proyectos de Big data dentro de la ATC</a:t>
            </a:r>
          </a:p>
          <a:p>
            <a:pPr marL="171360" indent="-171000" algn="just">
              <a:lnSpc>
                <a:spcPct val="100000"/>
              </a:lnSpc>
              <a:buClr>
                <a:srgbClr val="1A3B47"/>
              </a:buClr>
              <a:buFont typeface="Arial,Sans-Serif"/>
              <a:buChar char="•"/>
            </a:pPr>
            <a:r>
              <a:rPr lang="es-ES" sz="1100" spc="-1"/>
              <a:t>Arquitectura y Programación </a:t>
            </a:r>
          </a:p>
          <a:p>
            <a:pPr marL="171360" indent="-171000" algn="just">
              <a:lnSpc>
                <a:spcPct val="100000"/>
              </a:lnSpc>
              <a:buClr>
                <a:srgbClr val="1A3B47"/>
              </a:buClr>
              <a:buFont typeface="Arial,Sans-Serif"/>
              <a:buChar char="•"/>
            </a:pPr>
            <a:r>
              <a:rPr lang="es-ES" sz="1100" spc="-1"/>
              <a:t>Análisis Técnicos y Valoraciones</a:t>
            </a:r>
          </a:p>
          <a:p>
            <a:pPr marL="171360" indent="-171000" algn="just">
              <a:lnSpc>
                <a:spcPct val="100000"/>
              </a:lnSpc>
              <a:buClr>
                <a:srgbClr val="1A3B47"/>
              </a:buClr>
              <a:buFont typeface="Arial,Sans-Serif"/>
              <a:buChar char="•"/>
            </a:pPr>
            <a:r>
              <a:rPr lang="es-ES" sz="1100" spc="-1"/>
              <a:t>Documentación Técnica</a:t>
            </a:r>
            <a:endParaRPr lang="es-ES" sz="1100" b="0" strike="noStrike" spc="-1">
              <a:solidFill>
                <a:srgbClr val="FF0000"/>
              </a:solidFill>
              <a:latin typeface="Arial"/>
            </a:endParaRPr>
          </a:p>
        </p:txBody>
      </p:sp>
      <p:sp>
        <p:nvSpPr>
          <p:cNvPr id="102" name="CuadroTexto 54_0"/>
          <p:cNvSpPr/>
          <p:nvPr/>
        </p:nvSpPr>
        <p:spPr>
          <a:xfrm>
            <a:off x="9438480" y="5748343"/>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diomas</a:t>
            </a:r>
            <a:endParaRPr lang="es-ES" sz="1200" b="0" strike="noStrike" spc="-1">
              <a:latin typeface="Arial"/>
            </a:endParaRPr>
          </a:p>
        </p:txBody>
      </p:sp>
      <p:sp>
        <p:nvSpPr>
          <p:cNvPr id="103" name="CuadroTexto 55_0"/>
          <p:cNvSpPr/>
          <p:nvPr/>
        </p:nvSpPr>
        <p:spPr>
          <a:xfrm>
            <a:off x="9474840" y="6102583"/>
            <a:ext cx="2712240" cy="861774"/>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r>
              <a:rPr lang="es-ES" sz="1000" b="1" strike="noStrike" spc="-1">
                <a:latin typeface="Soho Gothic Pro Light"/>
                <a:ea typeface="Soho Gothic Pro Light"/>
              </a:rPr>
              <a:t>Castellano - </a:t>
            </a:r>
            <a:r>
              <a:rPr lang="es-ES" sz="1000" b="0" strike="noStrike" spc="-1">
                <a:latin typeface="Soho Gothic Pro Light"/>
                <a:ea typeface="Soho Gothic Pro Light"/>
              </a:rPr>
              <a:t>Nativo</a:t>
            </a:r>
          </a:p>
          <a:p>
            <a:r>
              <a:rPr lang="ca-ES" sz="1000" b="1" spc="-1" err="1">
                <a:latin typeface="Soho Gothic Pro Light"/>
                <a:ea typeface="Soho Gothic Pro Light"/>
              </a:rPr>
              <a:t>Catalán</a:t>
            </a:r>
            <a:r>
              <a:rPr lang="ca-ES" sz="1000" b="1" spc="-1">
                <a:latin typeface="Soho Gothic Pro Light"/>
                <a:ea typeface="Soho Gothic Pro Light"/>
              </a:rPr>
              <a:t> - </a:t>
            </a:r>
            <a:r>
              <a:rPr lang="ca-ES" sz="1000" spc="-1" err="1">
                <a:latin typeface="Soho Gothic Pro Light"/>
                <a:ea typeface="Soho Gothic Pro Light"/>
              </a:rPr>
              <a:t>Nativo</a:t>
            </a:r>
            <a:r>
              <a:rPr lang="ca-ES" sz="1750"/>
              <a:t/>
            </a:r>
            <a:br>
              <a:rPr lang="ca-ES" sz="1750"/>
            </a:br>
            <a:r>
              <a:rPr lang="ca-ES" sz="1000" b="1" spc="-1" err="1">
                <a:solidFill>
                  <a:srgbClr val="1A3B47"/>
                </a:solidFill>
                <a:latin typeface="Soho Gothic Pro Light"/>
              </a:rPr>
              <a:t>Ingles</a:t>
            </a:r>
            <a:r>
              <a:rPr lang="ca-ES" sz="1000" b="1" spc="-1">
                <a:solidFill>
                  <a:srgbClr val="1A3B47"/>
                </a:solidFill>
                <a:latin typeface="Soho Gothic Pro Light"/>
              </a:rPr>
              <a:t> </a:t>
            </a:r>
            <a:r>
              <a:rPr lang="ca-ES" sz="1000" spc="-1">
                <a:solidFill>
                  <a:srgbClr val="1A3B47"/>
                </a:solidFill>
                <a:latin typeface="Soho Gothic Pro Light"/>
              </a:rPr>
              <a:t>- Basico</a:t>
            </a:r>
            <a:endParaRPr lang="es-ES" sz="1000" spc="-1" err="1">
              <a:solidFill>
                <a:srgbClr val="FF0000"/>
              </a:solidFill>
              <a:latin typeface="Soho Gothic Pro Light"/>
            </a:endParaRPr>
          </a:p>
          <a:p>
            <a:pPr>
              <a:lnSpc>
                <a:spcPct val="100000"/>
              </a:lnSpc>
            </a:pPr>
            <a:endParaRPr lang="es-ES" sz="1000" b="0" strike="noStrike" spc="-1">
              <a:solidFill>
                <a:srgbClr val="FF0000"/>
              </a:solidFill>
              <a:latin typeface="Arial"/>
            </a:endParaRPr>
          </a:p>
          <a:p>
            <a:pPr>
              <a:lnSpc>
                <a:spcPct val="100000"/>
              </a:lnSpc>
            </a:pPr>
            <a:endParaRPr lang="es-ES" sz="1000" b="0" strike="noStrike" spc="-1">
              <a:solidFill>
                <a:srgbClr val="FF0000"/>
              </a:solidFill>
              <a:latin typeface="Arial"/>
            </a:endParaRPr>
          </a:p>
        </p:txBody>
      </p:sp>
      <p:sp>
        <p:nvSpPr>
          <p:cNvPr id="105" name="CuadroTexto 40_0"/>
          <p:cNvSpPr/>
          <p:nvPr/>
        </p:nvSpPr>
        <p:spPr>
          <a:xfrm>
            <a:off x="3451680" y="110520"/>
            <a:ext cx="2692800" cy="45756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400" b="0" strike="noStrike" spc="-1">
                <a:solidFill>
                  <a:srgbClr val="FFFFFF"/>
                </a:solidFill>
                <a:latin typeface="Soho Gothic Pro Medium"/>
              </a:rPr>
              <a:t>Data </a:t>
            </a:r>
            <a:r>
              <a:rPr lang="es-ES" sz="2400" b="0" strike="noStrike" spc="-1" err="1">
                <a:solidFill>
                  <a:srgbClr val="FFFFFF"/>
                </a:solidFill>
                <a:latin typeface="Soho Gothic Pro Medium"/>
              </a:rPr>
              <a:t>Engineer</a:t>
            </a:r>
            <a:endParaRPr lang="es-ES" sz="2400" b="0" strike="noStrike" spc="-1">
              <a:latin typeface="Arial"/>
            </a:endParaRPr>
          </a:p>
        </p:txBody>
      </p:sp>
      <p:sp>
        <p:nvSpPr>
          <p:cNvPr id="106" name="CuadroTexto 30_0"/>
          <p:cNvSpPr/>
          <p:nvPr/>
        </p:nvSpPr>
        <p:spPr>
          <a:xfrm>
            <a:off x="87120" y="152640"/>
            <a:ext cx="2731320" cy="70164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rgbClr val="FFFDEF"/>
                </a:solidFill>
                <a:latin typeface="Soho Gothic Pro Light"/>
                <a:ea typeface="Soho Gothic Pro Light"/>
              </a:rPr>
              <a:t>M.V.B.</a:t>
            </a:r>
            <a:endParaRPr lang="es-ES" sz="2000" b="0" strike="noStrike" spc="-1">
              <a:latin typeface="Arial"/>
            </a:endParaRPr>
          </a:p>
          <a:p>
            <a:pPr>
              <a:lnSpc>
                <a:spcPct val="100000"/>
              </a:lnSpc>
            </a:pPr>
            <a:endParaRPr lang="es-ES" sz="2000" b="0" strike="noStrike" spc="-1">
              <a:latin typeface="Arial"/>
            </a:endParaRPr>
          </a:p>
        </p:txBody>
      </p:sp>
      <p:sp>
        <p:nvSpPr>
          <p:cNvPr id="109" name="CuadroTexto 37_0"/>
          <p:cNvSpPr/>
          <p:nvPr/>
        </p:nvSpPr>
        <p:spPr>
          <a:xfrm>
            <a:off x="9447480" y="3681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T</a:t>
            </a:r>
            <a:endParaRPr lang="es-ES" sz="1200" b="0" strike="noStrike" spc="-1">
              <a:latin typeface="Arial"/>
            </a:endParaRPr>
          </a:p>
        </p:txBody>
      </p:sp>
      <p:sp>
        <p:nvSpPr>
          <p:cNvPr id="110" name="CuadroTexto 52_0"/>
          <p:cNvSpPr/>
          <p:nvPr/>
        </p:nvSpPr>
        <p:spPr>
          <a:xfrm>
            <a:off x="9437040" y="4009680"/>
            <a:ext cx="2739600" cy="1631216"/>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n-US" sz="1000" b="1" strike="noStrike" spc="-1">
                <a:latin typeface="Soho Gothic Pro Light"/>
                <a:ea typeface="Soho Gothic Pro Light"/>
              </a:rPr>
              <a:t>Programming languages</a:t>
            </a:r>
            <a:r>
              <a:rPr lang="en-US" sz="1000" b="0" strike="noStrike" spc="-1">
                <a:latin typeface="Soho Gothic Pro Light"/>
                <a:ea typeface="Soho Gothic Pro Light"/>
              </a:rPr>
              <a:t>: </a:t>
            </a:r>
            <a:r>
              <a:rPr lang="en-US" sz="1000" i="1" spc="-1">
                <a:ea typeface="Soho Gothic Pro Light"/>
              </a:rPr>
              <a:t>Java: Hibernate, Spring, Struts, Spring Boot, Angular, JSP, JSF, Maven, EJB ; </a:t>
            </a:r>
            <a:r>
              <a:rPr lang="es-ES" sz="1000" err="1">
                <a:solidFill>
                  <a:srgbClr val="1A3B47"/>
                </a:solidFill>
              </a:rPr>
              <a:t>Jboss</a:t>
            </a:r>
            <a:r>
              <a:rPr lang="es-ES" sz="1000">
                <a:solidFill>
                  <a:srgbClr val="1A3B47"/>
                </a:solidFill>
              </a:rPr>
              <a:t>, </a:t>
            </a:r>
            <a:r>
              <a:rPr lang="es-ES" sz="1000" err="1">
                <a:solidFill>
                  <a:srgbClr val="1A3B47"/>
                </a:solidFill>
              </a:rPr>
              <a:t>Tomcat</a:t>
            </a:r>
            <a:r>
              <a:rPr lang="es-ES" sz="1000">
                <a:solidFill>
                  <a:srgbClr val="1A3B47"/>
                </a:solidFill>
              </a:rPr>
              <a:t>, </a:t>
            </a:r>
            <a:r>
              <a:rPr lang="es-ES" sz="1000" err="1">
                <a:solidFill>
                  <a:srgbClr val="1A3B47"/>
                </a:solidFill>
              </a:rPr>
              <a:t>Websphere</a:t>
            </a:r>
            <a:r>
              <a:rPr lang="es-ES" sz="1000">
                <a:solidFill>
                  <a:srgbClr val="1A3B47"/>
                </a:solidFill>
              </a:rPr>
              <a:t>, </a:t>
            </a:r>
            <a:r>
              <a:rPr lang="es-ES" sz="1000" err="1">
                <a:solidFill>
                  <a:srgbClr val="1A3B47"/>
                </a:solidFill>
              </a:rPr>
              <a:t>Weblogic</a:t>
            </a:r>
            <a:r>
              <a:rPr lang="es-ES" sz="1000">
                <a:solidFill>
                  <a:srgbClr val="1A3B47"/>
                </a:solidFill>
              </a:rPr>
              <a:t>, </a:t>
            </a:r>
            <a:r>
              <a:rPr lang="es-ES" sz="1000" err="1">
                <a:solidFill>
                  <a:srgbClr val="1A3B47"/>
                </a:solidFill>
              </a:rPr>
              <a:t>wildfly</a:t>
            </a:r>
            <a:r>
              <a:rPr lang="es-ES" sz="1000">
                <a:solidFill>
                  <a:srgbClr val="1A3B47"/>
                </a:solidFill>
              </a:rPr>
              <a:t>, </a:t>
            </a:r>
            <a:r>
              <a:rPr lang="es-ES" sz="1000" err="1">
                <a:solidFill>
                  <a:srgbClr val="1A3B47"/>
                </a:solidFill>
              </a:rPr>
              <a:t>Jboss</a:t>
            </a:r>
            <a:r>
              <a:rPr lang="es-ES" sz="1000">
                <a:solidFill>
                  <a:srgbClr val="1A3B47"/>
                </a:solidFill>
              </a:rPr>
              <a:t> EAP</a:t>
            </a:r>
          </a:p>
          <a:p>
            <a:r>
              <a:rPr lang="en-US" sz="1000" b="1" strike="noStrike" spc="-1">
                <a:latin typeface="Soho Gothic Pro Light"/>
                <a:ea typeface="Soho Gothic Pro Light"/>
              </a:rPr>
              <a:t>Databases</a:t>
            </a:r>
            <a:r>
              <a:rPr lang="en-US" sz="1000" b="0" strike="noStrike" spc="-1">
                <a:latin typeface="Soho Gothic Pro Light"/>
                <a:ea typeface="Soho Gothic Pro Light"/>
              </a:rPr>
              <a:t>: </a:t>
            </a:r>
            <a:r>
              <a:rPr lang="en-US" sz="1000" i="1" spc="-1">
                <a:ea typeface="Soho Gothic Pro Light"/>
              </a:rPr>
              <a:t>PL/SQL </a:t>
            </a:r>
            <a:r>
              <a:rPr lang="en-US" sz="1000" i="1" spc="-1" err="1">
                <a:ea typeface="Soho Gothic Pro Light"/>
              </a:rPr>
              <a:t>sobre</a:t>
            </a:r>
            <a:r>
              <a:rPr lang="en-US" sz="1000" i="1" spc="-1">
                <a:ea typeface="Soho Gothic Pro Light"/>
              </a:rPr>
              <a:t> BDD Oracle, DB2 y </a:t>
            </a:r>
            <a:r>
              <a:rPr lang="en-US" sz="1000" i="1" spc="-1" err="1">
                <a:ea typeface="Soho Gothic Pro Light"/>
              </a:rPr>
              <a:t>PostgresSQL</a:t>
            </a:r>
            <a:r>
              <a:rPr lang="en-US" sz="1000" i="1" spc="-1">
                <a:ea typeface="Soho Gothic Pro Light"/>
              </a:rPr>
              <a:t>. Hadoop; MongoDB, Spark,  Impala, Kudu, HDFS, Cloudera</a:t>
            </a:r>
            <a:endParaRPr lang="es-ES" sz="1000" spc="-1">
              <a:latin typeface="Arial"/>
            </a:endParaRPr>
          </a:p>
          <a:p>
            <a:pPr>
              <a:lnSpc>
                <a:spcPct val="100000"/>
              </a:lnSpc>
            </a:pPr>
            <a:r>
              <a:rPr lang="en-US" sz="1000" b="1" strike="noStrike" spc="-1" err="1">
                <a:latin typeface="Soho Gothic Pro Light"/>
                <a:ea typeface="Soho Gothic Pro Light"/>
              </a:rPr>
              <a:t>Gestión</a:t>
            </a:r>
            <a:r>
              <a:rPr lang="en-US" sz="1000" b="0" strike="noStrike" spc="-1">
                <a:latin typeface="Soho Gothic Pro Light"/>
                <a:ea typeface="Soho Gothic Pro Light"/>
              </a:rPr>
              <a:t>: </a:t>
            </a:r>
            <a:r>
              <a:rPr lang="en-US" sz="1000" i="1" spc="-1">
                <a:ea typeface="Soho Gothic Pro Light"/>
              </a:rPr>
              <a:t>Jira, </a:t>
            </a:r>
            <a:r>
              <a:rPr lang="en-US" sz="1000" i="1" spc="-1" err="1">
                <a:ea typeface="Soho Gothic Pro Light"/>
              </a:rPr>
              <a:t>Redmine</a:t>
            </a:r>
            <a:r>
              <a:rPr lang="en-US" sz="1000" i="1" spc="-1">
                <a:ea typeface="Soho Gothic Pro Light"/>
              </a:rPr>
              <a:t>, Remedy, Hudson, Jenkins, Sonar, </a:t>
            </a:r>
            <a:r>
              <a:rPr lang="en-US" sz="1000" i="1" spc="-1" err="1">
                <a:ea typeface="Soho Gothic Pro Light"/>
              </a:rPr>
              <a:t>Git</a:t>
            </a:r>
            <a:r>
              <a:rPr lang="en-US" sz="1000" i="1" spc="-1">
                <a:ea typeface="Soho Gothic Pro Light"/>
              </a:rPr>
              <a:t>, SVN </a:t>
            </a:r>
          </a:p>
          <a:p>
            <a:pPr>
              <a:lnSpc>
                <a:spcPct val="100000"/>
              </a:lnSpc>
            </a:pPr>
            <a:r>
              <a:rPr lang="en-US" sz="1000" b="1" strike="noStrike" spc="-1" err="1">
                <a:latin typeface="Soho Gothic Pro Light"/>
                <a:ea typeface="Soho Gothic Pro Light"/>
              </a:rPr>
              <a:t>Atlassian</a:t>
            </a:r>
            <a:r>
              <a:rPr lang="en-US" sz="1000" b="1" strike="noStrike" spc="-1">
                <a:latin typeface="Soho Gothic Pro Light"/>
                <a:ea typeface="Soho Gothic Pro Light"/>
              </a:rPr>
              <a:t> Tools</a:t>
            </a:r>
            <a:r>
              <a:rPr lang="en-US" sz="1000" b="0" strike="noStrike" spc="-1">
                <a:latin typeface="Soho Gothic Pro Light"/>
                <a:ea typeface="Soho Gothic Pro Light"/>
              </a:rPr>
              <a:t>:  </a:t>
            </a:r>
            <a:r>
              <a:rPr lang="en-US" sz="1000" b="0" i="1" strike="noStrike" spc="-1">
                <a:latin typeface="Soho Gothic Pro Light"/>
                <a:ea typeface="Soho Gothic Pro Light"/>
              </a:rPr>
              <a:t> Jira.</a:t>
            </a:r>
            <a:endParaRPr lang="es-ES" sz="1000" b="0" strike="noStrike" spc="-1">
              <a:latin typeface="Arial"/>
            </a:endParaRPr>
          </a:p>
        </p:txBody>
      </p:sp>
      <p:sp>
        <p:nvSpPr>
          <p:cNvPr id="111" name="CuadroTexto 50_0"/>
          <p:cNvSpPr/>
          <p:nvPr/>
        </p:nvSpPr>
        <p:spPr>
          <a:xfrm>
            <a:off x="9536040" y="2031480"/>
            <a:ext cx="2651040" cy="24622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endParaRPr lang="es-ES" sz="1000" spc="-1">
              <a:solidFill>
                <a:srgbClr val="FF0000"/>
              </a:solidFill>
              <a:latin typeface="Soho Gothic Pro Light"/>
            </a:endParaRPr>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Educación</a:t>
            </a:r>
            <a:endParaRPr lang="es-ES" sz="1200" b="0" strike="noStrike" spc="-1">
              <a:latin typeface="Arial"/>
            </a:endParaRPr>
          </a:p>
        </p:txBody>
      </p:sp>
      <p:sp>
        <p:nvSpPr>
          <p:cNvPr id="113" name="CuadroTexto 70_0"/>
          <p:cNvSpPr/>
          <p:nvPr/>
        </p:nvSpPr>
        <p:spPr>
          <a:xfrm>
            <a:off x="9827280" y="441123"/>
            <a:ext cx="2349360" cy="1015663"/>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spc="-1">
                <a:solidFill>
                  <a:srgbClr val="1A3B47"/>
                </a:solidFill>
                <a:ea typeface="Soho Gothic Pro Light"/>
              </a:rPr>
              <a:t>Técnico Superior Informática Empresarial por GESEM</a:t>
            </a:r>
          </a:p>
          <a:p>
            <a:pPr>
              <a:lnSpc>
                <a:spcPct val="100000"/>
              </a:lnSpc>
            </a:pPr>
            <a:r>
              <a:rPr lang="es-ES" sz="1000" spc="-1">
                <a:solidFill>
                  <a:srgbClr val="1A3B47"/>
                </a:solidFill>
                <a:ea typeface="Soho Gothic Pro Light"/>
              </a:rPr>
              <a:t>Master Avanzado en Programación y Arquitectura Java por Centre PUE Proyecto Universidad Empresa</a:t>
            </a:r>
          </a:p>
          <a:p>
            <a:pPr>
              <a:lnSpc>
                <a:spcPct val="100000"/>
              </a:lnSpc>
            </a:pPr>
            <a:endParaRPr lang="es-ES" sz="1000" b="0" strike="noStrike" spc="-1">
              <a:latin typeface="Arial"/>
            </a:endParaRPr>
          </a:p>
        </p:txBody>
      </p:sp>
      <p:sp>
        <p:nvSpPr>
          <p:cNvPr id="114" name="CuadroTexto 73_0"/>
          <p:cNvSpPr/>
          <p:nvPr/>
        </p:nvSpPr>
        <p:spPr>
          <a:xfrm>
            <a:off x="9430200" y="456480"/>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r>
              <a:rPr lang="es-ES" sz="900" spc="-1">
                <a:solidFill>
                  <a:schemeClr val="tx1">
                    <a:lumMod val="90000"/>
                    <a:lumOff val="10000"/>
                  </a:schemeClr>
                </a:solidFill>
                <a:latin typeface="Soho Gothic Pro Medium"/>
              </a:rPr>
              <a:t>2006</a:t>
            </a:r>
            <a:endParaRPr lang="es-ES" sz="900" spc="-1">
              <a:solidFill>
                <a:schemeClr val="tx1">
                  <a:lumMod val="90000"/>
                  <a:lumOff val="10000"/>
                </a:schemeClr>
              </a:solidFill>
              <a:latin typeface="Arial"/>
              <a:cs typeface="Arial"/>
            </a:endParaRPr>
          </a:p>
          <a:p>
            <a:r>
              <a:rPr lang="es-ES" sz="900" spc="-1">
                <a:solidFill>
                  <a:schemeClr val="tx1">
                    <a:lumMod val="90000"/>
                    <a:lumOff val="10000"/>
                  </a:schemeClr>
                </a:solidFill>
                <a:latin typeface="Soho Gothic Pro Medium"/>
              </a:rPr>
              <a:t>—</a:t>
            </a:r>
            <a:endParaRPr lang="es-ES" sz="900" spc="-1">
              <a:solidFill>
                <a:schemeClr val="tx1">
                  <a:lumMod val="90000"/>
                  <a:lumOff val="10000"/>
                </a:schemeClr>
              </a:solidFill>
              <a:latin typeface="Arial"/>
              <a:cs typeface="Arial"/>
            </a:endParaRPr>
          </a:p>
          <a:p>
            <a:r>
              <a:rPr lang="es-ES" sz="900" spc="-1">
                <a:solidFill>
                  <a:schemeClr val="tx1">
                    <a:lumMod val="90000"/>
                    <a:lumOff val="10000"/>
                  </a:schemeClr>
                </a:solidFill>
                <a:latin typeface="Soho Gothic Pro Medium"/>
              </a:rPr>
              <a:t>2007</a:t>
            </a:r>
          </a:p>
        </p:txBody>
      </p:sp>
      <p:sp>
        <p:nvSpPr>
          <p:cNvPr id="115" name="CuadroTexto 45_2"/>
          <p:cNvSpPr/>
          <p:nvPr/>
        </p:nvSpPr>
        <p:spPr>
          <a:xfrm>
            <a:off x="651600" y="3971239"/>
            <a:ext cx="3848400" cy="1614373"/>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Software </a:t>
            </a:r>
            <a:r>
              <a:rPr lang="es-ES" sz="1100" spc="-1" err="1">
                <a:ea typeface="Soho Gothic Pro Light"/>
              </a:rPr>
              <a:t>Developer</a:t>
            </a:r>
            <a:endParaRPr lang="es-ES" sz="1100" spc="-1">
              <a:latin typeface="Arial"/>
            </a:endParaRPr>
          </a:p>
          <a:p>
            <a:pPr algn="just">
              <a:lnSpc>
                <a:spcPct val="100000"/>
              </a:lnSpc>
            </a:pPr>
            <a:endParaRPr lang="es-ES" sz="1100" b="0" strike="noStrike" spc="-1">
              <a:solidFill>
                <a:srgbClr val="FF0000"/>
              </a:solidFill>
              <a:latin typeface="Arial"/>
            </a:endParaRPr>
          </a:p>
          <a:p>
            <a:pPr marL="171360" indent="-171000" algn="just">
              <a:lnSpc>
                <a:spcPct val="100000"/>
              </a:lnSpc>
              <a:buClr>
                <a:srgbClr val="1A3B47"/>
              </a:buClr>
              <a:buFont typeface="Arial"/>
              <a:buChar char="•"/>
            </a:pPr>
            <a:r>
              <a:rPr lang="es-ES" sz="1100" spc="-1"/>
              <a:t>En </a:t>
            </a:r>
            <a:r>
              <a:rPr lang="es-ES" sz="1100" spc="-1" err="1"/>
              <a:t>Acualogy</a:t>
            </a:r>
            <a:r>
              <a:rPr lang="es-ES" sz="1100" spc="-1"/>
              <a:t> para Aguas de Barcelona, como arquitecto de software para soluciones de negocio en diversas aplicaciones con tecnología java</a:t>
            </a:r>
          </a:p>
          <a:p>
            <a:pPr marL="171360" indent="-171000" algn="just">
              <a:lnSpc>
                <a:spcPct val="100000"/>
              </a:lnSpc>
              <a:buClr>
                <a:srgbClr val="1A3B47"/>
              </a:buClr>
              <a:buFont typeface="Arial,Sans-Serif"/>
              <a:buChar char="•"/>
            </a:pPr>
            <a:r>
              <a:rPr lang="es-ES" sz="1100" spc="-1"/>
              <a:t>Arquitectura y Programación </a:t>
            </a:r>
          </a:p>
          <a:p>
            <a:pPr marL="171360" indent="-171000" algn="just">
              <a:lnSpc>
                <a:spcPct val="100000"/>
              </a:lnSpc>
              <a:buClr>
                <a:srgbClr val="1A3B47"/>
              </a:buClr>
              <a:buFont typeface="Arial,Sans-Serif"/>
              <a:buChar char="•"/>
            </a:pPr>
            <a:r>
              <a:rPr lang="es-ES" sz="1100" spc="-1"/>
              <a:t>Análisis Técnicos y Valoraciones</a:t>
            </a:r>
          </a:p>
          <a:p>
            <a:pPr marL="171360" indent="-171000" algn="just">
              <a:lnSpc>
                <a:spcPct val="100000"/>
              </a:lnSpc>
              <a:buClr>
                <a:srgbClr val="1A3B47"/>
              </a:buClr>
              <a:buFont typeface="Arial,Sans-Serif"/>
              <a:buChar char="•"/>
            </a:pPr>
            <a:r>
              <a:rPr lang="es-ES" sz="1100" spc="-1"/>
              <a:t>Documentación Técnica</a:t>
            </a:r>
            <a:endParaRPr lang="es-ES" sz="1100" b="0" strike="noStrike" spc="-1">
              <a:solidFill>
                <a:srgbClr val="FF0000"/>
              </a:solidFill>
              <a:latin typeface="Arial"/>
            </a:endParaRPr>
          </a:p>
        </p:txBody>
      </p:sp>
      <p:sp>
        <p:nvSpPr>
          <p:cNvPr id="116" name="CuadroTexto 48_2"/>
          <p:cNvSpPr/>
          <p:nvPr/>
        </p:nvSpPr>
        <p:spPr>
          <a:xfrm>
            <a:off x="240120" y="3871519"/>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3</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8</a:t>
            </a:r>
            <a:endParaRPr lang="es-ES" sz="900" b="1" strike="noStrike" spc="-1">
              <a:latin typeface="Arial"/>
            </a:endParaRPr>
          </a:p>
        </p:txBody>
      </p:sp>
      <p:sp>
        <p:nvSpPr>
          <p:cNvPr id="117" name="CuadroTexto 33_0"/>
          <p:cNvSpPr/>
          <p:nvPr/>
        </p:nvSpPr>
        <p:spPr>
          <a:xfrm>
            <a:off x="9453736" y="1605623"/>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t">
            <a:spAutoFit/>
          </a:bodyPr>
          <a:lstStyle/>
          <a:p>
            <a:endParaRPr lang="es-ES" sz="1200" b="1" spc="-1">
              <a:solidFill>
                <a:srgbClr val="FF0000"/>
              </a:solidFill>
              <a:latin typeface="Soho Gothic Pro Light"/>
            </a:endParaRPr>
          </a:p>
        </p:txBody>
      </p:sp>
      <p:sp>
        <p:nvSpPr>
          <p:cNvPr id="33" name="CuadroTexto 39_0"/>
          <p:cNvSpPr/>
          <p:nvPr/>
        </p:nvSpPr>
        <p:spPr>
          <a:xfrm>
            <a:off x="4911480" y="1709640"/>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0</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3</a:t>
            </a:r>
            <a:endParaRPr lang="es-ES" sz="900" b="1" strike="noStrike" spc="-1">
              <a:latin typeface="Arial"/>
            </a:endParaRPr>
          </a:p>
          <a:p>
            <a:pPr>
              <a:lnSpc>
                <a:spcPct val="100000"/>
              </a:lnSpc>
            </a:pPr>
            <a:endParaRPr lang="es-ES" sz="900" b="0" strike="noStrike" spc="-1">
              <a:latin typeface="Arial"/>
            </a:endParaRPr>
          </a:p>
        </p:txBody>
      </p:sp>
      <p:sp>
        <p:nvSpPr>
          <p:cNvPr id="34" name="CuadroTexto 44_0"/>
          <p:cNvSpPr/>
          <p:nvPr/>
        </p:nvSpPr>
        <p:spPr>
          <a:xfrm>
            <a:off x="5347080" y="1743120"/>
            <a:ext cx="3988800" cy="1785104"/>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gn="just">
              <a:lnSpc>
                <a:spcPct val="100000"/>
              </a:lnSpc>
            </a:pPr>
            <a:r>
              <a:rPr lang="es-ES" sz="1100" b="1" strike="noStrike" spc="-1">
                <a:latin typeface="Soho Gothic Pro Light"/>
                <a:ea typeface="Soho Gothic Pro Light"/>
              </a:rPr>
              <a:t>Minsai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0" strike="noStrike" spc="-1">
              <a:latin typeface="Arial"/>
            </a:endParaRPr>
          </a:p>
          <a:p>
            <a:pPr algn="just">
              <a:lnSpc>
                <a:spcPct val="100000"/>
              </a:lnSpc>
            </a:pPr>
            <a:r>
              <a:rPr lang="es-ES" sz="1100" spc="-1">
                <a:ea typeface="Soho Gothic Pro Light"/>
              </a:rPr>
              <a:t>Software </a:t>
            </a:r>
            <a:r>
              <a:rPr lang="es-ES" sz="1100" spc="-1" err="1">
                <a:ea typeface="Soho Gothic Pro Light"/>
              </a:rPr>
              <a:t>Developer</a:t>
            </a:r>
            <a:endParaRPr lang="es-ES" sz="1100"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100" spc="-1"/>
              <a:t>Proyecto Zeus para Gas natural, como analista programador, con gestión de equipo de 3 personas</a:t>
            </a:r>
          </a:p>
          <a:p>
            <a:pPr marL="171360" indent="-171000" algn="just">
              <a:lnSpc>
                <a:spcPct val="100000"/>
              </a:lnSpc>
              <a:buClr>
                <a:srgbClr val="1A3B47"/>
              </a:buClr>
              <a:buFont typeface="Arial,Sans-Serif"/>
              <a:buChar char="•"/>
            </a:pPr>
            <a:r>
              <a:rPr lang="es-ES" sz="1100" spc="-1"/>
              <a:t>5 meses en cliente para Desarrollar la arquitectura de Gas Natural para proyecto Zeus y otra aplicaciones </a:t>
            </a:r>
          </a:p>
          <a:p>
            <a:pPr marL="171360" indent="-171000" algn="just">
              <a:lnSpc>
                <a:spcPct val="100000"/>
              </a:lnSpc>
              <a:buClr>
                <a:srgbClr val="1A3B47"/>
              </a:buClr>
              <a:buFont typeface="Arial,Sans-Serif"/>
              <a:buChar char="•"/>
            </a:pPr>
            <a:r>
              <a:rPr lang="es-ES" sz="1100" spc="-1"/>
              <a:t>Arquitectura y Programación </a:t>
            </a:r>
          </a:p>
          <a:p>
            <a:pPr marL="171360" indent="-171000" algn="just">
              <a:lnSpc>
                <a:spcPct val="100000"/>
              </a:lnSpc>
              <a:buClr>
                <a:srgbClr val="1A3B47"/>
              </a:buClr>
              <a:buFont typeface="Arial,Sans-Serif"/>
              <a:buChar char="•"/>
            </a:pPr>
            <a:r>
              <a:rPr lang="es-ES" sz="1100" spc="-1"/>
              <a:t>Análisis Técnicos y Valoraciones</a:t>
            </a:r>
          </a:p>
          <a:p>
            <a:pPr marL="171360" indent="-171000" algn="just">
              <a:lnSpc>
                <a:spcPct val="100000"/>
              </a:lnSpc>
              <a:buClr>
                <a:srgbClr val="1A3B47"/>
              </a:buClr>
              <a:buFont typeface="Arial,Sans-Serif"/>
              <a:buChar char="•"/>
            </a:pPr>
            <a:r>
              <a:rPr lang="es-ES" sz="1100" spc="-1"/>
              <a:t> Documentación Técnica</a:t>
            </a:r>
          </a:p>
        </p:txBody>
      </p:sp>
      <p:sp>
        <p:nvSpPr>
          <p:cNvPr id="35" name="CuadroTexto 45_2"/>
          <p:cNvSpPr/>
          <p:nvPr/>
        </p:nvSpPr>
        <p:spPr>
          <a:xfrm>
            <a:off x="5312880" y="3971239"/>
            <a:ext cx="3848400" cy="178365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Software </a:t>
            </a:r>
            <a:r>
              <a:rPr lang="es-ES" sz="1100" spc="-1" err="1">
                <a:ea typeface="Soho Gothic Pro Light"/>
              </a:rPr>
              <a:t>Developer</a:t>
            </a:r>
            <a:endParaRPr lang="es-ES" sz="1100" spc="-1">
              <a:latin typeface="Arial"/>
            </a:endParaRPr>
          </a:p>
          <a:p>
            <a:pPr algn="just">
              <a:lnSpc>
                <a:spcPct val="100000"/>
              </a:lnSpc>
            </a:pPr>
            <a:endParaRPr lang="es-ES" sz="1100" b="0" strike="noStrike" spc="-1">
              <a:latin typeface="Arial"/>
            </a:endParaRPr>
          </a:p>
          <a:p>
            <a:pPr marL="171450" indent="-171450" algn="just" defTabSz="914377">
              <a:buFont typeface="Arial" panose="020B0604020202020204" pitchFamily="34" charset="0"/>
              <a:buChar char="•"/>
              <a:defRPr b="0" i="0"/>
            </a:pPr>
            <a:r>
              <a:rPr lang="es-ES" sz="1100"/>
              <a:t>Programador para diversas aplicaciones administración publica Generalitat y Ayuntamiento de Barcelona (I.M.I)</a:t>
            </a:r>
          </a:p>
          <a:p>
            <a:pPr marL="171450" lvl="0" indent="-171450">
              <a:buFont typeface="Arial" panose="020B0604020202020204" pitchFamily="34" charset="0"/>
              <a:buChar char="•"/>
            </a:pPr>
            <a:r>
              <a:rPr lang="es-ES" sz="1100"/>
              <a:t>Programación </a:t>
            </a:r>
          </a:p>
          <a:p>
            <a:pPr marL="171450" lvl="0" indent="-171450">
              <a:buFont typeface="Arial" panose="020B0604020202020204" pitchFamily="34" charset="0"/>
              <a:buChar char="•"/>
            </a:pPr>
            <a:r>
              <a:rPr lang="es-ES" sz="1100"/>
              <a:t>Análisis Técnicos y Valoraciones</a:t>
            </a:r>
          </a:p>
          <a:p>
            <a:pPr marL="171450" lvl="0" indent="-171450">
              <a:buFont typeface="Arial" panose="020B0604020202020204" pitchFamily="34" charset="0"/>
              <a:buChar char="•"/>
            </a:pPr>
            <a:r>
              <a:rPr lang="es-ES" sz="1100"/>
              <a:t>Gestión proyectos y Gestión de personas</a:t>
            </a:r>
          </a:p>
          <a:p>
            <a:pPr marL="171450" lvl="0" indent="-171450">
              <a:buFont typeface="Arial" panose="020B0604020202020204" pitchFamily="34" charset="0"/>
              <a:buChar char="•"/>
            </a:pPr>
            <a:r>
              <a:rPr lang="es-ES" sz="1100"/>
              <a:t>Documentación Técnica, Funcional, manual usuario, formación usuario.</a:t>
            </a:r>
            <a:endParaRPr lang="es-ES" sz="1100" b="0" strike="noStrike" spc="-1">
              <a:latin typeface="Arial"/>
            </a:endParaRPr>
          </a:p>
        </p:txBody>
      </p:sp>
      <p:sp>
        <p:nvSpPr>
          <p:cNvPr id="36" name="CuadroTexto 48_2"/>
          <p:cNvSpPr/>
          <p:nvPr/>
        </p:nvSpPr>
        <p:spPr>
          <a:xfrm>
            <a:off x="4901400" y="3871519"/>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06</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0</a:t>
            </a:r>
            <a:endParaRPr lang="es-ES" sz="900" b="1" strike="noStrike" spc="-1">
              <a:latin typeface="Arial"/>
            </a:endParaRPr>
          </a:p>
        </p:txBody>
      </p:sp>
      <p:sp>
        <p:nvSpPr>
          <p:cNvPr id="37" name="CuadroTexto 30_0"/>
          <p:cNvSpPr/>
          <p:nvPr/>
        </p:nvSpPr>
        <p:spPr>
          <a:xfrm>
            <a:off x="6231960" y="152640"/>
            <a:ext cx="312624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2000" spc="-1" err="1">
                <a:solidFill>
                  <a:srgbClr val="FFFDEF"/>
                </a:solidFill>
                <a:ea typeface="Soho Gothic Pro Light"/>
              </a:rPr>
              <a:t>Vallve</a:t>
            </a:r>
            <a:r>
              <a:rPr lang="es-ES" sz="2000" spc="-1">
                <a:solidFill>
                  <a:srgbClr val="FFFDEF"/>
                </a:solidFill>
                <a:ea typeface="Soho Gothic Pro Light"/>
              </a:rPr>
              <a:t> Barrasa, Marc</a:t>
            </a:r>
            <a:endParaRPr lang="es-ES" sz="2000" b="0" strike="noStrike" spc="-1">
              <a:latin typeface="Arial"/>
            </a:endParaRPr>
          </a:p>
        </p:txBody>
      </p:sp>
    </p:spTree>
    <p:extLst>
      <p:ext uri="{BB962C8B-B14F-4D97-AF65-F5344CB8AC3E}">
        <p14:creationId xmlns:p14="http://schemas.microsoft.com/office/powerpoint/2010/main" val="22428078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95058" y="720720"/>
            <a:ext cx="9036230" cy="64633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200" spc="-1">
                <a:ea typeface="Soho Gothic Pro Light"/>
              </a:rPr>
              <a:t>Ingeniero y Arquitecto en Microservicios &amp; AP con más de 15 años de experiencia en diversos roles en proyectos relacionados con la</a:t>
            </a:r>
            <a:endParaRPr lang="es-ES"/>
          </a:p>
          <a:p>
            <a:r>
              <a:rPr lang="es-ES" sz="1200" spc="-1">
                <a:ea typeface="Soho Gothic Pro Light"/>
              </a:rPr>
              <a:t>gestión tributaria, tanto autonómica como local. A lo largo del tiempo he sido responsable directamente del desarrollo de</a:t>
            </a:r>
            <a:endParaRPr lang="es-ES">
              <a:ea typeface="Soho Gothic Pro Light"/>
            </a:endParaRPr>
          </a:p>
          <a:p>
            <a:r>
              <a:rPr lang="es-ES" sz="1200" spc="-1">
                <a:ea typeface="Soho Gothic Pro Light"/>
              </a:rPr>
              <a:t>componentes críticos así como he gestionado equipos responsables del desarrollo</a:t>
            </a:r>
            <a:endParaRPr lang="es-ES" sz="1750"/>
          </a:p>
        </p:txBody>
      </p:sp>
      <p:sp>
        <p:nvSpPr>
          <p:cNvPr id="98" name="CuadroTexto 39_0"/>
          <p:cNvSpPr/>
          <p:nvPr/>
        </p:nvSpPr>
        <p:spPr>
          <a:xfrm>
            <a:off x="240120" y="1709640"/>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ACT</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5</a:t>
            </a:r>
            <a:endParaRPr lang="es-ES" sz="900" b="1" strike="noStrike" spc="-1">
              <a:latin typeface="Arial"/>
            </a:endParaRPr>
          </a:p>
          <a:p>
            <a:pPr>
              <a:lnSpc>
                <a:spcPct val="100000"/>
              </a:lnSpc>
            </a:pPr>
            <a:endParaRPr lang="es-ES" sz="900" b="0" strike="noStrike" spc="-1">
              <a:latin typeface="Arial"/>
            </a:endParaRPr>
          </a:p>
        </p:txBody>
      </p:sp>
      <p:sp>
        <p:nvSpPr>
          <p:cNvPr id="99" name="CuadroTexto 44_0"/>
          <p:cNvSpPr/>
          <p:nvPr/>
        </p:nvSpPr>
        <p:spPr>
          <a:xfrm>
            <a:off x="685800" y="1743120"/>
            <a:ext cx="3988800" cy="1615827"/>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gn="just">
              <a:lnSpc>
                <a:spcPct val="100000"/>
              </a:lnSpc>
            </a:pPr>
            <a:r>
              <a:rPr lang="es-ES" sz="1100" b="1" strike="noStrike" spc="-1">
                <a:latin typeface="Soho Gothic Pro Light"/>
                <a:ea typeface="Soho Gothic Pro Light"/>
              </a:rPr>
              <a:t>Minsai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0" strike="noStrike" spc="-1">
              <a:latin typeface="Arial"/>
            </a:endParaRPr>
          </a:p>
          <a:p>
            <a:pPr algn="just">
              <a:lnSpc>
                <a:spcPct val="100000"/>
              </a:lnSpc>
            </a:pPr>
            <a:r>
              <a:rPr lang="es-ES" sz="1100" spc="-1">
                <a:latin typeface="Soho Gothic Pro Light"/>
                <a:ea typeface="Soho Gothic Pro Light"/>
              </a:rPr>
              <a:t>Ingeniero/Arquitecto Mongo-</a:t>
            </a:r>
            <a:r>
              <a:rPr lang="es-ES" sz="1100" spc="-1" err="1">
                <a:latin typeface="Soho Gothic Pro Light"/>
                <a:ea typeface="Soho Gothic Pro Light"/>
              </a:rPr>
              <a:t>Kudu</a:t>
            </a:r>
            <a:endParaRPr lang="es-ES" sz="1100" b="0" strike="noStrike"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100" spc="-1"/>
              <a:t>Sistema de interfaces de negocio sintetizadas en mongo DB y provenientes de una capa de consolidación en Big Data que a su vez toma datos de los diversos operacionales de la ATC </a:t>
            </a:r>
          </a:p>
          <a:p>
            <a:pPr marL="171360" indent="-171000" algn="just">
              <a:lnSpc>
                <a:spcPct val="100000"/>
              </a:lnSpc>
              <a:buClr>
                <a:srgbClr val="1A3B47"/>
              </a:buClr>
              <a:buFont typeface="Arial,Sans-Serif"/>
              <a:buChar char="•"/>
            </a:pPr>
            <a:r>
              <a:rPr lang="es-ES" sz="1100" spc="-1"/>
              <a:t>Desarrollos mediante MongoDB, </a:t>
            </a:r>
            <a:r>
              <a:rPr lang="es-ES" sz="1100" spc="-1" err="1"/>
              <a:t>Spark</a:t>
            </a:r>
            <a:r>
              <a:rPr lang="es-ES" sz="1100" spc="-1"/>
              <a:t>,  Impala, </a:t>
            </a:r>
            <a:r>
              <a:rPr lang="es-ES" sz="1100" spc="-1" err="1"/>
              <a:t>Kudu</a:t>
            </a:r>
            <a:r>
              <a:rPr lang="es-ES" sz="1100" spc="-1"/>
              <a:t>, HDFS, </a:t>
            </a:r>
            <a:r>
              <a:rPr lang="es-ES" sz="1100" spc="-1" err="1"/>
              <a:t>Cloudera</a:t>
            </a:r>
            <a:endParaRPr lang="es-ES" sz="1100" spc="-1"/>
          </a:p>
        </p:txBody>
      </p:sp>
      <p:sp>
        <p:nvSpPr>
          <p:cNvPr id="102" name="CuadroTexto 54_0"/>
          <p:cNvSpPr/>
          <p:nvPr/>
        </p:nvSpPr>
        <p:spPr>
          <a:xfrm>
            <a:off x="9438480" y="5818679"/>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diomas</a:t>
            </a:r>
            <a:endParaRPr lang="es-ES" sz="1200" b="0" strike="noStrike" spc="-1">
              <a:latin typeface="Arial"/>
            </a:endParaRPr>
          </a:p>
        </p:txBody>
      </p:sp>
      <p:sp>
        <p:nvSpPr>
          <p:cNvPr id="103" name="CuadroTexto 55_0"/>
          <p:cNvSpPr/>
          <p:nvPr/>
        </p:nvSpPr>
        <p:spPr>
          <a:xfrm>
            <a:off x="9474840" y="6102583"/>
            <a:ext cx="2712240" cy="86177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b="1" strike="noStrike" spc="-1">
                <a:latin typeface="Soho Gothic Pro Light"/>
                <a:ea typeface="Soho Gothic Pro Light"/>
              </a:rPr>
              <a:t>Castellano - </a:t>
            </a:r>
            <a:r>
              <a:rPr lang="es-ES" sz="1000" b="0" strike="noStrike" spc="-1">
                <a:latin typeface="Soho Gothic Pro Light"/>
                <a:ea typeface="Soho Gothic Pro Light"/>
              </a:rPr>
              <a:t>Nativo</a:t>
            </a:r>
          </a:p>
          <a:p>
            <a:pPr>
              <a:lnSpc>
                <a:spcPct val="100000"/>
              </a:lnSpc>
            </a:pPr>
            <a:r>
              <a:rPr lang="ca-ES" sz="1000" b="1" spc="-1" err="1">
                <a:latin typeface="Soho Gothic Pro Light"/>
                <a:ea typeface="Soho Gothic Pro Light"/>
              </a:rPr>
              <a:t>Catalán</a:t>
            </a:r>
            <a:r>
              <a:rPr lang="ca-ES" sz="1000" b="1" spc="-1">
                <a:latin typeface="Soho Gothic Pro Light"/>
                <a:ea typeface="Soho Gothic Pro Light"/>
              </a:rPr>
              <a:t> - </a:t>
            </a:r>
            <a:r>
              <a:rPr lang="ca-ES" sz="1000" spc="-1" err="1">
                <a:latin typeface="Soho Gothic Pro Light"/>
                <a:ea typeface="Soho Gothic Pro Light"/>
              </a:rPr>
              <a:t>Nativo</a:t>
            </a:r>
            <a:r>
              <a:rPr lang="ca-ES">
                <a:solidFill>
                  <a:srgbClr val="FF0000"/>
                </a:solidFill>
              </a:rPr>
              <a:t/>
            </a:r>
            <a:br>
              <a:rPr lang="ca-ES">
                <a:solidFill>
                  <a:srgbClr val="FF0000"/>
                </a:solidFill>
              </a:rPr>
            </a:br>
            <a:r>
              <a:rPr lang="es-ES" sz="1000" b="1" strike="noStrike" spc="-1">
                <a:solidFill>
                  <a:srgbClr val="FF0000"/>
                </a:solidFill>
                <a:latin typeface="Soho Gothic Pro Light"/>
                <a:ea typeface="Soho Gothic Pro Light"/>
              </a:rPr>
              <a:t>Ingles - </a:t>
            </a:r>
            <a:r>
              <a:rPr lang="es-ES" sz="1000" b="0" strike="noStrike" spc="-1">
                <a:solidFill>
                  <a:srgbClr val="FF0000"/>
                </a:solidFill>
                <a:latin typeface="Soho Gothic Pro Light"/>
                <a:ea typeface="Soho Gothic Pro Light"/>
              </a:rPr>
              <a:t>C1</a:t>
            </a:r>
            <a:endParaRPr lang="es-ES" sz="1000" b="0" strike="noStrike" spc="-1">
              <a:solidFill>
                <a:srgbClr val="FF0000"/>
              </a:solidFill>
              <a:latin typeface="Arial"/>
            </a:endParaRPr>
          </a:p>
          <a:p>
            <a:pPr>
              <a:lnSpc>
                <a:spcPct val="100000"/>
              </a:lnSpc>
            </a:pPr>
            <a:endParaRPr lang="es-ES" sz="1000" b="0" strike="noStrike" spc="-1">
              <a:solidFill>
                <a:srgbClr val="FF0000"/>
              </a:solidFill>
              <a:latin typeface="Arial"/>
            </a:endParaRPr>
          </a:p>
          <a:p>
            <a:pPr>
              <a:lnSpc>
                <a:spcPct val="100000"/>
              </a:lnSpc>
            </a:pPr>
            <a:endParaRPr lang="es-ES" sz="1000" b="0" strike="noStrike" spc="-1">
              <a:solidFill>
                <a:srgbClr val="FF0000"/>
              </a:solidFill>
              <a:latin typeface="Arial"/>
            </a:endParaRPr>
          </a:p>
        </p:txBody>
      </p:sp>
      <p:sp>
        <p:nvSpPr>
          <p:cNvPr id="105" name="CuadroTexto 40_0"/>
          <p:cNvSpPr/>
          <p:nvPr/>
        </p:nvSpPr>
        <p:spPr>
          <a:xfrm>
            <a:off x="3451680" y="110520"/>
            <a:ext cx="2692800" cy="461665"/>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400" spc="-1">
                <a:solidFill>
                  <a:schemeClr val="bg1"/>
                </a:solidFill>
                <a:latin typeface="Soho Gothic Pro Medium"/>
              </a:rPr>
              <a:t>Arquitecto</a:t>
            </a:r>
            <a:endParaRPr lang="es-ES" sz="2400" b="0" strike="noStrike" spc="-1">
              <a:solidFill>
                <a:schemeClr val="bg1"/>
              </a:solidFill>
              <a:latin typeface="Arial"/>
            </a:endParaRPr>
          </a:p>
        </p:txBody>
      </p:sp>
      <p:sp>
        <p:nvSpPr>
          <p:cNvPr id="106" name="CuadroTexto 30_0"/>
          <p:cNvSpPr/>
          <p:nvPr/>
        </p:nvSpPr>
        <p:spPr>
          <a:xfrm>
            <a:off x="87120" y="152640"/>
            <a:ext cx="2731320" cy="70164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G.V.M.</a:t>
            </a:r>
            <a:endParaRPr lang="es-ES" sz="2000" b="0" strike="noStrike" spc="-1">
              <a:solidFill>
                <a:schemeClr val="bg1"/>
              </a:solidFill>
              <a:latin typeface="Arial"/>
            </a:endParaRPr>
          </a:p>
          <a:p>
            <a:pPr>
              <a:lnSpc>
                <a:spcPct val="100000"/>
              </a:lnSpc>
            </a:pPr>
            <a:endParaRPr lang="es-ES" sz="2000" b="0" strike="noStrike" spc="-1">
              <a:solidFill>
                <a:schemeClr val="bg1"/>
              </a:solidFill>
              <a:latin typeface="Arial"/>
            </a:endParaRPr>
          </a:p>
        </p:txBody>
      </p:sp>
      <p:sp>
        <p:nvSpPr>
          <p:cNvPr id="109" name="CuadroTexto 37_0"/>
          <p:cNvSpPr/>
          <p:nvPr/>
        </p:nvSpPr>
        <p:spPr>
          <a:xfrm>
            <a:off x="9447480" y="3681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T</a:t>
            </a:r>
            <a:endParaRPr lang="es-ES" sz="1200" b="0" strike="noStrike" spc="-1">
              <a:latin typeface="Arial"/>
            </a:endParaRPr>
          </a:p>
        </p:txBody>
      </p:sp>
      <p:sp>
        <p:nvSpPr>
          <p:cNvPr id="110" name="CuadroTexto 52_0"/>
          <p:cNvSpPr/>
          <p:nvPr/>
        </p:nvSpPr>
        <p:spPr>
          <a:xfrm>
            <a:off x="9437040" y="4009680"/>
            <a:ext cx="2739600" cy="1631216"/>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n-US" sz="1000" b="1" strike="noStrike" spc="-1">
                <a:solidFill>
                  <a:srgbClr val="FF0000"/>
                </a:solidFill>
                <a:latin typeface="Soho Gothic Pro Light"/>
                <a:ea typeface="Soho Gothic Pro Light"/>
              </a:rPr>
              <a:t>Programming languages</a:t>
            </a:r>
            <a:r>
              <a:rPr lang="en-US" sz="1000" b="0" strike="noStrike" spc="-1">
                <a:solidFill>
                  <a:srgbClr val="FF0000"/>
                </a:solidFill>
                <a:latin typeface="Soho Gothic Pro Light"/>
                <a:ea typeface="Soho Gothic Pro Light"/>
              </a:rPr>
              <a:t>: </a:t>
            </a:r>
            <a:r>
              <a:rPr lang="en-US" sz="1000" i="1" spc="-1">
                <a:solidFill>
                  <a:srgbClr val="FF0000"/>
                </a:solidFill>
                <a:ea typeface="Soho Gothic Pro Light"/>
              </a:rPr>
              <a:t>Java: Hibernate, </a:t>
            </a:r>
            <a:r>
              <a:rPr lang="en-US" sz="1000" i="1" spc="-1">
                <a:ea typeface="Soho Gothic Pro Light"/>
              </a:rPr>
              <a:t>Spring Beans, Sprint Web, Spring Security, </a:t>
            </a:r>
            <a:r>
              <a:rPr lang="en-US" sz="1000" i="1" spc="-1">
                <a:solidFill>
                  <a:srgbClr val="FF0000"/>
                </a:solidFill>
                <a:ea typeface="Soho Gothic Pro Light"/>
              </a:rPr>
              <a:t>Struts, Spring Boot, Angular, JSP, JSF, Maven, EJB ; </a:t>
            </a:r>
            <a:r>
              <a:rPr lang="es-ES" sz="1000" err="1">
                <a:solidFill>
                  <a:srgbClr val="FF0000"/>
                </a:solidFill>
              </a:rPr>
              <a:t>Jboss</a:t>
            </a:r>
            <a:r>
              <a:rPr lang="es-ES" sz="1000">
                <a:solidFill>
                  <a:srgbClr val="FF0000"/>
                </a:solidFill>
              </a:rPr>
              <a:t>, Tomcat, </a:t>
            </a:r>
            <a:r>
              <a:rPr lang="es-ES" sz="1000" err="1">
                <a:solidFill>
                  <a:srgbClr val="FF0000"/>
                </a:solidFill>
              </a:rPr>
              <a:t>Websphere</a:t>
            </a:r>
            <a:r>
              <a:rPr lang="es-ES" sz="1000">
                <a:solidFill>
                  <a:srgbClr val="FF0000"/>
                </a:solidFill>
              </a:rPr>
              <a:t>, </a:t>
            </a:r>
            <a:r>
              <a:rPr lang="es-ES" sz="1000" err="1">
                <a:solidFill>
                  <a:srgbClr val="FF0000"/>
                </a:solidFill>
              </a:rPr>
              <a:t>Weblogic</a:t>
            </a:r>
            <a:r>
              <a:rPr lang="es-ES" sz="1000">
                <a:solidFill>
                  <a:srgbClr val="FF0000"/>
                </a:solidFill>
              </a:rPr>
              <a:t>,  </a:t>
            </a:r>
            <a:r>
              <a:rPr lang="es-ES" sz="1000" err="1">
                <a:solidFill>
                  <a:srgbClr val="FF0000"/>
                </a:solidFill>
              </a:rPr>
              <a:t>Jboss</a:t>
            </a:r>
            <a:r>
              <a:rPr lang="es-ES" sz="1000">
                <a:solidFill>
                  <a:srgbClr val="FF0000"/>
                </a:solidFill>
              </a:rPr>
              <a:t> EAP</a:t>
            </a:r>
          </a:p>
          <a:p>
            <a:r>
              <a:rPr lang="en-US" sz="1000" b="1" strike="noStrike" spc="-1">
                <a:latin typeface="Soho Gothic Pro Light"/>
                <a:ea typeface="Soho Gothic Pro Light"/>
              </a:rPr>
              <a:t>Databases</a:t>
            </a:r>
            <a:r>
              <a:rPr lang="en-US" sz="1000" b="0" strike="noStrike" spc="-1">
                <a:latin typeface="Soho Gothic Pro Light"/>
                <a:ea typeface="Soho Gothic Pro Light"/>
              </a:rPr>
              <a:t>: </a:t>
            </a:r>
            <a:r>
              <a:rPr lang="en-US" sz="1000" i="1" spc="-1">
                <a:ea typeface="Soho Gothic Pro Light"/>
              </a:rPr>
              <a:t>PL/SQL </a:t>
            </a:r>
            <a:r>
              <a:rPr lang="en-US" sz="1000" i="1" spc="-1" err="1">
                <a:ea typeface="Soho Gothic Pro Light"/>
              </a:rPr>
              <a:t>sobre</a:t>
            </a:r>
            <a:r>
              <a:rPr lang="en-US" sz="1000" i="1" spc="-1">
                <a:ea typeface="Soho Gothic Pro Light"/>
              </a:rPr>
              <a:t> BDD Oracle, Hadoop; MongoDB, Spark,  Scala</a:t>
            </a:r>
            <a:endParaRPr lang="es-ES" sz="1000" spc="-1">
              <a:latin typeface="Arial"/>
            </a:endParaRPr>
          </a:p>
          <a:p>
            <a:r>
              <a:rPr lang="en-US" sz="1000" b="1" strike="noStrike" spc="-1" err="1">
                <a:solidFill>
                  <a:srgbClr val="FF0000"/>
                </a:solidFill>
                <a:latin typeface="Soho Gothic Pro Light"/>
                <a:ea typeface="Soho Gothic Pro Light"/>
              </a:rPr>
              <a:t>Gestión</a:t>
            </a:r>
            <a:r>
              <a:rPr lang="en-US" sz="1000" b="0" strike="noStrike" spc="-1">
                <a:solidFill>
                  <a:srgbClr val="FF0000"/>
                </a:solidFill>
                <a:latin typeface="Soho Gothic Pro Light"/>
                <a:ea typeface="Soho Gothic Pro Light"/>
              </a:rPr>
              <a:t>: </a:t>
            </a:r>
            <a:r>
              <a:rPr lang="en-US" sz="1000" i="1" spc="-1">
                <a:solidFill>
                  <a:srgbClr val="FF0000"/>
                </a:solidFill>
                <a:ea typeface="Soho Gothic Pro Light"/>
              </a:rPr>
              <a:t>Jira, Remedy, Hudson, Jenkins, Sonar, Git, SVN </a:t>
            </a:r>
          </a:p>
          <a:p>
            <a:r>
              <a:rPr lang="en-US" sz="1000" b="1" strike="noStrike" spc="-1">
                <a:solidFill>
                  <a:srgbClr val="FF0000"/>
                </a:solidFill>
                <a:latin typeface="Soho Gothic Pro Light"/>
                <a:ea typeface="Soho Gothic Pro Light"/>
              </a:rPr>
              <a:t>Atlassian Tools</a:t>
            </a:r>
            <a:r>
              <a:rPr lang="en-US" sz="1000" b="0" strike="noStrike" spc="-1">
                <a:solidFill>
                  <a:srgbClr val="FF0000"/>
                </a:solidFill>
                <a:latin typeface="Soho Gothic Pro Light"/>
                <a:ea typeface="Soho Gothic Pro Light"/>
              </a:rPr>
              <a:t>:</a:t>
            </a:r>
            <a:r>
              <a:rPr lang="en-US" sz="1000" spc="-1">
                <a:solidFill>
                  <a:srgbClr val="FF0000"/>
                </a:solidFill>
                <a:latin typeface="Soho Gothic Pro Light"/>
                <a:ea typeface="Soho Gothic Pro Light"/>
              </a:rPr>
              <a:t>  </a:t>
            </a:r>
            <a:r>
              <a:rPr lang="en-US" sz="1000" b="0" i="1" strike="noStrike" spc="-1">
                <a:solidFill>
                  <a:srgbClr val="FF0000"/>
                </a:solidFill>
                <a:latin typeface="Soho Gothic Pro Light"/>
                <a:ea typeface="Soho Gothic Pro Light"/>
              </a:rPr>
              <a:t> Jira.</a:t>
            </a:r>
          </a:p>
          <a:p>
            <a:pPr>
              <a:lnSpc>
                <a:spcPct val="100000"/>
              </a:lnSpc>
            </a:pPr>
            <a:r>
              <a:rPr lang="en-US" sz="1000" b="1" spc="-1">
                <a:ea typeface="Soho Gothic Pro Light"/>
              </a:rPr>
              <a:t>Agile</a:t>
            </a:r>
            <a:r>
              <a:rPr lang="en-US" sz="1000" spc="-1">
                <a:ea typeface="Soho Gothic Pro Light"/>
              </a:rPr>
              <a:t>:  </a:t>
            </a:r>
            <a:r>
              <a:rPr lang="en-US" sz="1000" i="1" spc="-1">
                <a:ea typeface="Soho Gothic Pro Light"/>
              </a:rPr>
              <a:t> Scrum</a:t>
            </a:r>
          </a:p>
        </p:txBody>
      </p:sp>
      <p:sp>
        <p:nvSpPr>
          <p:cNvPr id="111" name="CuadroTexto 50_0"/>
          <p:cNvSpPr/>
          <p:nvPr/>
        </p:nvSpPr>
        <p:spPr>
          <a:xfrm>
            <a:off x="9536040" y="2767451"/>
            <a:ext cx="2651040" cy="1015663"/>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r>
              <a:rPr lang="es-ES" sz="1000" spc="-1">
                <a:solidFill>
                  <a:srgbClr val="FF0000"/>
                </a:solidFill>
                <a:latin typeface="Soho Gothic Pro Light"/>
              </a:rPr>
              <a:t>2020 | MongoDB </a:t>
            </a:r>
            <a:endParaRPr lang="es-ES" sz="1000" spc="-1">
              <a:solidFill>
                <a:srgbClr val="FF0000"/>
              </a:solidFill>
              <a:latin typeface="Arial"/>
              <a:cs typeface="Arial"/>
            </a:endParaRPr>
          </a:p>
          <a:p>
            <a:r>
              <a:rPr lang="es-ES" sz="1000" b="0" strike="noStrike" spc="-1">
                <a:solidFill>
                  <a:srgbClr val="FF0000"/>
                </a:solidFill>
                <a:latin typeface="Soho Gothic Pro Light"/>
                <a:ea typeface="Soho Gothic Pro Light"/>
              </a:rPr>
              <a:t>2019 | DevOps </a:t>
            </a:r>
            <a:r>
              <a:rPr lang="es-ES" sz="1000" b="0" strike="noStrike" spc="-1" err="1">
                <a:solidFill>
                  <a:srgbClr val="FF0000"/>
                </a:solidFill>
                <a:latin typeface="Soho Gothic Pro Light"/>
                <a:ea typeface="Soho Gothic Pro Light"/>
              </a:rPr>
              <a:t>Fundaments</a:t>
            </a:r>
            <a:r>
              <a:rPr lang="es-ES" sz="1000" b="0" strike="noStrike" spc="-1">
                <a:solidFill>
                  <a:srgbClr val="FF0000"/>
                </a:solidFill>
                <a:latin typeface="Soho Gothic Pro Light"/>
                <a:ea typeface="Soho Gothic Pro Light"/>
              </a:rPr>
              <a:t> (15h)</a:t>
            </a:r>
            <a:endParaRPr lang="es-ES" sz="1000" b="0" strike="noStrike" spc="-1">
              <a:solidFill>
                <a:srgbClr val="FF0000"/>
              </a:solidFill>
              <a:latin typeface="Arial"/>
              <a:cs typeface="Arial"/>
            </a:endParaRPr>
          </a:p>
          <a:p>
            <a:pPr>
              <a:lnSpc>
                <a:spcPct val="100000"/>
              </a:lnSpc>
            </a:pPr>
            <a:r>
              <a:rPr lang="es-ES" sz="1000" b="0" strike="noStrike" spc="-1">
                <a:solidFill>
                  <a:srgbClr val="FF0000"/>
                </a:solidFill>
                <a:latin typeface="Soho Gothic Pro Light"/>
                <a:ea typeface="Soho Gothic Pro Light"/>
              </a:rPr>
              <a:t>2019 | Docker &amp; </a:t>
            </a:r>
            <a:r>
              <a:rPr lang="es-ES" sz="1000" b="0" strike="noStrike" spc="-1" err="1">
                <a:solidFill>
                  <a:srgbClr val="FF0000"/>
                </a:solidFill>
                <a:latin typeface="Soho Gothic Pro Light"/>
                <a:ea typeface="Soho Gothic Pro Light"/>
              </a:rPr>
              <a:t>Kubernetes</a:t>
            </a:r>
            <a:r>
              <a:rPr lang="es-ES" sz="1000" b="0" strike="noStrike" spc="-1">
                <a:solidFill>
                  <a:srgbClr val="FF0000"/>
                </a:solidFill>
                <a:latin typeface="Soho Gothic Pro Light"/>
                <a:ea typeface="Soho Gothic Pro Light"/>
              </a:rPr>
              <a:t> (25h)</a:t>
            </a:r>
            <a:endParaRPr lang="es-ES" sz="1000" b="0" strike="noStrike" spc="-1">
              <a:solidFill>
                <a:srgbClr val="FF0000"/>
              </a:solidFill>
              <a:latin typeface="Arial"/>
            </a:endParaRPr>
          </a:p>
          <a:p>
            <a:pPr>
              <a:lnSpc>
                <a:spcPct val="100000"/>
              </a:lnSpc>
            </a:pPr>
            <a:r>
              <a:rPr lang="es-ES" sz="1000" b="0" strike="noStrike" spc="-1">
                <a:solidFill>
                  <a:srgbClr val="FF0000"/>
                </a:solidFill>
                <a:latin typeface="Soho Gothic Pro Light"/>
                <a:ea typeface="Soho Gothic Pro Light"/>
              </a:rPr>
              <a:t>2018 | </a:t>
            </a:r>
            <a:r>
              <a:rPr lang="es-ES" sz="1000" b="0" strike="noStrike" spc="-1" err="1">
                <a:solidFill>
                  <a:srgbClr val="FF0000"/>
                </a:solidFill>
                <a:latin typeface="Soho Gothic Pro Light"/>
                <a:ea typeface="Soho Gothic Pro Light"/>
              </a:rPr>
              <a:t>Advanced</a:t>
            </a:r>
            <a:r>
              <a:rPr lang="es-ES" sz="1000" b="0" strike="noStrike" spc="-1">
                <a:solidFill>
                  <a:srgbClr val="FF0000"/>
                </a:solidFill>
                <a:latin typeface="Soho Gothic Pro Light"/>
                <a:ea typeface="Soho Gothic Pro Light"/>
              </a:rPr>
              <a:t> Ansible </a:t>
            </a:r>
            <a:r>
              <a:rPr lang="es-ES" sz="1000" b="0" strike="noStrike" spc="-1" err="1">
                <a:solidFill>
                  <a:srgbClr val="FF0000"/>
                </a:solidFill>
                <a:latin typeface="Soho Gothic Pro Light"/>
                <a:ea typeface="Soho Gothic Pro Light"/>
              </a:rPr>
              <a:t>Course</a:t>
            </a:r>
            <a:r>
              <a:rPr lang="es-ES" sz="1000" b="0" strike="noStrike" spc="-1">
                <a:solidFill>
                  <a:srgbClr val="FF0000"/>
                </a:solidFill>
                <a:latin typeface="Soho Gothic Pro Light"/>
                <a:ea typeface="Soho Gothic Pro Light"/>
              </a:rPr>
              <a:t> (30h)</a:t>
            </a:r>
            <a:endParaRPr lang="es-ES" sz="1000" b="0" strike="noStrike" spc="-1">
              <a:solidFill>
                <a:srgbClr val="FF0000"/>
              </a:solidFill>
              <a:latin typeface="Arial"/>
            </a:endParaRPr>
          </a:p>
          <a:p>
            <a:pPr>
              <a:lnSpc>
                <a:spcPct val="100000"/>
              </a:lnSpc>
            </a:pPr>
            <a:r>
              <a:rPr lang="es-ES" sz="1000" b="0" strike="noStrike" spc="-1">
                <a:solidFill>
                  <a:srgbClr val="FF0000"/>
                </a:solidFill>
                <a:latin typeface="Soho Gothic Pro Light"/>
                <a:ea typeface="Soho Gothic Pro Light"/>
              </a:rPr>
              <a:t>2018 | </a:t>
            </a:r>
            <a:r>
              <a:rPr lang="es-ES" sz="1000" b="0" strike="noStrike" spc="-1" err="1">
                <a:solidFill>
                  <a:srgbClr val="FF0000"/>
                </a:solidFill>
                <a:latin typeface="Soho Gothic Pro Light"/>
                <a:ea typeface="Soho Gothic Pro Light"/>
              </a:rPr>
              <a:t>Design</a:t>
            </a:r>
            <a:r>
              <a:rPr lang="es-ES" sz="1000" b="0" strike="noStrike" spc="-1">
                <a:solidFill>
                  <a:srgbClr val="FF0000"/>
                </a:solidFill>
                <a:latin typeface="Soho Gothic Pro Light"/>
                <a:ea typeface="Soho Gothic Pro Light"/>
              </a:rPr>
              <a:t> &amp; </a:t>
            </a:r>
            <a:r>
              <a:rPr lang="es-ES" sz="1000" b="0" strike="noStrike" spc="-1" err="1">
                <a:solidFill>
                  <a:srgbClr val="FF0000"/>
                </a:solidFill>
                <a:latin typeface="Soho Gothic Pro Light"/>
                <a:ea typeface="Soho Gothic Pro Light"/>
              </a:rPr>
              <a:t>Architecture</a:t>
            </a:r>
            <a:r>
              <a:rPr lang="es-ES" sz="1000" b="0" strike="noStrike" spc="-1">
                <a:solidFill>
                  <a:srgbClr val="FF0000"/>
                </a:solidFill>
                <a:latin typeface="Soho Gothic Pro Light"/>
                <a:ea typeface="Soho Gothic Pro Light"/>
              </a:rPr>
              <a:t> of </a:t>
            </a:r>
            <a:r>
              <a:rPr lang="es-ES" sz="1000" b="0" strike="noStrike" spc="-1" err="1">
                <a:solidFill>
                  <a:srgbClr val="FF0000"/>
                </a:solidFill>
                <a:latin typeface="Soho Gothic Pro Light"/>
                <a:ea typeface="Soho Gothic Pro Light"/>
              </a:rPr>
              <a:t>Solutions</a:t>
            </a:r>
            <a:r>
              <a:rPr lang="es-ES" sz="1000" b="0" strike="noStrike" spc="-1">
                <a:solidFill>
                  <a:srgbClr val="FF0000"/>
                </a:solidFill>
                <a:latin typeface="Soho Gothic Pro Light"/>
                <a:ea typeface="Soho Gothic Pro Light"/>
              </a:rPr>
              <a:t> </a:t>
            </a:r>
            <a:r>
              <a:rPr lang="es-ES" sz="1000" b="0" strike="noStrike" spc="-1" err="1">
                <a:solidFill>
                  <a:srgbClr val="FF0000"/>
                </a:solidFill>
                <a:latin typeface="Soho Gothic Pro Light"/>
                <a:ea typeface="Soho Gothic Pro Light"/>
              </a:rPr>
              <a:t>with</a:t>
            </a:r>
            <a:r>
              <a:rPr lang="es-ES" sz="1000" b="0" strike="noStrike" spc="-1">
                <a:solidFill>
                  <a:srgbClr val="FF0000"/>
                </a:solidFill>
                <a:latin typeface="Soho Gothic Pro Light"/>
                <a:ea typeface="Soho Gothic Pro Light"/>
              </a:rPr>
              <a:t> Hadoop, </a:t>
            </a:r>
            <a:r>
              <a:rPr lang="es-ES" sz="1000" b="0" strike="noStrike" spc="-1" err="1">
                <a:solidFill>
                  <a:srgbClr val="FF0000"/>
                </a:solidFill>
                <a:latin typeface="Soho Gothic Pro Light"/>
                <a:ea typeface="Soho Gothic Pro Light"/>
              </a:rPr>
              <a:t>Spark</a:t>
            </a:r>
            <a:r>
              <a:rPr lang="es-ES" sz="1000" b="0" strike="noStrike" spc="-1">
                <a:solidFill>
                  <a:srgbClr val="FF0000"/>
                </a:solidFill>
                <a:latin typeface="Soho Gothic Pro Light"/>
                <a:ea typeface="Soho Gothic Pro Light"/>
              </a:rPr>
              <a:t> and R</a:t>
            </a:r>
            <a:endParaRPr lang="es-ES" sz="1000" b="0" strike="noStrike" spc="-1">
              <a:solidFill>
                <a:srgbClr val="FF0000"/>
              </a:solidFill>
              <a:latin typeface="Arial"/>
            </a:endParaRPr>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Educación</a:t>
            </a:r>
            <a:endParaRPr lang="es-ES" sz="1200" b="0" strike="noStrike" spc="-1">
              <a:latin typeface="Arial"/>
            </a:endParaRPr>
          </a:p>
        </p:txBody>
      </p:sp>
      <p:sp>
        <p:nvSpPr>
          <p:cNvPr id="113" name="CuadroTexto 70_0"/>
          <p:cNvSpPr/>
          <p:nvPr/>
        </p:nvSpPr>
        <p:spPr>
          <a:xfrm>
            <a:off x="9827280" y="441123"/>
            <a:ext cx="2349360" cy="2092881"/>
          </a:xfrm>
          <a:prstGeom prst="rect">
            <a:avLst/>
          </a:prstGeom>
          <a:noFill/>
          <a:ln w="0">
            <a:noFill/>
          </a:ln>
        </p:spPr>
        <p:style>
          <a:lnRef idx="0">
            <a:scrgbClr r="0" g="0" b="0"/>
          </a:lnRef>
          <a:fillRef idx="0">
            <a:scrgbClr r="0" g="0" b="0"/>
          </a:fillRef>
          <a:effectRef idx="0">
            <a:scrgbClr r="0" g="0" b="0"/>
          </a:effectRef>
          <a:fontRef idx="minor"/>
        </p:style>
        <p:txBody>
          <a:bodyPr wrap="square" lIns="91440" tIns="45720" rIns="91440" bIns="45720" anchor="t">
            <a:spAutoFit/>
          </a:bodyPr>
          <a:lstStyle/>
          <a:p>
            <a:pPr>
              <a:lnSpc>
                <a:spcPct val="100000"/>
              </a:lnSpc>
            </a:pPr>
            <a:r>
              <a:rPr lang="es-ES" sz="1000" spc="-1">
                <a:ea typeface="Soho Gothic Pro Light"/>
              </a:rPr>
              <a:t>Ingeniero superior en Informática por la </a:t>
            </a:r>
            <a:r>
              <a:rPr lang="es-ES" sz="1000" spc="-1" err="1">
                <a:ea typeface="Soho Gothic Pro Light"/>
              </a:rPr>
              <a:t>Universitat</a:t>
            </a:r>
            <a:r>
              <a:rPr lang="es-ES" sz="1000" spc="-1">
                <a:ea typeface="Soho Gothic Pro Light"/>
              </a:rPr>
              <a:t> </a:t>
            </a:r>
            <a:r>
              <a:rPr lang="es-ES" sz="1000" spc="-1" err="1">
                <a:ea typeface="Soho Gothic Pro Light"/>
              </a:rPr>
              <a:t>Politècnica</a:t>
            </a:r>
            <a:r>
              <a:rPr lang="es-ES" sz="1000" spc="-1">
                <a:ea typeface="Soho Gothic Pro Light"/>
              </a:rPr>
              <a:t> de Catalunya </a:t>
            </a:r>
          </a:p>
          <a:p>
            <a:r>
              <a:rPr lang="es-ES" sz="1000" spc="-1">
                <a:ea typeface="Soho Gothic Pro Light"/>
              </a:rPr>
              <a:t>Postgrado en Nuevas tecnologías por la </a:t>
            </a:r>
            <a:r>
              <a:rPr lang="es-ES" sz="1000" spc="-1" err="1">
                <a:ea typeface="Soho Gothic Pro Light"/>
              </a:rPr>
              <a:t>Fundació</a:t>
            </a:r>
            <a:r>
              <a:rPr lang="es-ES" sz="1000" spc="-1">
                <a:ea typeface="Soho Gothic Pro Light"/>
              </a:rPr>
              <a:t> </a:t>
            </a:r>
            <a:r>
              <a:rPr lang="es-ES" sz="1000" spc="-1" err="1">
                <a:ea typeface="Soho Gothic Pro Light"/>
              </a:rPr>
              <a:t>Politècnica</a:t>
            </a:r>
            <a:r>
              <a:rPr lang="es-ES" sz="1000" spc="-1">
                <a:ea typeface="Soho Gothic Pro Light"/>
              </a:rPr>
              <a:t> de Catalunya – UPC</a:t>
            </a:r>
            <a:endParaRPr lang="es-ES" sz="1000" spc="-1">
              <a:ea typeface="+mn-lt"/>
              <a:cs typeface="+mn-lt"/>
            </a:endParaRPr>
          </a:p>
          <a:p>
            <a:r>
              <a:rPr lang="es-ES" sz="1000" spc="-1">
                <a:ea typeface="Soho Gothic Pro Light"/>
              </a:rPr>
              <a:t>Postgrado en </a:t>
            </a:r>
            <a:r>
              <a:rPr lang="es-ES" sz="1000" spc="-1" err="1">
                <a:ea typeface="Soho Gothic Pro Light"/>
              </a:rPr>
              <a:t>BigData</a:t>
            </a:r>
            <a:r>
              <a:rPr lang="es-ES" sz="1000" spc="-1">
                <a:ea typeface="Soho Gothic Pro Light"/>
              </a:rPr>
              <a:t> por la </a:t>
            </a:r>
            <a:r>
              <a:rPr lang="es-ES" sz="1000" spc="-1" err="1">
                <a:ea typeface="Soho Gothic Pro Light"/>
              </a:rPr>
              <a:t>Fundació</a:t>
            </a:r>
            <a:r>
              <a:rPr lang="es-ES" sz="1000" spc="-1">
                <a:ea typeface="Soho Gothic Pro Light"/>
              </a:rPr>
              <a:t> </a:t>
            </a:r>
            <a:r>
              <a:rPr lang="es-ES" sz="1000" spc="-1" err="1">
                <a:ea typeface="Soho Gothic Pro Light"/>
              </a:rPr>
              <a:t>Politècnica</a:t>
            </a:r>
            <a:r>
              <a:rPr lang="es-ES" sz="1000" spc="-1">
                <a:ea typeface="Soho Gothic Pro Light"/>
              </a:rPr>
              <a:t> de Catalunya – UPC (</a:t>
            </a:r>
            <a:r>
              <a:rPr lang="es-ES" sz="1000" spc="-1" err="1">
                <a:ea typeface="Soho Gothic Pro Light"/>
              </a:rPr>
              <a:t>hadoop</a:t>
            </a:r>
            <a:r>
              <a:rPr lang="es-ES" sz="1000" spc="-1">
                <a:ea typeface="Soho Gothic Pro Light"/>
              </a:rPr>
              <a:t>, </a:t>
            </a:r>
            <a:r>
              <a:rPr lang="es-ES" sz="1000" spc="-1" err="1">
                <a:ea typeface="Soho Gothic Pro Light"/>
              </a:rPr>
              <a:t>scala</a:t>
            </a:r>
            <a:r>
              <a:rPr lang="es-ES" sz="1000" spc="-1">
                <a:ea typeface="Soho Gothic Pro Light"/>
              </a:rPr>
              <a:t>, MongoDB, HDFS)</a:t>
            </a:r>
            <a:endParaRPr lang="es-ES"/>
          </a:p>
          <a:p>
            <a:pPr>
              <a:lnSpc>
                <a:spcPct val="100000"/>
              </a:lnSpc>
            </a:pPr>
            <a:r>
              <a:rPr lang="es-ES" sz="1000" spc="-1">
                <a:ea typeface="Soho Gothic Pro Light"/>
              </a:rPr>
              <a:t>Programador certificado en JAVA y en SQL Oracle</a:t>
            </a:r>
          </a:p>
          <a:p>
            <a:pPr>
              <a:lnSpc>
                <a:spcPct val="100000"/>
              </a:lnSpc>
            </a:pPr>
            <a:r>
              <a:rPr lang="es-ES" sz="1000" spc="-1">
                <a:ea typeface="Soho Gothic Pro Light"/>
              </a:rPr>
              <a:t>Formación en </a:t>
            </a:r>
            <a:r>
              <a:rPr lang="es-ES" sz="1000" spc="-1" err="1">
                <a:ea typeface="Soho Gothic Pro Light"/>
              </a:rPr>
              <a:t>tunning</a:t>
            </a:r>
            <a:r>
              <a:rPr lang="es-ES" sz="1000" spc="-1">
                <a:ea typeface="Soho Gothic Pro Light"/>
              </a:rPr>
              <a:t> de bases da datos </a:t>
            </a:r>
            <a:r>
              <a:rPr lang="es-ES" sz="1000" spc="-1" err="1">
                <a:ea typeface="Soho Gothic Pro Light"/>
              </a:rPr>
              <a:t>SQLServer</a:t>
            </a:r>
            <a:r>
              <a:rPr lang="es-ES" sz="1000" spc="-1">
                <a:ea typeface="Soho Gothic Pro Light"/>
              </a:rPr>
              <a:t> y Oracle</a:t>
            </a:r>
          </a:p>
          <a:p>
            <a:pPr>
              <a:lnSpc>
                <a:spcPct val="100000"/>
              </a:lnSpc>
            </a:pPr>
            <a:endParaRPr lang="es-ES" sz="1000" b="0" strike="noStrike" spc="-1">
              <a:solidFill>
                <a:srgbClr val="FF0000"/>
              </a:solidFill>
              <a:latin typeface="Arial"/>
            </a:endParaRPr>
          </a:p>
        </p:txBody>
      </p:sp>
      <p:sp>
        <p:nvSpPr>
          <p:cNvPr id="114" name="CuadroTexto 73_0"/>
          <p:cNvSpPr/>
          <p:nvPr/>
        </p:nvSpPr>
        <p:spPr>
          <a:xfrm>
            <a:off x="9358762" y="472355"/>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solidFill>
                  <a:srgbClr val="FF0000"/>
                </a:solidFill>
                <a:latin typeface="Soho Gothic Pro Medium"/>
              </a:rPr>
              <a:t>1993</a:t>
            </a:r>
            <a:endParaRPr lang="es-ES" sz="900" b="0" strike="noStrike" spc="-1">
              <a:solidFill>
                <a:srgbClr val="FF0000"/>
              </a:solidFill>
              <a:latin typeface="Arial"/>
            </a:endParaRPr>
          </a:p>
          <a:p>
            <a:pPr>
              <a:lnSpc>
                <a:spcPct val="100000"/>
              </a:lnSpc>
            </a:pPr>
            <a:r>
              <a:rPr lang="es-ES" sz="900" b="0" strike="noStrike" spc="-1">
                <a:solidFill>
                  <a:srgbClr val="FF0000"/>
                </a:solidFill>
                <a:latin typeface="Soho Gothic Pro Medium"/>
              </a:rPr>
              <a:t>—</a:t>
            </a:r>
            <a:endParaRPr lang="es-ES" sz="900" b="0" strike="noStrike" spc="-1">
              <a:solidFill>
                <a:srgbClr val="FF0000"/>
              </a:solidFill>
              <a:latin typeface="Arial"/>
            </a:endParaRPr>
          </a:p>
          <a:p>
            <a:pPr>
              <a:lnSpc>
                <a:spcPct val="100000"/>
              </a:lnSpc>
            </a:pPr>
            <a:r>
              <a:rPr lang="es-ES" sz="900" spc="-1">
                <a:solidFill>
                  <a:srgbClr val="FF0000"/>
                </a:solidFill>
                <a:latin typeface="Soho Gothic Pro Medium"/>
              </a:rPr>
              <a:t>1999</a:t>
            </a:r>
            <a:endParaRPr lang="es-ES" sz="900" b="0" strike="noStrike" spc="-1">
              <a:solidFill>
                <a:srgbClr val="FF0000"/>
              </a:solidFill>
              <a:latin typeface="Soho Gothic Pro Medium"/>
            </a:endParaRPr>
          </a:p>
        </p:txBody>
      </p:sp>
      <p:sp>
        <p:nvSpPr>
          <p:cNvPr id="115" name="CuadroTexto 45_2"/>
          <p:cNvSpPr/>
          <p:nvPr/>
        </p:nvSpPr>
        <p:spPr>
          <a:xfrm>
            <a:off x="651600" y="3632785"/>
            <a:ext cx="3848400" cy="1445096"/>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Software </a:t>
            </a:r>
            <a:r>
              <a:rPr lang="es-ES" sz="1100" spc="-1" err="1">
                <a:ea typeface="Soho Gothic Pro Light"/>
              </a:rPr>
              <a:t>Developer</a:t>
            </a:r>
            <a:r>
              <a:rPr lang="es-ES" sz="1100" spc="-1">
                <a:ea typeface="Soho Gothic Pro Light"/>
              </a:rPr>
              <a:t> / Coordinador</a:t>
            </a:r>
            <a:endParaRPr lang="es-ES" sz="1100"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
              <a:buChar char="•"/>
            </a:pPr>
            <a:r>
              <a:rPr lang="es-ES" sz="1100" spc="-1"/>
              <a:t>Responsable de la implementación del mecanismo de presentación telemática de impuestos de la Diputación Foral de Guipúzcoa</a:t>
            </a:r>
          </a:p>
          <a:p>
            <a:pPr marL="171360" indent="-171000" algn="just">
              <a:lnSpc>
                <a:spcPct val="100000"/>
              </a:lnSpc>
              <a:buClr>
                <a:srgbClr val="1A3B47"/>
              </a:buClr>
              <a:buFont typeface="Arial"/>
              <a:buChar char="•"/>
            </a:pPr>
            <a:r>
              <a:rPr lang="es-ES" sz="1100" spc="-1"/>
              <a:t>Responsable de la entrega al cliente e integración continua</a:t>
            </a:r>
          </a:p>
        </p:txBody>
      </p:sp>
      <p:sp>
        <p:nvSpPr>
          <p:cNvPr id="116" name="CuadroTexto 48_2"/>
          <p:cNvSpPr/>
          <p:nvPr/>
        </p:nvSpPr>
        <p:spPr>
          <a:xfrm>
            <a:off x="240120" y="3533065"/>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4</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5</a:t>
            </a:r>
            <a:endParaRPr lang="es-ES" sz="900" b="1" strike="noStrike" spc="-1">
              <a:latin typeface="Arial"/>
            </a:endParaRPr>
          </a:p>
        </p:txBody>
      </p:sp>
      <p:sp>
        <p:nvSpPr>
          <p:cNvPr id="117" name="CuadroTexto 33_0"/>
          <p:cNvSpPr/>
          <p:nvPr/>
        </p:nvSpPr>
        <p:spPr>
          <a:xfrm>
            <a:off x="9540000" y="2355971"/>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solidFill>
                  <a:srgbClr val="FF0000"/>
                </a:solidFill>
                <a:latin typeface="Soho Gothic Pro Light"/>
              </a:rPr>
              <a:t>Cursos Relevantes</a:t>
            </a:r>
            <a:endParaRPr lang="es-ES" sz="1200" b="0" strike="noStrike" spc="-1">
              <a:solidFill>
                <a:srgbClr val="FF0000"/>
              </a:solidFill>
              <a:latin typeface="Arial"/>
            </a:endParaRPr>
          </a:p>
        </p:txBody>
      </p:sp>
      <p:sp>
        <p:nvSpPr>
          <p:cNvPr id="33" name="CuadroTexto 39_0"/>
          <p:cNvSpPr/>
          <p:nvPr/>
        </p:nvSpPr>
        <p:spPr>
          <a:xfrm>
            <a:off x="240120" y="5277842"/>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2</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4</a:t>
            </a:r>
            <a:endParaRPr lang="es-ES" sz="900" b="1" strike="noStrike" spc="-1">
              <a:latin typeface="Arial"/>
            </a:endParaRPr>
          </a:p>
          <a:p>
            <a:pPr>
              <a:lnSpc>
                <a:spcPct val="100000"/>
              </a:lnSpc>
            </a:pPr>
            <a:endParaRPr lang="es-ES" sz="900" b="0" strike="noStrike" spc="-1">
              <a:latin typeface="Arial"/>
            </a:endParaRPr>
          </a:p>
        </p:txBody>
      </p:sp>
      <p:sp>
        <p:nvSpPr>
          <p:cNvPr id="34" name="CuadroTexto 44_0"/>
          <p:cNvSpPr/>
          <p:nvPr/>
        </p:nvSpPr>
        <p:spPr>
          <a:xfrm>
            <a:off x="715680" y="5311322"/>
            <a:ext cx="3988800" cy="1277273"/>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gn="just">
              <a:lnSpc>
                <a:spcPct val="100000"/>
              </a:lnSpc>
            </a:pPr>
            <a:r>
              <a:rPr lang="es-ES" sz="1100" b="1" strike="noStrike" spc="-1">
                <a:latin typeface="Soho Gothic Pro Light"/>
                <a:ea typeface="Soho Gothic Pro Light"/>
              </a:rPr>
              <a:t>Minsai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0" strike="noStrike" spc="-1">
              <a:latin typeface="Arial"/>
            </a:endParaRPr>
          </a:p>
          <a:p>
            <a:pPr algn="just">
              <a:lnSpc>
                <a:spcPct val="100000"/>
              </a:lnSpc>
            </a:pPr>
            <a:r>
              <a:rPr lang="es-ES" sz="1100" spc="-1">
                <a:ea typeface="Soho Gothic Pro Light"/>
              </a:rPr>
              <a:t>Software </a:t>
            </a:r>
            <a:r>
              <a:rPr lang="es-ES" sz="1100" spc="-1" err="1">
                <a:ea typeface="Soho Gothic Pro Light"/>
              </a:rPr>
              <a:t>Developer</a:t>
            </a:r>
            <a:r>
              <a:rPr lang="es-ES" sz="1100" spc="-1">
                <a:ea typeface="Soho Gothic Pro Light"/>
              </a:rPr>
              <a:t> / Coordinador</a:t>
            </a:r>
            <a:endParaRPr lang="es-ES" sz="1100"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100" spc="-1"/>
              <a:t>Responsable de desarrollo del módulo de ejecutiva del sistema tributario de la Generalitat de Catalunya.</a:t>
            </a:r>
          </a:p>
          <a:p>
            <a:pPr marL="171360" indent="-171000" algn="just">
              <a:lnSpc>
                <a:spcPct val="100000"/>
              </a:lnSpc>
              <a:buClr>
                <a:srgbClr val="1A3B47"/>
              </a:buClr>
              <a:buFont typeface="Arial,Sans-Serif"/>
              <a:buChar char="•"/>
            </a:pPr>
            <a:r>
              <a:rPr lang="es-ES" sz="1100" spc="-1"/>
              <a:t>Procesos de integración mediante SQL y PLSQL</a:t>
            </a:r>
          </a:p>
          <a:p>
            <a:pPr marL="171360" indent="-171000" algn="just">
              <a:lnSpc>
                <a:spcPct val="100000"/>
              </a:lnSpc>
              <a:buClr>
                <a:srgbClr val="1A3B47"/>
              </a:buClr>
              <a:buFont typeface="Arial,Sans-Serif"/>
              <a:buChar char="•"/>
            </a:pPr>
            <a:r>
              <a:rPr lang="es-ES" sz="1100" spc="-1"/>
              <a:t>Integraciones con SAP-PI</a:t>
            </a:r>
          </a:p>
        </p:txBody>
      </p:sp>
      <p:sp>
        <p:nvSpPr>
          <p:cNvPr id="35" name="CuadroTexto 45_2"/>
          <p:cNvSpPr/>
          <p:nvPr/>
        </p:nvSpPr>
        <p:spPr>
          <a:xfrm>
            <a:off x="5312880" y="1845575"/>
            <a:ext cx="3848400" cy="178365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Software </a:t>
            </a:r>
            <a:r>
              <a:rPr lang="es-ES" sz="1100" spc="-1" err="1">
                <a:ea typeface="Soho Gothic Pro Light"/>
              </a:rPr>
              <a:t>Developer</a:t>
            </a:r>
            <a:r>
              <a:rPr lang="es-ES" sz="1100" spc="-1">
                <a:ea typeface="Soho Gothic Pro Light"/>
              </a:rPr>
              <a:t> / Coordinador</a:t>
            </a:r>
            <a:endParaRPr lang="es-ES" sz="1100" spc="-1">
              <a:latin typeface="Arial"/>
            </a:endParaRPr>
          </a:p>
          <a:p>
            <a:pPr algn="just">
              <a:lnSpc>
                <a:spcPct val="100000"/>
              </a:lnSpc>
            </a:pPr>
            <a:endParaRPr lang="es-ES" sz="1100" b="0" strike="noStrike" spc="-1">
              <a:latin typeface="Arial"/>
            </a:endParaRPr>
          </a:p>
          <a:p>
            <a:pPr marL="171450" indent="-171450" algn="just" defTabSz="914377">
              <a:buFont typeface="Arial" panose="020B0604020202020204" pitchFamily="34" charset="0"/>
              <a:buChar char="•"/>
              <a:defRPr b="0" i="0"/>
            </a:pPr>
            <a:r>
              <a:rPr lang="es-ES" sz="1100"/>
              <a:t>Responsable de las integraciones con terceros del software tributario del Ayuntamiento de Madrid (MASTIL)</a:t>
            </a:r>
          </a:p>
          <a:p>
            <a:pPr marL="171450" indent="-171450" algn="just" defTabSz="914377">
              <a:buFont typeface="Arial" panose="020B0604020202020204" pitchFamily="34" charset="0"/>
              <a:buChar char="•"/>
              <a:defRPr b="0" i="0"/>
            </a:pPr>
            <a:r>
              <a:rPr lang="es-ES" sz="1100"/>
              <a:t>Responsable de arquitectura y de la definición de protocolos de calidad y entrega</a:t>
            </a:r>
          </a:p>
          <a:p>
            <a:pPr marL="171450" indent="-171450" algn="just" defTabSz="914377">
              <a:buFont typeface="Arial" panose="020B0604020202020204" pitchFamily="34" charset="0"/>
              <a:buChar char="•"/>
              <a:defRPr b="0" i="0"/>
            </a:pPr>
            <a:r>
              <a:rPr lang="es-ES" sz="1100"/>
              <a:t>Responsable de la arquitectura de la base datos </a:t>
            </a:r>
          </a:p>
          <a:p>
            <a:pPr marL="171450" indent="-171450" algn="just" defTabSz="914377">
              <a:buFont typeface="Arial" panose="020B0604020202020204" pitchFamily="34" charset="0"/>
              <a:buChar char="•"/>
              <a:defRPr b="0" i="0"/>
            </a:pPr>
            <a:r>
              <a:rPr lang="es-ES" sz="1100"/>
              <a:t>Procesos de migración y carga </a:t>
            </a:r>
          </a:p>
        </p:txBody>
      </p:sp>
      <p:sp>
        <p:nvSpPr>
          <p:cNvPr id="36" name="CuadroTexto 48_2"/>
          <p:cNvSpPr/>
          <p:nvPr/>
        </p:nvSpPr>
        <p:spPr>
          <a:xfrm>
            <a:off x="4901400" y="1745855"/>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10</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2</a:t>
            </a:r>
            <a:endParaRPr lang="es-ES" sz="900" b="1" strike="noStrike" spc="-1">
              <a:latin typeface="Arial"/>
            </a:endParaRPr>
          </a:p>
        </p:txBody>
      </p:sp>
      <p:sp>
        <p:nvSpPr>
          <p:cNvPr id="37" name="CuadroTexto 30_0"/>
          <p:cNvSpPr/>
          <p:nvPr/>
        </p:nvSpPr>
        <p:spPr>
          <a:xfrm>
            <a:off x="6231960" y="152640"/>
            <a:ext cx="312624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2000" spc="-1">
                <a:solidFill>
                  <a:schemeClr val="bg1"/>
                </a:solidFill>
                <a:ea typeface="Soho Gothic Pro Light"/>
              </a:rPr>
              <a:t>Guillem </a:t>
            </a:r>
            <a:r>
              <a:rPr lang="es-ES" sz="2000" spc="-1" err="1">
                <a:solidFill>
                  <a:schemeClr val="bg1"/>
                </a:solidFill>
                <a:ea typeface="Soho Gothic Pro Light"/>
              </a:rPr>
              <a:t>Vallès</a:t>
            </a:r>
            <a:r>
              <a:rPr lang="es-ES" sz="2000" spc="-1">
                <a:solidFill>
                  <a:schemeClr val="bg1"/>
                </a:solidFill>
                <a:ea typeface="Soho Gothic Pro Light"/>
              </a:rPr>
              <a:t> Muñío</a:t>
            </a:r>
            <a:endParaRPr lang="es-ES" sz="2000" b="0" strike="noStrike" spc="-1">
              <a:solidFill>
                <a:schemeClr val="bg1"/>
              </a:solidFill>
              <a:latin typeface="Arial"/>
            </a:endParaRPr>
          </a:p>
        </p:txBody>
      </p:sp>
      <p:sp>
        <p:nvSpPr>
          <p:cNvPr id="27" name="CuadroTexto 45_2"/>
          <p:cNvSpPr/>
          <p:nvPr/>
        </p:nvSpPr>
        <p:spPr>
          <a:xfrm>
            <a:off x="5312880" y="3728945"/>
            <a:ext cx="3848400" cy="1275819"/>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Software </a:t>
            </a:r>
            <a:r>
              <a:rPr lang="es-ES" sz="1100" spc="-1" err="1">
                <a:ea typeface="Soho Gothic Pro Light"/>
              </a:rPr>
              <a:t>Developer</a:t>
            </a:r>
            <a:r>
              <a:rPr lang="es-ES" sz="1100" spc="-1">
                <a:ea typeface="Soho Gothic Pro Light"/>
              </a:rPr>
              <a:t> / Coordinador</a:t>
            </a:r>
            <a:endParaRPr lang="es-ES" sz="1100" spc="-1">
              <a:latin typeface="Arial"/>
            </a:endParaRPr>
          </a:p>
          <a:p>
            <a:pPr algn="just">
              <a:lnSpc>
                <a:spcPct val="100000"/>
              </a:lnSpc>
            </a:pPr>
            <a:endParaRPr lang="es-ES" sz="1100" b="0" strike="noStrike" spc="-1">
              <a:latin typeface="Arial"/>
            </a:endParaRPr>
          </a:p>
          <a:p>
            <a:pPr marL="171450" indent="-171450" algn="just" defTabSz="914377">
              <a:buFont typeface="Arial" panose="020B0604020202020204" pitchFamily="34" charset="0"/>
              <a:buChar char="•"/>
              <a:defRPr b="0" i="0"/>
            </a:pPr>
            <a:r>
              <a:rPr lang="es-ES" sz="1100"/>
              <a:t>Responsable de los mecanismos de integración con terceros de Gaudí (software de gestión tributaria de la Generalitat de Catalunya). Construcción del </a:t>
            </a:r>
            <a:r>
              <a:rPr lang="es-ES" sz="1100" err="1"/>
              <a:t>framework</a:t>
            </a:r>
            <a:r>
              <a:rPr lang="es-ES" sz="1100"/>
              <a:t> base para la tramitación telemática de presentaciones</a:t>
            </a:r>
          </a:p>
        </p:txBody>
      </p:sp>
      <p:sp>
        <p:nvSpPr>
          <p:cNvPr id="28" name="CuadroTexto 48_2"/>
          <p:cNvSpPr/>
          <p:nvPr/>
        </p:nvSpPr>
        <p:spPr>
          <a:xfrm>
            <a:off x="4901400" y="3629225"/>
            <a:ext cx="83988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2004</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0</a:t>
            </a:r>
            <a:endParaRPr lang="es-ES" sz="900" b="1" strike="noStrike" spc="-1">
              <a:latin typeface="Arial"/>
            </a:endParaRPr>
          </a:p>
        </p:txBody>
      </p:sp>
      <p:sp>
        <p:nvSpPr>
          <p:cNvPr id="29" name="CuadroTexto 73_0"/>
          <p:cNvSpPr/>
          <p:nvPr/>
        </p:nvSpPr>
        <p:spPr>
          <a:xfrm>
            <a:off x="9358762" y="1176344"/>
            <a:ext cx="551520" cy="503280"/>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solidFill>
                  <a:srgbClr val="FF0000"/>
                </a:solidFill>
                <a:latin typeface="Soho Gothic Pro Medium"/>
              </a:rPr>
              <a:t>2017</a:t>
            </a:r>
            <a:endParaRPr lang="es-ES" sz="900" b="0" strike="noStrike" spc="-1">
              <a:solidFill>
                <a:srgbClr val="FF0000"/>
              </a:solidFill>
              <a:latin typeface="Soho Gothic Pro Medium"/>
            </a:endParaRPr>
          </a:p>
          <a:p>
            <a:pPr>
              <a:lnSpc>
                <a:spcPct val="100000"/>
              </a:lnSpc>
            </a:pPr>
            <a:r>
              <a:rPr lang="es-ES" sz="900" b="0" strike="noStrike" spc="-1">
                <a:solidFill>
                  <a:srgbClr val="FF0000"/>
                </a:solidFill>
                <a:latin typeface="Soho Gothic Pro Medium"/>
              </a:rPr>
              <a:t>—</a:t>
            </a:r>
            <a:endParaRPr lang="es-ES" sz="900" b="0" strike="noStrike" spc="-1">
              <a:solidFill>
                <a:srgbClr val="FF0000"/>
              </a:solidFill>
              <a:latin typeface="Arial"/>
            </a:endParaRPr>
          </a:p>
          <a:p>
            <a:pPr>
              <a:lnSpc>
                <a:spcPct val="100000"/>
              </a:lnSpc>
            </a:pPr>
            <a:r>
              <a:rPr lang="es-ES" sz="900" spc="-1">
                <a:solidFill>
                  <a:srgbClr val="FF0000"/>
                </a:solidFill>
                <a:latin typeface="Soho Gothic Pro Medium"/>
              </a:rPr>
              <a:t>2018</a:t>
            </a:r>
            <a:endParaRPr lang="es-ES" sz="900" b="0" strike="noStrike" spc="-1">
              <a:solidFill>
                <a:srgbClr val="FF0000"/>
              </a:solidFill>
              <a:latin typeface="Arial"/>
            </a:endParaRPr>
          </a:p>
        </p:txBody>
      </p:sp>
      <p:sp>
        <p:nvSpPr>
          <p:cNvPr id="30" name="CuadroTexto 73_0"/>
          <p:cNvSpPr/>
          <p:nvPr/>
        </p:nvSpPr>
        <p:spPr>
          <a:xfrm>
            <a:off x="9358762" y="1740144"/>
            <a:ext cx="551520" cy="507831"/>
          </a:xfrm>
          <a:prstGeom prst="rect">
            <a:avLst/>
          </a:prstGeom>
          <a:noFill/>
          <a:ln w="0">
            <a:noFill/>
          </a:ln>
        </p:spPr>
        <p:style>
          <a:lnRef idx="0">
            <a:scrgbClr r="0" g="0" b="0"/>
          </a:lnRef>
          <a:fillRef idx="0">
            <a:scrgbClr r="0" g="0" b="0"/>
          </a:fillRef>
          <a:effectRef idx="0">
            <a:scrgbClr r="0" g="0" b="0"/>
          </a:effectRef>
          <a:fontRef idx="minor"/>
        </p:style>
        <p:txBody>
          <a:bodyPr lIns="91440" tIns="45720" rIns="91440" bIns="45720" anchor="t">
            <a:spAutoFit/>
          </a:bodyPr>
          <a:lstStyle/>
          <a:p>
            <a:pPr>
              <a:lnSpc>
                <a:spcPct val="100000"/>
              </a:lnSpc>
            </a:pPr>
            <a:r>
              <a:rPr lang="es-ES" sz="900" spc="-1">
                <a:solidFill>
                  <a:srgbClr val="FF0000"/>
                </a:solidFill>
                <a:latin typeface="Soho Gothic Pro Medium"/>
              </a:rPr>
              <a:t>2001</a:t>
            </a:r>
            <a:endParaRPr lang="es-ES" sz="900" b="0" strike="noStrike" spc="-1">
              <a:solidFill>
                <a:srgbClr val="FF0000"/>
              </a:solidFill>
              <a:latin typeface="Arial"/>
            </a:endParaRPr>
          </a:p>
          <a:p>
            <a:pPr>
              <a:lnSpc>
                <a:spcPct val="100000"/>
              </a:lnSpc>
            </a:pPr>
            <a:endParaRPr lang="es-ES" sz="900" b="0" strike="noStrike" spc="-1">
              <a:solidFill>
                <a:srgbClr val="FF0000"/>
              </a:solidFill>
              <a:latin typeface="Soho Gothic Pro Medium"/>
            </a:endParaRPr>
          </a:p>
          <a:p>
            <a:pPr>
              <a:lnSpc>
                <a:spcPct val="100000"/>
              </a:lnSpc>
            </a:pPr>
            <a:r>
              <a:rPr lang="es-ES" sz="900" spc="-1">
                <a:solidFill>
                  <a:srgbClr val="FF0000"/>
                </a:solidFill>
                <a:latin typeface="Soho Gothic Pro Medium"/>
              </a:rPr>
              <a:t>2011</a:t>
            </a:r>
            <a:endParaRPr lang="es-ES" sz="900" b="0" strike="noStrike" spc="-1">
              <a:solidFill>
                <a:srgbClr val="FF0000"/>
              </a:solidFill>
              <a:latin typeface="Arial"/>
            </a:endParaRPr>
          </a:p>
        </p:txBody>
      </p:sp>
    </p:spTree>
    <p:extLst>
      <p:ext uri="{BB962C8B-B14F-4D97-AF65-F5344CB8AC3E}">
        <p14:creationId xmlns:p14="http://schemas.microsoft.com/office/powerpoint/2010/main" val="10431266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CustomShape 2_0"/>
          <p:cNvSpPr/>
          <p:nvPr/>
        </p:nvSpPr>
        <p:spPr>
          <a:xfrm>
            <a:off x="0" y="0"/>
            <a:ext cx="9387720" cy="598320"/>
          </a:xfrm>
          <a:prstGeom prst="rect">
            <a:avLst/>
          </a:prstGeom>
          <a:solidFill>
            <a:schemeClr val="accent4">
              <a:lumMod val="75000"/>
            </a:schemeClr>
          </a:solidFill>
          <a:ln w="69840">
            <a:noFill/>
          </a:ln>
        </p:spPr>
        <p:style>
          <a:lnRef idx="2">
            <a:schemeClr val="accent1">
              <a:shade val="50000"/>
            </a:schemeClr>
          </a:lnRef>
          <a:fillRef idx="1">
            <a:schemeClr val="accent1"/>
          </a:fillRef>
          <a:effectRef idx="0">
            <a:schemeClr val="accent1"/>
          </a:effectRef>
          <a:fontRef idx="minor"/>
        </p:style>
      </p:sp>
      <p:sp>
        <p:nvSpPr>
          <p:cNvPr id="96" name="Rectángulo 38_0"/>
          <p:cNvSpPr/>
          <p:nvPr/>
        </p:nvSpPr>
        <p:spPr>
          <a:xfrm>
            <a:off x="9358200" y="0"/>
            <a:ext cx="2828880" cy="6858000"/>
          </a:xfrm>
          <a:prstGeom prst="rect">
            <a:avLst/>
          </a:prstGeom>
          <a:solidFill>
            <a:schemeClr val="accent5">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p:style>
      </p:sp>
      <p:sp>
        <p:nvSpPr>
          <p:cNvPr id="97" name="CuadroTexto 36_0"/>
          <p:cNvSpPr/>
          <p:nvPr/>
        </p:nvSpPr>
        <p:spPr>
          <a:xfrm>
            <a:off x="87120" y="720720"/>
            <a:ext cx="9258480" cy="461665"/>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r>
              <a:rPr lang="es-ES" sz="1200" spc="-1">
                <a:ea typeface="Soho Gothic Pro Light"/>
              </a:rPr>
              <a:t>Manager BigData con más de 12 años de experiencia, siendo durante 6 años gestor de proyectos de Big Data y con una experiencia previa de otros 3 años liderando equipos Java y SQL.. Anteriormente Diseñador Técnico y </a:t>
            </a:r>
            <a:r>
              <a:rPr lang="es-ES" sz="1200" spc="-1" err="1">
                <a:ea typeface="Soho Gothic Pro Light"/>
              </a:rPr>
              <a:t>developer</a:t>
            </a:r>
            <a:r>
              <a:rPr lang="es-ES" sz="1200" spc="-1">
                <a:ea typeface="Soho Gothic Pro Light"/>
              </a:rPr>
              <a:t> Java.</a:t>
            </a:r>
          </a:p>
        </p:txBody>
      </p:sp>
      <p:sp>
        <p:nvSpPr>
          <p:cNvPr id="98" name="CuadroTexto 39_0"/>
          <p:cNvSpPr/>
          <p:nvPr/>
        </p:nvSpPr>
        <p:spPr>
          <a:xfrm>
            <a:off x="240120" y="1312738"/>
            <a:ext cx="55152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trike="noStrike" spc="-1">
                <a:latin typeface="Soho Gothic Pro Light"/>
                <a:ea typeface="Soho Gothic Pro Light"/>
              </a:rPr>
              <a:t>ACT</a:t>
            </a:r>
            <a:endParaRPr lang="es-ES" sz="900" b="1" strike="noStrike" spc="-1">
              <a:latin typeface="Arial"/>
            </a:endParaRPr>
          </a:p>
          <a:p>
            <a:pPr>
              <a:lnSpc>
                <a:spcPct val="100000"/>
              </a:lnSpc>
            </a:pPr>
            <a:r>
              <a:rPr lang="es-ES" sz="900" b="1" strike="noStrike" spc="-1">
                <a:latin typeface="Soho Gothic Pro Light"/>
                <a:ea typeface="Soho Gothic Pro Light"/>
              </a:rPr>
              <a:t>—</a:t>
            </a:r>
            <a:endParaRPr lang="es-ES" sz="900" b="1" strike="noStrike" spc="-1">
              <a:latin typeface="Arial"/>
            </a:endParaRPr>
          </a:p>
          <a:p>
            <a:pPr>
              <a:lnSpc>
                <a:spcPct val="100000"/>
              </a:lnSpc>
            </a:pPr>
            <a:r>
              <a:rPr lang="es-ES" sz="900" b="1" strike="noStrike" spc="-1">
                <a:latin typeface="Soho Gothic Pro Light"/>
                <a:ea typeface="Soho Gothic Pro Light"/>
              </a:rPr>
              <a:t>2019</a:t>
            </a:r>
            <a:endParaRPr lang="es-ES" sz="900" b="1" strike="noStrike" spc="-1">
              <a:latin typeface="Arial"/>
            </a:endParaRPr>
          </a:p>
          <a:p>
            <a:pPr>
              <a:lnSpc>
                <a:spcPct val="100000"/>
              </a:lnSpc>
            </a:pPr>
            <a:endParaRPr lang="es-ES" sz="900" b="0" strike="noStrike" spc="-1">
              <a:latin typeface="Arial"/>
            </a:endParaRPr>
          </a:p>
        </p:txBody>
      </p:sp>
      <p:sp>
        <p:nvSpPr>
          <p:cNvPr id="99" name="CuadroTexto 44_0"/>
          <p:cNvSpPr/>
          <p:nvPr/>
        </p:nvSpPr>
        <p:spPr>
          <a:xfrm>
            <a:off x="685800" y="1346218"/>
            <a:ext cx="4215600" cy="1954381"/>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gn="just">
              <a:lnSpc>
                <a:spcPct val="100000"/>
              </a:lnSpc>
            </a:pPr>
            <a:r>
              <a:rPr lang="es-ES" sz="1100" b="1" strike="noStrike" spc="-1">
                <a:latin typeface="Soho Gothic Pro Light"/>
                <a:ea typeface="Soho Gothic Pro Light"/>
              </a:rPr>
              <a:t>Minsait </a:t>
            </a:r>
            <a:r>
              <a:rPr lang="es-ES" sz="1100" b="1" strike="noStrike" spc="-1" err="1">
                <a:latin typeface="Soho Gothic Pro Light"/>
                <a:ea typeface="Soho Gothic Pro Light"/>
              </a:rPr>
              <a:t>by</a:t>
            </a:r>
            <a:r>
              <a:rPr lang="es-ES" sz="1100" b="1" strike="noStrike" spc="-1">
                <a:latin typeface="Soho Gothic Pro Light"/>
                <a:ea typeface="Soho Gothic Pro Light"/>
              </a:rPr>
              <a:t> Indra (Barcelona, España)</a:t>
            </a:r>
            <a:endParaRPr lang="es-ES" sz="1100" b="0" strike="noStrike" spc="-1">
              <a:latin typeface="Arial"/>
            </a:endParaRPr>
          </a:p>
          <a:p>
            <a:pPr algn="just">
              <a:lnSpc>
                <a:spcPct val="100000"/>
              </a:lnSpc>
            </a:pPr>
            <a:r>
              <a:rPr lang="es-ES" sz="1100" spc="-1">
                <a:latin typeface="Soho Gothic Pro Light"/>
                <a:ea typeface="Soho Gothic Pro Light"/>
              </a:rPr>
              <a:t>Gestión proyectos BigData (3-5 personas) </a:t>
            </a:r>
            <a:r>
              <a:rPr lang="es-ES" sz="1100" spc="-1" err="1">
                <a:latin typeface="Soho Gothic Pro Light"/>
                <a:ea typeface="Soho Gothic Pro Light"/>
              </a:rPr>
              <a:t>Enel</a:t>
            </a:r>
            <a:endParaRPr lang="es-ES" sz="1100" b="0" strike="noStrike" spc="-1">
              <a:latin typeface="Arial"/>
            </a:endParaRPr>
          </a:p>
          <a:p>
            <a:pPr algn="just">
              <a:lnSpc>
                <a:spcPct val="100000"/>
              </a:lnSpc>
            </a:pPr>
            <a:endParaRPr lang="es-ES" sz="1100" b="0" strike="noStrike" spc="-1">
              <a:latin typeface="Arial"/>
            </a:endParaRPr>
          </a:p>
          <a:p>
            <a:pPr marL="171360" indent="-171000" algn="just">
              <a:lnSpc>
                <a:spcPct val="100000"/>
              </a:lnSpc>
              <a:buClr>
                <a:srgbClr val="1A3B47"/>
              </a:buClr>
              <a:buFont typeface="Arial,Sans-Serif"/>
              <a:buChar char="•"/>
            </a:pPr>
            <a:r>
              <a:rPr lang="es-ES" sz="1100" spc="-1" err="1"/>
              <a:t>Gestion</a:t>
            </a:r>
            <a:r>
              <a:rPr lang="es-ES" sz="1100" spc="-1"/>
              <a:t> de proyectos de analítica avanzada sobre Cloud (AWS y C3) cuya finalidad es detectar los fallos en el tendido eléctrico por sobrecargas, problemas meteorológicos, y otras casuísticas. En el equipo de arquitectura hacemos </a:t>
            </a:r>
            <a:r>
              <a:rPr lang="es-ES" sz="1100" spc="-1" err="1"/>
              <a:t>ETLs</a:t>
            </a:r>
            <a:r>
              <a:rPr lang="es-ES" sz="1100" spc="-1"/>
              <a:t>, </a:t>
            </a:r>
            <a:r>
              <a:rPr lang="es-ES" sz="1100" spc="-1" err="1"/>
              <a:t>apificación</a:t>
            </a:r>
            <a:r>
              <a:rPr lang="es-ES" sz="1100" spc="-1"/>
              <a:t> de algoritmos, </a:t>
            </a:r>
            <a:r>
              <a:rPr lang="es-ES" sz="1100" spc="-1" err="1"/>
              <a:t>producionalizacion</a:t>
            </a:r>
            <a:r>
              <a:rPr lang="es-ES" sz="1100" spc="-1"/>
              <a:t> y optimización de códigos, </a:t>
            </a:r>
            <a:r>
              <a:rPr lang="es-ES" sz="1100" spc="-1" err="1"/>
              <a:t>asi</a:t>
            </a:r>
            <a:r>
              <a:rPr lang="es-ES" sz="1100" spc="-1"/>
              <a:t> como levantamiento y gestión de las maquinas integraciones y el software que componen la solución. Tecnológicamente el entorno es AWS, R, Python, y C3.</a:t>
            </a:r>
          </a:p>
        </p:txBody>
      </p:sp>
      <p:sp>
        <p:nvSpPr>
          <p:cNvPr id="102" name="CuadroTexto 54_0"/>
          <p:cNvSpPr/>
          <p:nvPr/>
        </p:nvSpPr>
        <p:spPr>
          <a:xfrm>
            <a:off x="9438480" y="5591633"/>
            <a:ext cx="160884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diomas</a:t>
            </a:r>
            <a:endParaRPr lang="es-ES" sz="1200" b="0" strike="noStrike" spc="-1">
              <a:latin typeface="Arial"/>
            </a:endParaRPr>
          </a:p>
        </p:txBody>
      </p:sp>
      <p:sp>
        <p:nvSpPr>
          <p:cNvPr id="103" name="CuadroTexto 55_0"/>
          <p:cNvSpPr/>
          <p:nvPr/>
        </p:nvSpPr>
        <p:spPr>
          <a:xfrm>
            <a:off x="9474840" y="5875537"/>
            <a:ext cx="2712240" cy="707886"/>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b="1" strike="noStrike" spc="-1">
                <a:latin typeface="Soho Gothic Pro Light"/>
                <a:ea typeface="Soho Gothic Pro Light"/>
              </a:rPr>
              <a:t>Castellano - </a:t>
            </a:r>
            <a:r>
              <a:rPr lang="es-ES" sz="1000" b="0" strike="noStrike" spc="-1">
                <a:latin typeface="Soho Gothic Pro Light"/>
                <a:ea typeface="Soho Gothic Pro Light"/>
              </a:rPr>
              <a:t>Nativo</a:t>
            </a:r>
          </a:p>
          <a:p>
            <a:pPr>
              <a:lnSpc>
                <a:spcPct val="100000"/>
              </a:lnSpc>
            </a:pPr>
            <a:r>
              <a:rPr lang="es-ES" sz="1000" b="1" strike="noStrike" spc="-1">
                <a:latin typeface="Soho Gothic Pro Light"/>
                <a:ea typeface="Soho Gothic Pro Light"/>
              </a:rPr>
              <a:t>Ingles - </a:t>
            </a:r>
            <a:r>
              <a:rPr lang="es-ES" sz="1000" spc="-1">
                <a:ea typeface="Soho Gothic Pro Light"/>
              </a:rPr>
              <a:t>C1 </a:t>
            </a:r>
            <a:r>
              <a:rPr lang="es-ES" sz="1000" spc="-1" err="1">
                <a:ea typeface="Soho Gothic Pro Light"/>
              </a:rPr>
              <a:t>Toefl</a:t>
            </a:r>
            <a:endParaRPr lang="es-ES" sz="1000" b="0" strike="noStrike" spc="-1">
              <a:latin typeface="Arial"/>
            </a:endParaRPr>
          </a:p>
          <a:p>
            <a:pPr>
              <a:lnSpc>
                <a:spcPct val="100000"/>
              </a:lnSpc>
            </a:pPr>
            <a:endParaRPr lang="es-ES" sz="1000" b="0" strike="noStrike" spc="-1">
              <a:latin typeface="Arial"/>
            </a:endParaRPr>
          </a:p>
          <a:p>
            <a:pPr>
              <a:lnSpc>
                <a:spcPct val="100000"/>
              </a:lnSpc>
            </a:pPr>
            <a:endParaRPr lang="es-ES" sz="1000" b="0" strike="noStrike" spc="-1">
              <a:latin typeface="Arial"/>
            </a:endParaRPr>
          </a:p>
        </p:txBody>
      </p:sp>
      <p:sp>
        <p:nvSpPr>
          <p:cNvPr id="105" name="CuadroTexto 40_0"/>
          <p:cNvSpPr/>
          <p:nvPr/>
        </p:nvSpPr>
        <p:spPr>
          <a:xfrm>
            <a:off x="3287520" y="110520"/>
            <a:ext cx="2856960" cy="461665"/>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2400" spc="-1">
                <a:solidFill>
                  <a:schemeClr val="bg1"/>
                </a:solidFill>
                <a:latin typeface="Soho Gothic Pro Medium"/>
              </a:rPr>
              <a:t>Manager BigData</a:t>
            </a:r>
            <a:endParaRPr lang="es-ES" sz="2400" b="0" strike="noStrike" spc="-1">
              <a:solidFill>
                <a:schemeClr val="bg1"/>
              </a:solidFill>
              <a:latin typeface="Arial"/>
            </a:endParaRPr>
          </a:p>
        </p:txBody>
      </p:sp>
      <p:sp>
        <p:nvSpPr>
          <p:cNvPr id="106" name="CuadroTexto 30_0"/>
          <p:cNvSpPr/>
          <p:nvPr/>
        </p:nvSpPr>
        <p:spPr>
          <a:xfrm>
            <a:off x="87120" y="152640"/>
            <a:ext cx="2731320" cy="40011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2000" spc="-1">
                <a:solidFill>
                  <a:schemeClr val="bg1"/>
                </a:solidFill>
                <a:latin typeface="Soho Gothic Pro Light"/>
                <a:ea typeface="Soho Gothic Pro Light"/>
              </a:rPr>
              <a:t>D.B.G.</a:t>
            </a:r>
            <a:endParaRPr lang="es-ES" sz="2000" b="0" strike="noStrike" spc="-1">
              <a:solidFill>
                <a:schemeClr val="bg1"/>
              </a:solidFill>
              <a:latin typeface="Arial"/>
            </a:endParaRPr>
          </a:p>
        </p:txBody>
      </p:sp>
      <p:sp>
        <p:nvSpPr>
          <p:cNvPr id="109" name="CuadroTexto 37_0"/>
          <p:cNvSpPr/>
          <p:nvPr/>
        </p:nvSpPr>
        <p:spPr>
          <a:xfrm>
            <a:off x="9447480" y="36810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IT</a:t>
            </a:r>
            <a:endParaRPr lang="es-ES" sz="1200" b="0" strike="noStrike" spc="-1">
              <a:latin typeface="Arial"/>
            </a:endParaRPr>
          </a:p>
        </p:txBody>
      </p:sp>
      <p:sp>
        <p:nvSpPr>
          <p:cNvPr id="110" name="CuadroTexto 52_0"/>
          <p:cNvSpPr/>
          <p:nvPr/>
        </p:nvSpPr>
        <p:spPr>
          <a:xfrm>
            <a:off x="9437040" y="4009680"/>
            <a:ext cx="2739600" cy="1323439"/>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r>
              <a:rPr lang="en-US" sz="1000" b="1" strike="noStrike" spc="-1">
                <a:latin typeface="Soho Gothic Pro Light"/>
                <a:ea typeface="Soho Gothic Pro Light"/>
              </a:rPr>
              <a:t>Programming languages</a:t>
            </a:r>
            <a:r>
              <a:rPr lang="en-US" sz="1000" b="0" strike="noStrike" spc="-1">
                <a:latin typeface="Soho Gothic Pro Light"/>
                <a:ea typeface="Soho Gothic Pro Light"/>
              </a:rPr>
              <a:t>: </a:t>
            </a:r>
            <a:r>
              <a:rPr lang="en-US" sz="1000" i="1" spc="-1">
                <a:ea typeface="Soho Gothic Pro Light"/>
              </a:rPr>
              <a:t>Java, Scala</a:t>
            </a:r>
          </a:p>
          <a:p>
            <a:r>
              <a:rPr lang="en-US" sz="1000" b="1" strike="noStrike" spc="-1">
                <a:latin typeface="Soho Gothic Pro Light"/>
                <a:ea typeface="Soho Gothic Pro Light"/>
              </a:rPr>
              <a:t>Databases</a:t>
            </a:r>
            <a:r>
              <a:rPr lang="en-US" sz="1000" b="0" strike="noStrike" spc="-1">
                <a:latin typeface="Soho Gothic Pro Light"/>
                <a:ea typeface="Soho Gothic Pro Light"/>
              </a:rPr>
              <a:t>: </a:t>
            </a:r>
            <a:r>
              <a:rPr lang="en-US" sz="1000" i="1" spc="-1">
                <a:ea typeface="Soho Gothic Pro Light"/>
              </a:rPr>
              <a:t>NoSQL: MongoDB, </a:t>
            </a:r>
            <a:r>
              <a:rPr lang="en-US" sz="1000" i="1" spc="-1" err="1">
                <a:ea typeface="Soho Gothic Pro Light"/>
              </a:rPr>
              <a:t>Hbase</a:t>
            </a:r>
            <a:r>
              <a:rPr lang="en-US" sz="1000" i="1" spc="-1">
                <a:ea typeface="Soho Gothic Pro Light"/>
              </a:rPr>
              <a:t>, ELK, Neo4J, Hive, Kudu</a:t>
            </a:r>
          </a:p>
          <a:p>
            <a:r>
              <a:rPr lang="en-US" sz="1000" b="1" spc="-1" err="1">
                <a:ea typeface="Soho Gothic Pro Light"/>
              </a:rPr>
              <a:t>Ecosistema</a:t>
            </a:r>
            <a:r>
              <a:rPr lang="en-US" sz="1000" b="1" spc="-1">
                <a:ea typeface="Soho Gothic Pro Light"/>
              </a:rPr>
              <a:t> Hadoop: </a:t>
            </a:r>
            <a:r>
              <a:rPr lang="en-US" sz="1000" i="1" spc="-1">
                <a:ea typeface="Soho Gothic Pro Light"/>
              </a:rPr>
              <a:t>Hive, Kafka, Spark, Hue</a:t>
            </a:r>
          </a:p>
          <a:p>
            <a:r>
              <a:rPr lang="en-US" sz="1000" b="1" spc="-1" err="1">
                <a:ea typeface="Soho Gothic Pro Light"/>
              </a:rPr>
              <a:t>Soluciones</a:t>
            </a:r>
            <a:r>
              <a:rPr lang="en-US" sz="1000" b="1" spc="-1">
                <a:ea typeface="Soho Gothic Pro Light"/>
              </a:rPr>
              <a:t> Big Data:</a:t>
            </a:r>
            <a:r>
              <a:rPr lang="en-US" sz="1000" i="1" spc="-1">
                <a:ea typeface="Soho Gothic Pro Light"/>
              </a:rPr>
              <a:t> Cloudera, Hortonworks</a:t>
            </a:r>
          </a:p>
          <a:p>
            <a:r>
              <a:rPr lang="en-US" sz="1000" b="1" spc="-1">
                <a:ea typeface="Soho Gothic Pro Light"/>
              </a:rPr>
              <a:t>Cloud:</a:t>
            </a:r>
            <a:r>
              <a:rPr lang="en-US" sz="1000" i="1" spc="-1">
                <a:ea typeface="Soho Gothic Pro Light"/>
              </a:rPr>
              <a:t> AWS, Azure</a:t>
            </a:r>
          </a:p>
          <a:p>
            <a:r>
              <a:rPr lang="en-US" sz="1000" b="1" spc="-1">
                <a:ea typeface="Soho Gothic Pro Light"/>
              </a:rPr>
              <a:t>Data Analytics:</a:t>
            </a:r>
            <a:r>
              <a:rPr lang="en-US" sz="1000" i="1" spc="-1">
                <a:ea typeface="Soho Gothic Pro Light"/>
              </a:rPr>
              <a:t> R python</a:t>
            </a:r>
          </a:p>
          <a:p>
            <a:r>
              <a:rPr lang="en-US" sz="1000" b="1" spc="-1" err="1">
                <a:ea typeface="Soho Gothic Pro Light"/>
              </a:rPr>
              <a:t>Gestión</a:t>
            </a:r>
            <a:r>
              <a:rPr lang="en-US" sz="1000" i="1" spc="-1">
                <a:ea typeface="Soho Gothic Pro Light"/>
              </a:rPr>
              <a:t>: JIRA, </a:t>
            </a:r>
            <a:r>
              <a:rPr lang="en-US" sz="1000" i="1" spc="-1" err="1">
                <a:ea typeface="Soho Gothic Pro Light"/>
              </a:rPr>
              <a:t>Redmine</a:t>
            </a:r>
            <a:r>
              <a:rPr lang="en-US" sz="1000" i="1" spc="-1">
                <a:ea typeface="Soho Gothic Pro Light"/>
              </a:rPr>
              <a:t>, Trello Clarity, Remedy</a:t>
            </a:r>
          </a:p>
        </p:txBody>
      </p:sp>
      <p:sp>
        <p:nvSpPr>
          <p:cNvPr id="111" name="CuadroTexto 50_0"/>
          <p:cNvSpPr/>
          <p:nvPr/>
        </p:nvSpPr>
        <p:spPr>
          <a:xfrm>
            <a:off x="9536040" y="2767451"/>
            <a:ext cx="2651040" cy="861774"/>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b="0" strike="noStrike" spc="-1">
                <a:solidFill>
                  <a:srgbClr val="FF0000"/>
                </a:solidFill>
                <a:latin typeface="Soho Gothic Pro Light"/>
                <a:ea typeface="Soho Gothic Pro Light"/>
              </a:rPr>
              <a:t>2019 | </a:t>
            </a:r>
            <a:r>
              <a:rPr lang="es-ES" sz="1000" b="0" strike="noStrike" spc="-1" err="1">
                <a:solidFill>
                  <a:srgbClr val="FF0000"/>
                </a:solidFill>
                <a:latin typeface="Soho Gothic Pro Light"/>
                <a:ea typeface="Soho Gothic Pro Light"/>
              </a:rPr>
              <a:t>DevOps</a:t>
            </a:r>
            <a:r>
              <a:rPr lang="es-ES" sz="1000" b="0" strike="noStrike" spc="-1">
                <a:solidFill>
                  <a:srgbClr val="FF0000"/>
                </a:solidFill>
                <a:latin typeface="Soho Gothic Pro Light"/>
                <a:ea typeface="Soho Gothic Pro Light"/>
              </a:rPr>
              <a:t> </a:t>
            </a:r>
            <a:r>
              <a:rPr lang="es-ES" sz="1000" b="0" strike="noStrike" spc="-1" err="1">
                <a:solidFill>
                  <a:srgbClr val="FF0000"/>
                </a:solidFill>
                <a:latin typeface="Soho Gothic Pro Light"/>
                <a:ea typeface="Soho Gothic Pro Light"/>
              </a:rPr>
              <a:t>Fundaments</a:t>
            </a:r>
            <a:r>
              <a:rPr lang="es-ES" sz="1000" b="0" strike="noStrike" spc="-1">
                <a:solidFill>
                  <a:srgbClr val="FF0000"/>
                </a:solidFill>
                <a:latin typeface="Soho Gothic Pro Light"/>
                <a:ea typeface="Soho Gothic Pro Light"/>
              </a:rPr>
              <a:t> (15h)</a:t>
            </a:r>
            <a:endParaRPr lang="es-ES" sz="1000" b="0" strike="noStrike" spc="-1">
              <a:solidFill>
                <a:srgbClr val="FF0000"/>
              </a:solidFill>
              <a:latin typeface="Arial"/>
            </a:endParaRPr>
          </a:p>
          <a:p>
            <a:pPr>
              <a:lnSpc>
                <a:spcPct val="100000"/>
              </a:lnSpc>
            </a:pPr>
            <a:r>
              <a:rPr lang="es-ES" sz="1000" b="0" strike="noStrike" spc="-1">
                <a:solidFill>
                  <a:srgbClr val="FF0000"/>
                </a:solidFill>
                <a:latin typeface="Soho Gothic Pro Light"/>
                <a:ea typeface="Soho Gothic Pro Light"/>
              </a:rPr>
              <a:t>2019 | </a:t>
            </a:r>
            <a:r>
              <a:rPr lang="es-ES" sz="1000" b="0" strike="noStrike" spc="-1" err="1">
                <a:solidFill>
                  <a:srgbClr val="FF0000"/>
                </a:solidFill>
                <a:latin typeface="Soho Gothic Pro Light"/>
                <a:ea typeface="Soho Gothic Pro Light"/>
              </a:rPr>
              <a:t>Docker</a:t>
            </a:r>
            <a:r>
              <a:rPr lang="es-ES" sz="1000" b="0" strike="noStrike" spc="-1">
                <a:solidFill>
                  <a:srgbClr val="FF0000"/>
                </a:solidFill>
                <a:latin typeface="Soho Gothic Pro Light"/>
                <a:ea typeface="Soho Gothic Pro Light"/>
              </a:rPr>
              <a:t> &amp; </a:t>
            </a:r>
            <a:r>
              <a:rPr lang="es-ES" sz="1000" b="0" strike="noStrike" spc="-1" err="1">
                <a:solidFill>
                  <a:srgbClr val="FF0000"/>
                </a:solidFill>
                <a:latin typeface="Soho Gothic Pro Light"/>
                <a:ea typeface="Soho Gothic Pro Light"/>
              </a:rPr>
              <a:t>Kubernetes</a:t>
            </a:r>
            <a:r>
              <a:rPr lang="es-ES" sz="1000" b="0" strike="noStrike" spc="-1">
                <a:solidFill>
                  <a:srgbClr val="FF0000"/>
                </a:solidFill>
                <a:latin typeface="Soho Gothic Pro Light"/>
                <a:ea typeface="Soho Gothic Pro Light"/>
              </a:rPr>
              <a:t> (25h)</a:t>
            </a:r>
            <a:endParaRPr lang="es-ES" sz="1000" b="0" strike="noStrike" spc="-1">
              <a:solidFill>
                <a:srgbClr val="FF0000"/>
              </a:solidFill>
              <a:latin typeface="Arial"/>
            </a:endParaRPr>
          </a:p>
          <a:p>
            <a:pPr>
              <a:lnSpc>
                <a:spcPct val="100000"/>
              </a:lnSpc>
            </a:pPr>
            <a:r>
              <a:rPr lang="es-ES" sz="1000" b="0" strike="noStrike" spc="-1">
                <a:solidFill>
                  <a:srgbClr val="FF0000"/>
                </a:solidFill>
                <a:latin typeface="Soho Gothic Pro Light"/>
                <a:ea typeface="Soho Gothic Pro Light"/>
              </a:rPr>
              <a:t>2018 | </a:t>
            </a:r>
            <a:r>
              <a:rPr lang="es-ES" sz="1000" b="0" strike="noStrike" spc="-1" err="1">
                <a:solidFill>
                  <a:srgbClr val="FF0000"/>
                </a:solidFill>
                <a:latin typeface="Soho Gothic Pro Light"/>
                <a:ea typeface="Soho Gothic Pro Light"/>
              </a:rPr>
              <a:t>Advanced</a:t>
            </a:r>
            <a:r>
              <a:rPr lang="es-ES" sz="1000" b="0" strike="noStrike" spc="-1">
                <a:solidFill>
                  <a:srgbClr val="FF0000"/>
                </a:solidFill>
                <a:latin typeface="Soho Gothic Pro Light"/>
                <a:ea typeface="Soho Gothic Pro Light"/>
              </a:rPr>
              <a:t> </a:t>
            </a:r>
            <a:r>
              <a:rPr lang="es-ES" sz="1000" b="0" strike="noStrike" spc="-1" err="1">
                <a:solidFill>
                  <a:srgbClr val="FF0000"/>
                </a:solidFill>
                <a:latin typeface="Soho Gothic Pro Light"/>
                <a:ea typeface="Soho Gothic Pro Light"/>
              </a:rPr>
              <a:t>Ansible</a:t>
            </a:r>
            <a:r>
              <a:rPr lang="es-ES" sz="1000" b="0" strike="noStrike" spc="-1">
                <a:solidFill>
                  <a:srgbClr val="FF0000"/>
                </a:solidFill>
                <a:latin typeface="Soho Gothic Pro Light"/>
                <a:ea typeface="Soho Gothic Pro Light"/>
              </a:rPr>
              <a:t> </a:t>
            </a:r>
            <a:r>
              <a:rPr lang="es-ES" sz="1000" b="0" strike="noStrike" spc="-1" err="1">
                <a:solidFill>
                  <a:srgbClr val="FF0000"/>
                </a:solidFill>
                <a:latin typeface="Soho Gothic Pro Light"/>
                <a:ea typeface="Soho Gothic Pro Light"/>
              </a:rPr>
              <a:t>Course</a:t>
            </a:r>
            <a:r>
              <a:rPr lang="es-ES" sz="1000" b="0" strike="noStrike" spc="-1">
                <a:solidFill>
                  <a:srgbClr val="FF0000"/>
                </a:solidFill>
                <a:latin typeface="Soho Gothic Pro Light"/>
                <a:ea typeface="Soho Gothic Pro Light"/>
              </a:rPr>
              <a:t> (30h)</a:t>
            </a:r>
            <a:endParaRPr lang="es-ES" sz="1000" b="0" strike="noStrike" spc="-1">
              <a:solidFill>
                <a:srgbClr val="FF0000"/>
              </a:solidFill>
              <a:latin typeface="Arial"/>
            </a:endParaRPr>
          </a:p>
          <a:p>
            <a:pPr>
              <a:lnSpc>
                <a:spcPct val="100000"/>
              </a:lnSpc>
            </a:pPr>
            <a:r>
              <a:rPr lang="es-ES" sz="1000" b="0" strike="noStrike" spc="-1">
                <a:solidFill>
                  <a:srgbClr val="FF0000"/>
                </a:solidFill>
                <a:latin typeface="Soho Gothic Pro Light"/>
                <a:ea typeface="Soho Gothic Pro Light"/>
              </a:rPr>
              <a:t>2018 | </a:t>
            </a:r>
            <a:r>
              <a:rPr lang="es-ES" sz="1000" b="0" strike="noStrike" spc="-1" err="1">
                <a:solidFill>
                  <a:srgbClr val="FF0000"/>
                </a:solidFill>
                <a:latin typeface="Soho Gothic Pro Light"/>
                <a:ea typeface="Soho Gothic Pro Light"/>
              </a:rPr>
              <a:t>Design</a:t>
            </a:r>
            <a:r>
              <a:rPr lang="es-ES" sz="1000" b="0" strike="noStrike" spc="-1">
                <a:solidFill>
                  <a:srgbClr val="FF0000"/>
                </a:solidFill>
                <a:latin typeface="Soho Gothic Pro Light"/>
                <a:ea typeface="Soho Gothic Pro Light"/>
              </a:rPr>
              <a:t> &amp; </a:t>
            </a:r>
            <a:r>
              <a:rPr lang="es-ES" sz="1000" b="0" strike="noStrike" spc="-1" err="1">
                <a:solidFill>
                  <a:srgbClr val="FF0000"/>
                </a:solidFill>
                <a:latin typeface="Soho Gothic Pro Light"/>
                <a:ea typeface="Soho Gothic Pro Light"/>
              </a:rPr>
              <a:t>Architecture</a:t>
            </a:r>
            <a:r>
              <a:rPr lang="es-ES" sz="1000" b="0" strike="noStrike" spc="-1">
                <a:solidFill>
                  <a:srgbClr val="FF0000"/>
                </a:solidFill>
                <a:latin typeface="Soho Gothic Pro Light"/>
                <a:ea typeface="Soho Gothic Pro Light"/>
              </a:rPr>
              <a:t> of </a:t>
            </a:r>
            <a:r>
              <a:rPr lang="es-ES" sz="1000" b="0" strike="noStrike" spc="-1" err="1">
                <a:solidFill>
                  <a:srgbClr val="FF0000"/>
                </a:solidFill>
                <a:latin typeface="Soho Gothic Pro Light"/>
                <a:ea typeface="Soho Gothic Pro Light"/>
              </a:rPr>
              <a:t>Solutions</a:t>
            </a:r>
            <a:r>
              <a:rPr lang="es-ES" sz="1000" b="0" strike="noStrike" spc="-1">
                <a:solidFill>
                  <a:srgbClr val="FF0000"/>
                </a:solidFill>
                <a:latin typeface="Soho Gothic Pro Light"/>
                <a:ea typeface="Soho Gothic Pro Light"/>
              </a:rPr>
              <a:t> </a:t>
            </a:r>
            <a:r>
              <a:rPr lang="es-ES" sz="1000" b="0" strike="noStrike" spc="-1" err="1">
                <a:solidFill>
                  <a:srgbClr val="FF0000"/>
                </a:solidFill>
                <a:latin typeface="Soho Gothic Pro Light"/>
                <a:ea typeface="Soho Gothic Pro Light"/>
              </a:rPr>
              <a:t>with</a:t>
            </a:r>
            <a:r>
              <a:rPr lang="es-ES" sz="1000" b="0" strike="noStrike" spc="-1">
                <a:solidFill>
                  <a:srgbClr val="FF0000"/>
                </a:solidFill>
                <a:latin typeface="Soho Gothic Pro Light"/>
                <a:ea typeface="Soho Gothic Pro Light"/>
              </a:rPr>
              <a:t> </a:t>
            </a:r>
            <a:r>
              <a:rPr lang="es-ES" sz="1000" b="0" strike="noStrike" spc="-1" err="1">
                <a:solidFill>
                  <a:srgbClr val="FF0000"/>
                </a:solidFill>
                <a:latin typeface="Soho Gothic Pro Light"/>
                <a:ea typeface="Soho Gothic Pro Light"/>
              </a:rPr>
              <a:t>Hadoop</a:t>
            </a:r>
            <a:r>
              <a:rPr lang="es-ES" sz="1000" b="0" strike="noStrike" spc="-1">
                <a:solidFill>
                  <a:srgbClr val="FF0000"/>
                </a:solidFill>
                <a:latin typeface="Soho Gothic Pro Light"/>
                <a:ea typeface="Soho Gothic Pro Light"/>
              </a:rPr>
              <a:t>, </a:t>
            </a:r>
            <a:r>
              <a:rPr lang="es-ES" sz="1000" b="0" strike="noStrike" spc="-1" err="1">
                <a:solidFill>
                  <a:srgbClr val="FF0000"/>
                </a:solidFill>
                <a:latin typeface="Soho Gothic Pro Light"/>
                <a:ea typeface="Soho Gothic Pro Light"/>
              </a:rPr>
              <a:t>Spark</a:t>
            </a:r>
            <a:r>
              <a:rPr lang="es-ES" sz="1000" b="0" strike="noStrike" spc="-1">
                <a:solidFill>
                  <a:srgbClr val="FF0000"/>
                </a:solidFill>
                <a:latin typeface="Soho Gothic Pro Light"/>
                <a:ea typeface="Soho Gothic Pro Light"/>
              </a:rPr>
              <a:t> and R</a:t>
            </a:r>
            <a:endParaRPr lang="es-ES" sz="1000" b="0" strike="noStrike" spc="-1">
              <a:solidFill>
                <a:srgbClr val="FF0000"/>
              </a:solidFill>
              <a:latin typeface="Arial"/>
            </a:endParaRPr>
          </a:p>
        </p:txBody>
      </p:sp>
      <p:sp>
        <p:nvSpPr>
          <p:cNvPr id="112" name="CuadroTexto 56_0"/>
          <p:cNvSpPr/>
          <p:nvPr/>
        </p:nvSpPr>
        <p:spPr>
          <a:xfrm>
            <a:off x="9475200" y="127800"/>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0" strike="noStrike" spc="-1">
                <a:latin typeface="Soho Gothic Pro"/>
              </a:rPr>
              <a:t>Educación</a:t>
            </a:r>
            <a:endParaRPr lang="es-ES" sz="1200" b="0" strike="noStrike" spc="-1">
              <a:latin typeface="Arial"/>
            </a:endParaRPr>
          </a:p>
        </p:txBody>
      </p:sp>
      <p:sp>
        <p:nvSpPr>
          <p:cNvPr id="113" name="CuadroTexto 70_0"/>
          <p:cNvSpPr/>
          <p:nvPr/>
        </p:nvSpPr>
        <p:spPr>
          <a:xfrm>
            <a:off x="9827280" y="441123"/>
            <a:ext cx="234936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1000" spc="-1">
                <a:ea typeface="Soho Gothic Pro Light"/>
              </a:rPr>
              <a:t>Ingeniero Superior en Informática por la Universidad Complutense de Madrid</a:t>
            </a:r>
            <a:endParaRPr lang="es-ES" sz="1000" b="0" strike="noStrike" spc="-1">
              <a:latin typeface="Arial"/>
            </a:endParaRPr>
          </a:p>
        </p:txBody>
      </p:sp>
      <p:sp>
        <p:nvSpPr>
          <p:cNvPr id="114" name="CuadroTexto 73_0"/>
          <p:cNvSpPr/>
          <p:nvPr/>
        </p:nvSpPr>
        <p:spPr>
          <a:xfrm>
            <a:off x="9430200" y="456480"/>
            <a:ext cx="551520" cy="503280"/>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0" strike="noStrike" spc="-1">
                <a:solidFill>
                  <a:srgbClr val="FF0000"/>
                </a:solidFill>
                <a:latin typeface="Soho Gothic Pro Medium"/>
              </a:rPr>
              <a:t>1998</a:t>
            </a:r>
            <a:endParaRPr lang="es-ES" sz="900" b="0" strike="noStrike" spc="-1">
              <a:solidFill>
                <a:srgbClr val="FF0000"/>
              </a:solidFill>
              <a:latin typeface="Arial"/>
            </a:endParaRPr>
          </a:p>
          <a:p>
            <a:pPr>
              <a:lnSpc>
                <a:spcPct val="100000"/>
              </a:lnSpc>
            </a:pPr>
            <a:r>
              <a:rPr lang="es-ES" sz="900" b="0" strike="noStrike" spc="-1">
                <a:solidFill>
                  <a:srgbClr val="FF0000"/>
                </a:solidFill>
                <a:latin typeface="Soho Gothic Pro Medium"/>
              </a:rPr>
              <a:t>—</a:t>
            </a:r>
            <a:endParaRPr lang="es-ES" sz="900" b="0" strike="noStrike" spc="-1">
              <a:solidFill>
                <a:srgbClr val="FF0000"/>
              </a:solidFill>
              <a:latin typeface="Arial"/>
            </a:endParaRPr>
          </a:p>
          <a:p>
            <a:pPr>
              <a:lnSpc>
                <a:spcPct val="100000"/>
              </a:lnSpc>
            </a:pPr>
            <a:r>
              <a:rPr lang="es-ES" sz="900" b="0" strike="noStrike" spc="-1">
                <a:solidFill>
                  <a:srgbClr val="FF0000"/>
                </a:solidFill>
                <a:latin typeface="Soho Gothic Pro Medium"/>
              </a:rPr>
              <a:t>2001</a:t>
            </a:r>
            <a:endParaRPr lang="es-ES" sz="900" b="0" strike="noStrike" spc="-1">
              <a:solidFill>
                <a:srgbClr val="FF0000"/>
              </a:solidFill>
              <a:latin typeface="Arial"/>
            </a:endParaRPr>
          </a:p>
        </p:txBody>
      </p:sp>
      <p:sp>
        <p:nvSpPr>
          <p:cNvPr id="115" name="CuadroTexto 45_2"/>
          <p:cNvSpPr/>
          <p:nvPr/>
        </p:nvSpPr>
        <p:spPr>
          <a:xfrm>
            <a:off x="651600" y="3433799"/>
            <a:ext cx="4249800" cy="3476421"/>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Gestión proyectos BigData (40-45 personas) ATC</a:t>
            </a:r>
          </a:p>
          <a:p>
            <a:pPr algn="just">
              <a:lnSpc>
                <a:spcPct val="100000"/>
              </a:lnSpc>
            </a:pPr>
            <a:endParaRPr lang="es-ES" sz="1100" b="0" strike="noStrike" spc="-1">
              <a:latin typeface="Arial"/>
            </a:endParaRPr>
          </a:p>
          <a:p>
            <a:pPr marL="171360" indent="-171000" algn="just">
              <a:lnSpc>
                <a:spcPct val="100000"/>
              </a:lnSpc>
              <a:buClr>
                <a:srgbClr val="1A3B47"/>
              </a:buClr>
              <a:buFont typeface="Arial"/>
              <a:buChar char="•"/>
            </a:pPr>
            <a:r>
              <a:rPr lang="es-ES" sz="1100" spc="-1"/>
              <a:t>Detección de Fraude sobre bienes inmuebles utilizando técnicas de Big Data aprendiendo de un histórico de 4 años.</a:t>
            </a:r>
          </a:p>
          <a:p>
            <a:pPr marL="171360" indent="-171000" algn="just">
              <a:lnSpc>
                <a:spcPct val="100000"/>
              </a:lnSpc>
              <a:buClr>
                <a:srgbClr val="1A3B47"/>
              </a:buClr>
              <a:buFont typeface="Arial"/>
              <a:buChar char="•"/>
            </a:pPr>
            <a:r>
              <a:rPr lang="es-ES" sz="1100" spc="-1"/>
              <a:t>Responsable de diseño de arquitecturas y gestión del equipo de Big Data. </a:t>
            </a:r>
          </a:p>
          <a:p>
            <a:pPr marL="171360" indent="-171000" algn="just">
              <a:lnSpc>
                <a:spcPct val="100000"/>
              </a:lnSpc>
              <a:buClr>
                <a:srgbClr val="1A3B47"/>
              </a:buClr>
              <a:buFont typeface="Arial"/>
              <a:buChar char="•"/>
            </a:pPr>
            <a:r>
              <a:rPr lang="es-ES" sz="1100" spc="-1" err="1"/>
              <a:t>Gestion</a:t>
            </a:r>
            <a:r>
              <a:rPr lang="es-ES" sz="1100" spc="-1"/>
              <a:t> de la </a:t>
            </a:r>
            <a:r>
              <a:rPr lang="es-ES" sz="1100" spc="-1" err="1"/>
              <a:t>produccionalización</a:t>
            </a:r>
            <a:r>
              <a:rPr lang="es-ES" sz="1100" spc="-1"/>
              <a:t> de proyectos de algorítmica avanzada para la detección de Fraude en la compraventa de inmuebles desarrollados con R y pasados a Big Data con </a:t>
            </a:r>
            <a:r>
              <a:rPr lang="es-ES" sz="1100" spc="-1" err="1"/>
              <a:t>Spark</a:t>
            </a:r>
            <a:r>
              <a:rPr lang="es-ES" sz="1100" spc="-1"/>
              <a:t> para mejorar la eficiencia.</a:t>
            </a:r>
          </a:p>
          <a:p>
            <a:pPr marL="171360" indent="-171000" algn="just">
              <a:lnSpc>
                <a:spcPct val="100000"/>
              </a:lnSpc>
              <a:buClr>
                <a:srgbClr val="1A3B47"/>
              </a:buClr>
              <a:buFont typeface="Arial"/>
              <a:buChar char="•"/>
            </a:pPr>
            <a:r>
              <a:rPr lang="es-ES" sz="1100" spc="-1"/>
              <a:t>Hacemos Data </a:t>
            </a:r>
            <a:r>
              <a:rPr lang="es-ES" sz="1100" spc="-1" err="1"/>
              <a:t>Quality</a:t>
            </a:r>
            <a:r>
              <a:rPr lang="es-ES" sz="1100" spc="-1"/>
              <a:t> sobre Big data con </a:t>
            </a:r>
            <a:r>
              <a:rPr lang="es-ES" sz="1100" spc="-1" err="1"/>
              <a:t>Spark</a:t>
            </a:r>
            <a:r>
              <a:rPr lang="es-ES" sz="1100" spc="-1"/>
              <a:t>, exponemos interfaces de negocio almacenadas en </a:t>
            </a:r>
            <a:r>
              <a:rPr lang="es-ES" sz="1100" spc="-1" err="1"/>
              <a:t>kudu</a:t>
            </a:r>
            <a:r>
              <a:rPr lang="es-ES" sz="1100" spc="-1"/>
              <a:t> </a:t>
            </a:r>
            <a:r>
              <a:rPr lang="es-ES" sz="1100" spc="-1" err="1"/>
              <a:t>mediant</a:t>
            </a:r>
            <a:r>
              <a:rPr lang="es-ES" sz="1100" spc="-1"/>
              <a:t> </a:t>
            </a:r>
            <a:r>
              <a:rPr lang="es-ES" sz="1100" spc="-1" err="1"/>
              <a:t>json</a:t>
            </a:r>
            <a:r>
              <a:rPr lang="es-ES" sz="1100" spc="-1"/>
              <a:t> (MongoDB) para portales web y sistemas terceros, hacemos gestores documentales inteligentes (MongoDB+ </a:t>
            </a:r>
            <a:r>
              <a:rPr lang="es-ES" sz="1100" spc="-1" err="1"/>
              <a:t>Kudu</a:t>
            </a:r>
            <a:r>
              <a:rPr lang="es-ES" sz="1100" spc="-1"/>
              <a:t> + HDFS + ELK), monitorizamos logs de todas las aplicaciones (ELK) Analizamos herencias y anomalías en las relaciones mediante grafos (Neo4j), creamos y mantenemos una interfaz de gobierno integral de plataformas Big Data con Angular, Java, Mongo DB e Impala. Etc.</a:t>
            </a:r>
          </a:p>
        </p:txBody>
      </p:sp>
      <p:sp>
        <p:nvSpPr>
          <p:cNvPr id="116" name="CuadroTexto 48_2"/>
          <p:cNvSpPr/>
          <p:nvPr/>
        </p:nvSpPr>
        <p:spPr>
          <a:xfrm>
            <a:off x="240120" y="3334079"/>
            <a:ext cx="839880" cy="6463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ea typeface="Soho Gothic Pro Light"/>
              </a:rPr>
              <a:t>ACT</a:t>
            </a:r>
            <a:endParaRPr lang="es-ES" sz="900" b="1" spc="-1">
              <a:latin typeface="Arial"/>
            </a:endParaRPr>
          </a:p>
          <a:p>
            <a:pPr>
              <a:lnSpc>
                <a:spcPct val="100000"/>
              </a:lnSpc>
            </a:pPr>
            <a:r>
              <a:rPr lang="es-ES" sz="900" b="1" spc="-1">
                <a:ea typeface="Soho Gothic Pro Light"/>
              </a:rPr>
              <a:t>—</a:t>
            </a:r>
            <a:endParaRPr lang="es-ES" sz="900" b="1" spc="-1">
              <a:latin typeface="Arial"/>
            </a:endParaRPr>
          </a:p>
          <a:p>
            <a:pPr>
              <a:lnSpc>
                <a:spcPct val="100000"/>
              </a:lnSpc>
            </a:pPr>
            <a:r>
              <a:rPr lang="es-ES" sz="900" b="1" spc="-1">
                <a:ea typeface="Soho Gothic Pro Light"/>
              </a:rPr>
              <a:t>2016</a:t>
            </a:r>
            <a:endParaRPr lang="es-ES" sz="900" b="1" spc="-1">
              <a:latin typeface="Arial"/>
            </a:endParaRPr>
          </a:p>
          <a:p>
            <a:pPr>
              <a:lnSpc>
                <a:spcPct val="100000"/>
              </a:lnSpc>
            </a:pPr>
            <a:endParaRPr lang="es-ES" sz="900" spc="-1">
              <a:latin typeface="Arial"/>
            </a:endParaRPr>
          </a:p>
        </p:txBody>
      </p:sp>
      <p:sp>
        <p:nvSpPr>
          <p:cNvPr id="117" name="CuadroTexto 33_0"/>
          <p:cNvSpPr/>
          <p:nvPr/>
        </p:nvSpPr>
        <p:spPr>
          <a:xfrm>
            <a:off x="9540000" y="2355971"/>
            <a:ext cx="1965600" cy="2728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es-ES" sz="1200" b="1" strike="noStrike" spc="-1">
                <a:solidFill>
                  <a:srgbClr val="FF0000"/>
                </a:solidFill>
                <a:latin typeface="Soho Gothic Pro Light"/>
              </a:rPr>
              <a:t>Cursos Relevantes</a:t>
            </a:r>
            <a:endParaRPr lang="es-ES" sz="1200" b="0" strike="noStrike" spc="-1">
              <a:solidFill>
                <a:srgbClr val="FF0000"/>
              </a:solidFill>
              <a:latin typeface="Arial"/>
            </a:endParaRPr>
          </a:p>
        </p:txBody>
      </p:sp>
      <p:sp>
        <p:nvSpPr>
          <p:cNvPr id="35" name="CuadroTexto 45_2"/>
          <p:cNvSpPr/>
          <p:nvPr/>
        </p:nvSpPr>
        <p:spPr>
          <a:xfrm>
            <a:off x="5312879" y="1448673"/>
            <a:ext cx="4067217" cy="2122204"/>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algn="just">
              <a:lnSpc>
                <a:spcPct val="100000"/>
              </a:lnSpc>
            </a:pPr>
            <a:r>
              <a:rPr lang="es-ES" sz="1100" b="1" spc="-1">
                <a:ea typeface="Soho Gothic Pro Light"/>
              </a:rPr>
              <a:t>Minsait </a:t>
            </a:r>
            <a:r>
              <a:rPr lang="es-ES" sz="1100" b="1" spc="-1" err="1">
                <a:ea typeface="Soho Gothic Pro Light"/>
              </a:rPr>
              <a:t>by</a:t>
            </a:r>
            <a:r>
              <a:rPr lang="es-ES" sz="1100" b="1" spc="-1">
                <a:ea typeface="Soho Gothic Pro Light"/>
              </a:rPr>
              <a:t> Indra (Barcelona, España)</a:t>
            </a:r>
            <a:endParaRPr lang="es-ES" sz="1100" spc="-1">
              <a:latin typeface="Arial"/>
            </a:endParaRPr>
          </a:p>
          <a:p>
            <a:pPr algn="just">
              <a:lnSpc>
                <a:spcPct val="100000"/>
              </a:lnSpc>
            </a:pPr>
            <a:r>
              <a:rPr lang="es-ES" sz="1100" spc="-1">
                <a:ea typeface="Soho Gothic Pro Light"/>
              </a:rPr>
              <a:t>Gestión proyectos BigData (2-4 personas) Banco Sabadell</a:t>
            </a:r>
          </a:p>
          <a:p>
            <a:pPr algn="just">
              <a:lnSpc>
                <a:spcPct val="100000"/>
              </a:lnSpc>
            </a:pPr>
            <a:endParaRPr lang="es-ES" sz="1100" b="0" strike="noStrike" spc="-1">
              <a:latin typeface="Arial"/>
            </a:endParaRPr>
          </a:p>
          <a:p>
            <a:pPr marL="171450" indent="-171450" algn="just" defTabSz="914377">
              <a:buFont typeface="Arial" panose="020B0604020202020204" pitchFamily="34" charset="0"/>
              <a:buChar char="•"/>
              <a:defRPr b="0" i="0"/>
            </a:pPr>
            <a:r>
              <a:rPr lang="es-ES" sz="1100"/>
              <a:t>Estudio de hipotecas </a:t>
            </a:r>
          </a:p>
          <a:p>
            <a:pPr marL="171450" indent="-171450" algn="just" defTabSz="914377">
              <a:buFont typeface="Arial" panose="020B0604020202020204" pitchFamily="34" charset="0"/>
              <a:buChar char="•"/>
              <a:defRPr b="0" i="0"/>
            </a:pPr>
            <a:r>
              <a:rPr lang="es-ES" sz="1100"/>
              <a:t>Responsable de arquitecturas Big data en el cliente de 2014 a 2016, de 2016 a la actualizad lidero como gestor.</a:t>
            </a:r>
          </a:p>
          <a:p>
            <a:pPr marL="171450" indent="-171450" algn="just" defTabSz="914377">
              <a:buFont typeface="Arial" panose="020B0604020202020204" pitchFamily="34" charset="0"/>
              <a:buChar char="•"/>
              <a:defRPr b="0" i="0"/>
            </a:pPr>
            <a:r>
              <a:rPr lang="es-ES" sz="1100"/>
              <a:t>En este cliente hacemos </a:t>
            </a:r>
            <a:r>
              <a:rPr lang="es-ES" sz="1100" err="1"/>
              <a:t>ETL’s</a:t>
            </a:r>
            <a:r>
              <a:rPr lang="es-ES" sz="1100"/>
              <a:t> y Algorítmica avanzada sobre múltiples orígenes de datos (Host, Cajeros, Webs, simuladores, </a:t>
            </a:r>
            <a:r>
              <a:rPr lang="es-ES" sz="1100" err="1"/>
              <a:t>TPVs</a:t>
            </a:r>
            <a:r>
              <a:rPr lang="es-ES" sz="1100"/>
              <a:t>, móviles, </a:t>
            </a:r>
            <a:r>
              <a:rPr lang="es-ES" sz="1100" err="1"/>
              <a:t>etc</a:t>
            </a:r>
            <a:r>
              <a:rPr lang="es-ES" sz="1100"/>
              <a:t>) que almacenamos en Big data y Bases de Datos </a:t>
            </a:r>
            <a:r>
              <a:rPr lang="es-ES" sz="1100" err="1"/>
              <a:t>NoSQL</a:t>
            </a:r>
            <a:r>
              <a:rPr lang="es-ES" sz="1100"/>
              <a:t>. Tecnológicamente se usa MongoDB, </a:t>
            </a:r>
            <a:r>
              <a:rPr lang="es-ES" sz="1100" err="1"/>
              <a:t>Spark</a:t>
            </a:r>
            <a:r>
              <a:rPr lang="es-ES" sz="1100"/>
              <a:t>, Impala, </a:t>
            </a:r>
            <a:r>
              <a:rPr lang="es-ES" sz="1100" err="1"/>
              <a:t>Cloudera</a:t>
            </a:r>
            <a:r>
              <a:rPr lang="es-ES" sz="1100"/>
              <a:t>, R </a:t>
            </a:r>
            <a:r>
              <a:rPr lang="es-ES" sz="1100" err="1"/>
              <a:t>Teradata</a:t>
            </a:r>
            <a:r>
              <a:rPr lang="es-ES" sz="1100"/>
              <a:t> </a:t>
            </a:r>
            <a:r>
              <a:rPr lang="es-ES" sz="1100" err="1"/>
              <a:t>Aster</a:t>
            </a:r>
            <a:r>
              <a:rPr lang="es-ES" sz="1100"/>
              <a:t>, Neo4j, Oracle, Host y Shell scripting</a:t>
            </a:r>
          </a:p>
        </p:txBody>
      </p:sp>
      <p:sp>
        <p:nvSpPr>
          <p:cNvPr id="36" name="CuadroTexto 48_2"/>
          <p:cNvSpPr/>
          <p:nvPr/>
        </p:nvSpPr>
        <p:spPr>
          <a:xfrm>
            <a:off x="4901400" y="1348953"/>
            <a:ext cx="839880" cy="507831"/>
          </a:xfrm>
          <a:prstGeom prst="rect">
            <a:avLst/>
          </a:prstGeom>
          <a:noFill/>
          <a:ln w="0">
            <a:noFill/>
          </a:ln>
        </p:spPr>
        <p:style>
          <a:lnRef idx="0">
            <a:scrgbClr r="0" g="0" b="0"/>
          </a:lnRef>
          <a:fillRef idx="0">
            <a:scrgbClr r="0" g="0" b="0"/>
          </a:fillRef>
          <a:effectRef idx="0">
            <a:scrgbClr r="0" g="0" b="0"/>
          </a:effectRef>
          <a:fontRef idx="minor"/>
        </p:style>
        <p:txBody>
          <a:bodyPr>
            <a:spAutoFit/>
          </a:bodyPr>
          <a:lstStyle/>
          <a:p>
            <a:pPr>
              <a:lnSpc>
                <a:spcPct val="100000"/>
              </a:lnSpc>
            </a:pPr>
            <a:r>
              <a:rPr lang="es-ES" sz="900" b="1" spc="-1">
                <a:ea typeface="Soho Gothic Pro Light"/>
              </a:rPr>
              <a:t>ACT</a:t>
            </a:r>
            <a:endParaRPr lang="es-ES" sz="900" b="1" spc="-1">
              <a:latin typeface="Arial"/>
            </a:endParaRPr>
          </a:p>
          <a:p>
            <a:pPr>
              <a:lnSpc>
                <a:spcPct val="100000"/>
              </a:lnSpc>
            </a:pPr>
            <a:r>
              <a:rPr lang="es-ES" sz="900" b="1" spc="-1">
                <a:ea typeface="Soho Gothic Pro Light"/>
              </a:rPr>
              <a:t>—</a:t>
            </a:r>
            <a:endParaRPr lang="es-ES" sz="900" b="1" spc="-1">
              <a:latin typeface="Arial"/>
            </a:endParaRPr>
          </a:p>
          <a:p>
            <a:pPr>
              <a:lnSpc>
                <a:spcPct val="100000"/>
              </a:lnSpc>
            </a:pPr>
            <a:r>
              <a:rPr lang="es-ES" sz="900" b="1" spc="-1">
                <a:ea typeface="Soho Gothic Pro Light"/>
              </a:rPr>
              <a:t>2014</a:t>
            </a:r>
            <a:endParaRPr lang="es-ES" sz="900" spc="-1">
              <a:latin typeface="Arial"/>
            </a:endParaRPr>
          </a:p>
        </p:txBody>
      </p:sp>
      <p:sp>
        <p:nvSpPr>
          <p:cNvPr id="37" name="CuadroTexto 30_0"/>
          <p:cNvSpPr/>
          <p:nvPr/>
        </p:nvSpPr>
        <p:spPr>
          <a:xfrm>
            <a:off x="6105960" y="152640"/>
            <a:ext cx="3252240" cy="400110"/>
          </a:xfrm>
          <a:prstGeom prst="rect">
            <a:avLst/>
          </a:prstGeom>
          <a:noFill/>
          <a:ln w="0">
            <a:noFill/>
          </a:ln>
        </p:spPr>
        <p:style>
          <a:lnRef idx="0">
            <a:scrgbClr r="0" g="0" b="0"/>
          </a:lnRef>
          <a:fillRef idx="0">
            <a:scrgbClr r="0" g="0" b="0"/>
          </a:fillRef>
          <a:effectRef idx="0">
            <a:scrgbClr r="0" g="0" b="0"/>
          </a:effectRef>
          <a:fontRef idx="minor"/>
        </p:style>
        <p:txBody>
          <a:bodyPr wrap="square">
            <a:spAutoFit/>
          </a:bodyPr>
          <a:lstStyle/>
          <a:p>
            <a:pPr>
              <a:lnSpc>
                <a:spcPct val="100000"/>
              </a:lnSpc>
            </a:pPr>
            <a:r>
              <a:rPr lang="es-ES" sz="2000" spc="-1">
                <a:solidFill>
                  <a:schemeClr val="bg1"/>
                </a:solidFill>
                <a:ea typeface="Soho Gothic Pro Light"/>
              </a:rPr>
              <a:t>David Bordas González</a:t>
            </a:r>
            <a:endParaRPr lang="es-ES" sz="2000" b="0" strike="noStrike" spc="-1">
              <a:solidFill>
                <a:schemeClr val="bg1"/>
              </a:solidFill>
              <a:latin typeface="Arial"/>
            </a:endParaRPr>
          </a:p>
        </p:txBody>
      </p:sp>
      <p:sp>
        <p:nvSpPr>
          <p:cNvPr id="23" name="CuadroTexto 22"/>
          <p:cNvSpPr txBox="1"/>
          <p:nvPr/>
        </p:nvSpPr>
        <p:spPr>
          <a:xfrm>
            <a:off x="1209412" y="131454"/>
            <a:ext cx="2312377" cy="369204"/>
          </a:xfrm>
          <a:prstGeom prst="rect">
            <a:avLst/>
          </a:prstGeom>
          <a:solidFill>
            <a:schemeClr val="bg1"/>
          </a:solidFill>
          <a:ln>
            <a:solidFill>
              <a:srgbClr val="FF0000"/>
            </a:solidFill>
          </a:ln>
        </p:spPr>
        <p:txBody>
          <a:bodyPr wrap="square" rtlCol="0">
            <a:spAutoFit/>
          </a:bodyPr>
          <a:lstStyle/>
          <a:p>
            <a:r>
              <a:rPr lang="ca-ES" err="1">
                <a:solidFill>
                  <a:srgbClr val="FF0000"/>
                </a:solidFill>
              </a:rPr>
              <a:t>Pendiente</a:t>
            </a:r>
            <a:r>
              <a:rPr lang="ca-ES">
                <a:solidFill>
                  <a:srgbClr val="FF0000"/>
                </a:solidFill>
              </a:rPr>
              <a:t> </a:t>
            </a:r>
            <a:r>
              <a:rPr lang="ca-ES" err="1">
                <a:solidFill>
                  <a:srgbClr val="FF0000"/>
                </a:solidFill>
              </a:rPr>
              <a:t>actualizar</a:t>
            </a:r>
            <a:endParaRPr lang="ca-ES">
              <a:solidFill>
                <a:srgbClr val="FF0000"/>
              </a:solidFill>
            </a:endParaRPr>
          </a:p>
        </p:txBody>
      </p:sp>
    </p:spTree>
    <p:extLst>
      <p:ext uri="{BB962C8B-B14F-4D97-AF65-F5344CB8AC3E}">
        <p14:creationId xmlns:p14="http://schemas.microsoft.com/office/powerpoint/2010/main" val="1542881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vPNXYAZQHi06ICKl3UmS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1">
      <a:majorFont>
        <a:latin typeface="Georgia"/>
        <a:ea typeface=""/>
        <a:cs typeface=""/>
      </a:majorFont>
      <a:minorFont>
        <a:latin typeface="Arial"/>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12" id="{F0AE69B6-F782-4080-93EE-99334419573C}" vid="{D349D54F-CB6D-47C8-9225-651FD3709671}"/>
    </a:ext>
  </a:extLst>
</a:theme>
</file>

<file path=ppt/theme/theme2.xml><?xml version="1.0" encoding="utf-8"?>
<a:theme xmlns:a="http://schemas.openxmlformats.org/drawingml/2006/main" name="1_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3">
      <a:majorFont>
        <a:latin typeface="Playfair Display"/>
        <a:ea typeface=""/>
        <a:cs typeface=""/>
      </a:majorFont>
      <a:minorFont>
        <a:latin typeface="Soho Gothic Pro Light"/>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insait_externa_07092018" id="{BDCD7FBE-5CCC-354F-B23D-2FFF78B0626C}" vid="{0B10B1E6-DDE7-CF48-A0D1-E1BE79F41302}"/>
    </a:ext>
  </a:extLst>
</a:theme>
</file>

<file path=ppt/theme/theme3.xml><?xml version="1.0" encoding="utf-8"?>
<a:theme xmlns:a="http://schemas.openxmlformats.org/drawingml/2006/main" name="2_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1">
      <a:majorFont>
        <a:latin typeface="Georgia"/>
        <a:ea typeface=""/>
        <a:cs typeface=""/>
      </a:majorFont>
      <a:minorFont>
        <a:latin typeface="Arial"/>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12" id="{F0AE69B6-F782-4080-93EE-99334419573C}" vid="{D349D54F-CB6D-47C8-9225-651FD3709671}"/>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98AF90BC57CA854992C92F7CCBF29CE3" ma:contentTypeVersion="11" ma:contentTypeDescription="Crear nuevo documento." ma:contentTypeScope="" ma:versionID="01ba0bb70257b5599e570001dcb13d95">
  <xsd:schema xmlns:xsd="http://www.w3.org/2001/XMLSchema" xmlns:xs="http://www.w3.org/2001/XMLSchema" xmlns:p="http://schemas.microsoft.com/office/2006/metadata/properties" xmlns:ns2="8ede822f-9ea7-4846-9799-291a6fe44bd1" xmlns:ns3="7d4dc5d2-9278-4864-bc99-09595f0462ee" targetNamespace="http://schemas.microsoft.com/office/2006/metadata/properties" ma:root="true" ma:fieldsID="df4301bbf174ee59d06e1e5e6c467920" ns2:_="" ns3:_="">
    <xsd:import namespace="8ede822f-9ea7-4846-9799-291a6fe44bd1"/>
    <xsd:import namespace="7d4dc5d2-9278-4864-bc99-09595f0462e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de822f-9ea7-4846-9799-291a6fe44b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d4dc5d2-9278-4864-bc99-09595f0462ee" elementFormDefault="qualified">
    <xsd:import namespace="http://schemas.microsoft.com/office/2006/documentManagement/types"/>
    <xsd:import namespace="http://schemas.microsoft.com/office/infopath/2007/PartnerControls"/>
    <xsd:element name="SharedWithUsers" ma:index="1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C666E4B-46A6-4F15-91EA-C164E53ABF6F}">
  <ds:schemaRefs>
    <ds:schemaRef ds:uri="http://schemas.microsoft.com/sharepoint/v3/contenttype/forms"/>
  </ds:schemaRefs>
</ds:datastoreItem>
</file>

<file path=customXml/itemProps2.xml><?xml version="1.0" encoding="utf-8"?>
<ds:datastoreItem xmlns:ds="http://schemas.openxmlformats.org/officeDocument/2006/customXml" ds:itemID="{4ED43B5F-BB6E-4E61-A0A0-77362237B58C}">
  <ds:schemaRefs>
    <ds:schemaRef ds:uri="8ede822f-9ea7-4846-9799-291a6fe44bd1"/>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7d4dc5d2-9278-4864-bc99-09595f0462ee"/>
    <ds:schemaRef ds:uri="http://www.w3.org/XML/1998/namespace"/>
  </ds:schemaRefs>
</ds:datastoreItem>
</file>

<file path=customXml/itemProps3.xml><?xml version="1.0" encoding="utf-8"?>
<ds:datastoreItem xmlns:ds="http://schemas.openxmlformats.org/officeDocument/2006/customXml" ds:itemID="{90BB4DC7-A61A-4CA4-BBAF-086F1E269AB7}">
  <ds:schemaRefs>
    <ds:schemaRef ds:uri="7d4dc5d2-9278-4864-bc99-09595f0462ee"/>
    <ds:schemaRef ds:uri="8ede822f-9ea7-4846-9799-291a6fe44bd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_Minsait_interna_03102018</Template>
  <TotalTime>12</TotalTime>
  <Words>15869</Words>
  <Application>Microsoft Office PowerPoint</Application>
  <PresentationFormat>Panorámica</PresentationFormat>
  <Paragraphs>2282</Paragraphs>
  <Slides>32</Slides>
  <Notes>32</Notes>
  <HiddenSlides>0</HiddenSlides>
  <MMClips>0</MMClips>
  <ScaleCrop>false</ScaleCrop>
  <HeadingPairs>
    <vt:vector size="8" baseType="variant">
      <vt:variant>
        <vt:lpstr>Fuentes usadas</vt:lpstr>
      </vt:variant>
      <vt:variant>
        <vt:i4>10</vt:i4>
      </vt:variant>
      <vt:variant>
        <vt:lpstr>Tema</vt:lpstr>
      </vt:variant>
      <vt:variant>
        <vt:i4>3</vt:i4>
      </vt:variant>
      <vt:variant>
        <vt:lpstr>Servidores OLE incrustados</vt:lpstr>
      </vt:variant>
      <vt:variant>
        <vt:i4>1</vt:i4>
      </vt:variant>
      <vt:variant>
        <vt:lpstr>Títulos de diapositiva</vt:lpstr>
      </vt:variant>
      <vt:variant>
        <vt:i4>32</vt:i4>
      </vt:variant>
    </vt:vector>
  </HeadingPairs>
  <TitlesOfParts>
    <vt:vector size="46" baseType="lpstr">
      <vt:lpstr>Arial</vt:lpstr>
      <vt:lpstr>Arial,Sans-Serif</vt:lpstr>
      <vt:lpstr>Calibri</vt:lpstr>
      <vt:lpstr>DejaVu Sans</vt:lpstr>
      <vt:lpstr>Georgia</vt:lpstr>
      <vt:lpstr>Playfair Display</vt:lpstr>
      <vt:lpstr>Soho Gothic Pro</vt:lpstr>
      <vt:lpstr>Soho Gothic Pro Light</vt:lpstr>
      <vt:lpstr>Soho Gothic Pro Medium</vt:lpstr>
      <vt:lpstr>Times New Roman</vt:lpstr>
      <vt:lpstr>Portadas</vt:lpstr>
      <vt:lpstr>1_Portadas</vt:lpstr>
      <vt:lpstr>2_Portadas</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Indra Sistemas 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gmentación de Usuarios de Tarjetas de Crédito</dc:title>
  <dc:creator>enezamoleslami@minsait.com</dc:creator>
  <cp:lastModifiedBy>Gonzalez Fuentes, David</cp:lastModifiedBy>
  <cp:revision>3</cp:revision>
  <dcterms:created xsi:type="dcterms:W3CDTF">2019-11-27T18:58:41Z</dcterms:created>
  <dcterms:modified xsi:type="dcterms:W3CDTF">2021-09-14T15:0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AF90BC57CA854992C92F7CCBF29CE3</vt:lpwstr>
  </property>
</Properties>
</file>